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1" r:id="rId1"/>
    <p:sldMasterId id="2147483652" r:id="rId2"/>
    <p:sldMasterId id="2147483653" r:id="rId3"/>
    <p:sldMasterId id="2147483654" r:id="rId4"/>
    <p:sldMasterId id="2147483650" r:id="rId5"/>
    <p:sldMasterId id="2147483655" r:id="rId6"/>
  </p:sldMasterIdLst>
  <p:notesMasterIdLst>
    <p:notesMasterId r:id="rId26"/>
  </p:notesMasterIdLst>
  <p:handoutMasterIdLst>
    <p:handoutMasterId r:id="rId27"/>
  </p:handoutMasterIdLst>
  <p:sldIdLst>
    <p:sldId id="766" r:id="rId7"/>
    <p:sldId id="730" r:id="rId8"/>
    <p:sldId id="748" r:id="rId9"/>
    <p:sldId id="752" r:id="rId10"/>
    <p:sldId id="763" r:id="rId11"/>
    <p:sldId id="753" r:id="rId12"/>
    <p:sldId id="758" r:id="rId13"/>
    <p:sldId id="767" r:id="rId14"/>
    <p:sldId id="759" r:id="rId15"/>
    <p:sldId id="756" r:id="rId16"/>
    <p:sldId id="735" r:id="rId17"/>
    <p:sldId id="760" r:id="rId18"/>
    <p:sldId id="771" r:id="rId19"/>
    <p:sldId id="770" r:id="rId20"/>
    <p:sldId id="772" r:id="rId21"/>
    <p:sldId id="754" r:id="rId22"/>
    <p:sldId id="755" r:id="rId23"/>
    <p:sldId id="757" r:id="rId24"/>
    <p:sldId id="747" r:id="rId25"/>
  </p:sldIdLst>
  <p:sldSz cx="9144000" cy="6858000" type="screen4x3"/>
  <p:notesSz cx="6665913" cy="986631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6699"/>
    <a:srgbClr val="4C2600"/>
    <a:srgbClr val="663300"/>
    <a:srgbClr val="000000"/>
    <a:srgbClr val="0066CC"/>
    <a:srgbClr val="0099FF"/>
    <a:srgbClr val="5F5F5F"/>
    <a:srgbClr val="000066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9" autoAdjust="0"/>
    <p:restoredTop sz="99661" autoAdjust="0"/>
  </p:normalViewPr>
  <p:slideViewPr>
    <p:cSldViewPr>
      <p:cViewPr>
        <p:scale>
          <a:sx n="100" d="100"/>
          <a:sy n="100" d="100"/>
        </p:scale>
        <p:origin x="-294" y="-2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1" d="100"/>
          <a:sy n="91" d="100"/>
        </p:scale>
        <p:origin x="-3774" y="-102"/>
      </p:cViewPr>
      <p:guideLst>
        <p:guide orient="horz" pos="3107"/>
        <p:guide pos="209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6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3168724279835392"/>
          <c:y val="9.2105263157894732E-2"/>
          <c:w val="0.78052126200274352"/>
          <c:h val="0.59473684210526312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7991">
              <a:solidFill>
                <a:schemeClr val="tx1"/>
              </a:solidFill>
              <a:prstDash val="solid"/>
            </a:ln>
          </c:spPr>
          <c:explosion val="25"/>
          <c:dPt>
            <c:idx val="0"/>
            <c:bubble3D val="0"/>
          </c:dPt>
          <c:dPt>
            <c:idx val="1"/>
            <c:bubble3D val="0"/>
            <c:spPr>
              <a:solidFill>
                <a:schemeClr val="accent2"/>
              </a:solidFill>
              <a:ln w="7991">
                <a:solidFill>
                  <a:schemeClr val="tx1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993300"/>
              </a:solidFill>
              <a:ln w="7991">
                <a:solidFill>
                  <a:schemeClr val="tx1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chemeClr val="hlink"/>
              </a:solidFill>
              <a:ln w="7991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1.2392302759660545E-2"/>
                  <c:y val="-4.545579453575014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3.2273181552966185E-2"/>
                  <c:y val="-4.6489457274216564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5.6888868348536403E-2"/>
                  <c:y val="-0.1446007504095545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2.9147376387195913E-2"/>
                  <c:y val="4.593140622522855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</c:dLbl>
            <c:numFmt formatCode="0%" sourceLinked="0"/>
            <c:spPr>
              <a:noFill/>
              <a:ln w="15982">
                <a:noFill/>
              </a:ln>
            </c:spPr>
            <c:txPr>
              <a:bodyPr/>
              <a:lstStyle/>
              <a:p>
                <a:pPr>
                  <a:defRPr sz="1353" b="1" i="0" u="none" strike="noStrike" baseline="0">
                    <a:solidFill>
                      <a:schemeClr val="tx1"/>
                    </a:solidFill>
                    <a:latin typeface="Calibri" pitchFamily="34" charset="0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Sheet1!$B$1:$E$1</c:f>
              <c:strCache>
                <c:ptCount val="4"/>
                <c:pt idx="0">
                  <c:v>Developed</c:v>
                </c:pt>
                <c:pt idx="1">
                  <c:v>Moderate</c:v>
                </c:pt>
                <c:pt idx="2">
                  <c:v>Basic</c:v>
                </c:pt>
                <c:pt idx="3">
                  <c:v>Limited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4</c:v>
                </c:pt>
                <c:pt idx="1">
                  <c:v>33</c:v>
                </c:pt>
                <c:pt idx="2">
                  <c:v>24</c:v>
                </c:pt>
                <c:pt idx="3">
                  <c:v>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 w="15982">
          <a:noFill/>
        </a:ln>
      </c:spPr>
    </c:plotArea>
    <c:legend>
      <c:legendPos val="b"/>
      <c:layout>
        <c:manualLayout>
          <c:xMode val="edge"/>
          <c:yMode val="edge"/>
          <c:x val="0.55593809394515337"/>
          <c:y val="0.66367594990223533"/>
          <c:w val="0.23593964334705075"/>
          <c:h val="0.27368421052631581"/>
        </c:manualLayout>
      </c:layout>
      <c:overlay val="0"/>
      <c:spPr>
        <a:noFill/>
        <a:ln w="1998">
          <a:solidFill>
            <a:schemeClr val="tx1"/>
          </a:solidFill>
          <a:prstDash val="solid"/>
        </a:ln>
      </c:spPr>
      <c:txPr>
        <a:bodyPr/>
        <a:lstStyle/>
        <a:p>
          <a:pPr>
            <a:defRPr sz="1000" b="1" i="0" u="none" strike="noStrike" baseline="0">
              <a:solidFill>
                <a:schemeClr val="tx1"/>
              </a:solidFill>
              <a:latin typeface="Calibri" pitchFamily="34" charset="0"/>
              <a:ea typeface="Arial"/>
              <a:cs typeface="Calibri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03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4650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t" anchorCtr="0" compatLnSpc="1">
            <a:prstTxWarp prst="textNoShape">
              <a:avLst/>
            </a:prstTxWarp>
          </a:bodyPr>
          <a:lstStyle>
            <a:lvl1pPr defTabSz="904875">
              <a:defRPr sz="12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1588" y="0"/>
            <a:ext cx="2840037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t" anchorCtr="0" compatLnSpc="1">
            <a:prstTxWarp prst="textNoShape">
              <a:avLst/>
            </a:prstTxWarp>
          </a:bodyPr>
          <a:lstStyle>
            <a:lvl1pPr algn="r" defTabSz="904875">
              <a:defRPr sz="12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88475"/>
            <a:ext cx="291465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b" anchorCtr="0" compatLnSpc="1">
            <a:prstTxWarp prst="textNoShape">
              <a:avLst/>
            </a:prstTxWarp>
          </a:bodyPr>
          <a:lstStyle>
            <a:lvl1pPr defTabSz="904875">
              <a:defRPr sz="12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1588" y="9388475"/>
            <a:ext cx="2840037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b" anchorCtr="0" compatLnSpc="1">
            <a:prstTxWarp prst="textNoShape">
              <a:avLst/>
            </a:prstTxWarp>
          </a:bodyPr>
          <a:lstStyle>
            <a:lvl1pPr algn="r" defTabSz="904875">
              <a:defRPr sz="1200">
                <a:cs typeface="+mn-cs"/>
              </a:defRPr>
            </a:lvl1pPr>
          </a:lstStyle>
          <a:p>
            <a:pPr>
              <a:defRPr/>
            </a:pPr>
            <a:fld id="{B8793D9A-38A2-40F3-A65D-BAED8B7FA347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8848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4650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t" anchorCtr="0" compatLnSpc="1">
            <a:prstTxWarp prst="textNoShape">
              <a:avLst/>
            </a:prstTxWarp>
          </a:bodyPr>
          <a:lstStyle>
            <a:lvl1pPr defTabSz="904875">
              <a:defRPr sz="12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1588" y="0"/>
            <a:ext cx="2840037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t" anchorCtr="0" compatLnSpc="1">
            <a:prstTxWarp prst="textNoShape">
              <a:avLst/>
            </a:prstTxWarp>
          </a:bodyPr>
          <a:lstStyle>
            <a:lvl1pPr algn="r" defTabSz="904875">
              <a:defRPr sz="12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99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4075" y="757238"/>
            <a:ext cx="4946650" cy="37099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5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6938" y="4695825"/>
            <a:ext cx="4857750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245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88475"/>
            <a:ext cx="291465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b" anchorCtr="0" compatLnSpc="1">
            <a:prstTxWarp prst="textNoShape">
              <a:avLst/>
            </a:prstTxWarp>
          </a:bodyPr>
          <a:lstStyle>
            <a:lvl1pPr defTabSz="904875">
              <a:defRPr sz="12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45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1588" y="9388475"/>
            <a:ext cx="2840037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382" tIns="45191" rIns="90382" bIns="45191" numCol="1" anchor="b" anchorCtr="0" compatLnSpc="1">
            <a:prstTxWarp prst="textNoShape">
              <a:avLst/>
            </a:prstTxWarp>
          </a:bodyPr>
          <a:lstStyle>
            <a:lvl1pPr algn="r" defTabSz="904875">
              <a:defRPr sz="1200">
                <a:cs typeface="+mn-cs"/>
              </a:defRPr>
            </a:lvl1pPr>
          </a:lstStyle>
          <a:p>
            <a:pPr>
              <a:defRPr/>
            </a:pPr>
            <a:fld id="{C099B981-6E3B-4F46-9E9E-1AD4B936CFA0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90291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Unicode MS" pitchFamily="34" charset="-128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750" y="4689475"/>
            <a:ext cx="5332413" cy="4437063"/>
          </a:xfrm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750" y="4687888"/>
            <a:ext cx="5332413" cy="4438650"/>
          </a:xfrm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8E6117-AB09-4C82-ACB9-804E7FA57F5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1687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3B9730-3B62-4F34-98B5-B817E09F6CD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6524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3EF80-337B-4C2A-A5E8-C5659A02BA4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769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2BBE2C-A667-482B-B916-247E2F98639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504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9993A-EF49-45DB-833E-DFC794DF36B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7111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292F73-7111-4000-B81F-0EF65276973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214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464CFA-4BE0-4A3A-B203-7171BB899D1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5616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C25E2C-3EDA-4956-BEEA-D3101183EDF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7711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AC3FC1-D15C-4F09-8F5F-6A3D90C9C4F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9949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D65A2-F3E6-4B6F-8D15-9284AC1B6E0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6252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483B6A-EAC1-4193-AE81-1443AC3C09B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7113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D244F5-89FC-4B9E-8AE4-6B7AF107EF1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9328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F46F00-1940-4CBE-BDB8-080A3914B62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539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9BB4A8-42E3-4F02-B7F7-011CE0A332C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9686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04E982-F000-4891-A2E9-34E8BD4C9EF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7808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1CDFD3-CC35-4A4D-848F-9BD7F8B721F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9236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192C3D-B38D-4586-A069-EAFF22CF84B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5428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6AB8AA-2CC4-4D47-B2FB-4098EFFBABE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1567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EDBACF-61C1-41E6-831D-D009BFF293F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0676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75095E-F170-4259-93FA-F44D15AC1FD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8966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59144E-9F88-4066-9CF0-26263C00CCE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2103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69A16A-0F58-463E-897F-93432D2BDE9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566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E7C0C3-23B2-4F78-8C3A-701CD5817E5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9137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55CEFE-298D-4A10-B6E9-68871B10A20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689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A218FE-5780-4455-BD83-1DE9426B729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5114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4E941A-D702-4561-A224-37586CA67B5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0650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316F35-D095-49FC-B245-AFECA0CAE4E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4944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0DD3B7-9134-433D-860B-8AA449643A9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4552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A67E5E-34E9-497E-B0D4-38FEADCDC59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99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84C646-3E2C-4D64-9A09-256A0978A7D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5325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08F3B4-35D2-4F12-9CA9-3AE27E3C6DF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6644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DE294-36D6-4D39-8772-C4F182F41AE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2197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478CAA-6F87-4BDA-B6BD-325F399476B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348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866C3-1CFD-4F2A-924D-2524EE35540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90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8172B1-EBAF-4551-ABFF-B4F7F90E3AF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1693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23B03B-4C1D-4ED5-AD4D-5AB961054B3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2125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F867D8-6712-4763-8D3B-EB47D3C9E5D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4084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B5074-016E-4838-BBAB-79E1B3B66B8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3651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B5E7A5-2ACD-4D98-959E-F49BD8B03ED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6931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345C42-B51B-4D1B-973D-FC2E6708281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7699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1086ED-6596-4263-B72C-C4CAB1B2239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2867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B1FFC5-E5FB-46D6-8633-898F12A3994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3422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817D8A-9A5C-48EA-B49E-9152992DF62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9888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F7CD10-7AF9-443A-AF81-0955B923174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8096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4A0E49-9262-4BF7-BC1A-F791D234470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7420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6FD86F-307E-4032-A505-9DDCB7EC9CB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6709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E4D3D9-0E2D-40F4-8376-21623702917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57819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07AFA5-C019-4A6C-9294-D6EF5B02361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9776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BFF1BB-0022-4B87-8317-7546A36A966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476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7ED775-DC21-49A1-8C33-1891F197A16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8492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36CB39-5D36-4FF8-8214-60B0F4E19E7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904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83188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0148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73411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00188"/>
            <a:ext cx="3997325" cy="43513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8038" y="1500188"/>
            <a:ext cx="3998912" cy="43513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0886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0A1E3E-A002-4DF5-A259-EC786EC8E9B7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4683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7839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41470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21555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92012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78864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3763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621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38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68313" y="1500188"/>
            <a:ext cx="8148637" cy="4351337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18232094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D2A975-C47C-4A64-BEAE-613AE2FFE29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335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85365-F367-42E7-8A16-8388B98C077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3377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72380C-4EE3-4196-927E-B520511B713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1871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7683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683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683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C0412293-7917-4E76-BF6F-B3D150B01A3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00" r:id="rId1"/>
    <p:sldLayoutId id="2147484201" r:id="rId2"/>
    <p:sldLayoutId id="2147484202" r:id="rId3"/>
    <p:sldLayoutId id="2147484203" r:id="rId4"/>
    <p:sldLayoutId id="2147484204" r:id="rId5"/>
    <p:sldLayoutId id="2147484205" r:id="rId6"/>
    <p:sldLayoutId id="2147484206" r:id="rId7"/>
    <p:sldLayoutId id="2147484207" r:id="rId8"/>
    <p:sldLayoutId id="2147484208" r:id="rId9"/>
    <p:sldLayoutId id="2147484209" r:id="rId10"/>
    <p:sldLayoutId id="214748421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7786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786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786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12E73AE1-D55C-428E-8531-0BF6281E52E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  <p:sldLayoutId id="2147484216" r:id="rId6"/>
    <p:sldLayoutId id="2147484217" r:id="rId7"/>
    <p:sldLayoutId id="2147484218" r:id="rId8"/>
    <p:sldLayoutId id="2147484219" r:id="rId9"/>
    <p:sldLayoutId id="2147484220" r:id="rId10"/>
    <p:sldLayoutId id="214748422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7888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88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888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F9FAB484-9B92-40A5-BA5D-3451F884E0F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2" r:id="rId1"/>
    <p:sldLayoutId id="2147484223" r:id="rId2"/>
    <p:sldLayoutId id="2147484224" r:id="rId3"/>
    <p:sldLayoutId id="2147484225" r:id="rId4"/>
    <p:sldLayoutId id="2147484226" r:id="rId5"/>
    <p:sldLayoutId id="2147484227" r:id="rId6"/>
    <p:sldLayoutId id="2147484228" r:id="rId7"/>
    <p:sldLayoutId id="2147484229" r:id="rId8"/>
    <p:sldLayoutId id="2147484230" r:id="rId9"/>
    <p:sldLayoutId id="2147484231" r:id="rId10"/>
    <p:sldLayoutId id="214748423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7990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990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99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FEE80988-42A6-4BCA-8B39-F1649B05189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3" r:id="rId1"/>
    <p:sldLayoutId id="2147484234" r:id="rId2"/>
    <p:sldLayoutId id="2147484235" r:id="rId3"/>
    <p:sldLayoutId id="2147484236" r:id="rId4"/>
    <p:sldLayoutId id="2147484237" r:id="rId5"/>
    <p:sldLayoutId id="2147484238" r:id="rId6"/>
    <p:sldLayoutId id="2147484239" r:id="rId7"/>
    <p:sldLayoutId id="2147484240" r:id="rId8"/>
    <p:sldLayoutId id="2147484241" r:id="rId9"/>
    <p:sldLayoutId id="2147484242" r:id="rId10"/>
    <p:sldLayoutId id="2147484243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9389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38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38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DADB2589-53A2-4C05-8D7C-4E2BC56E149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4" r:id="rId1"/>
    <p:sldLayoutId id="2147484245" r:id="rId2"/>
    <p:sldLayoutId id="2147484246" r:id="rId3"/>
    <p:sldLayoutId id="2147484247" r:id="rId4"/>
    <p:sldLayoutId id="2147484248" r:id="rId5"/>
    <p:sldLayoutId id="2147484249" r:id="rId6"/>
    <p:sldLayoutId id="2147484250" r:id="rId7"/>
    <p:sldLayoutId id="2147484251" r:id="rId8"/>
    <p:sldLayoutId id="2147484252" r:id="rId9"/>
    <p:sldLayoutId id="2147484253" r:id="rId10"/>
    <p:sldLayoutId id="2147484254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3825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00188"/>
            <a:ext cx="8148637" cy="4351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148" name="Line 4"/>
          <p:cNvSpPr>
            <a:spLocks noChangeShapeType="1"/>
          </p:cNvSpPr>
          <p:nvPr/>
        </p:nvSpPr>
        <p:spPr bwMode="auto">
          <a:xfrm>
            <a:off x="0" y="1277938"/>
            <a:ext cx="9144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>
            <a:outerShdw dist="28398" dir="1593903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49" name="Rectangle 5"/>
          <p:cNvSpPr>
            <a:spLocks noChangeArrowheads="1"/>
          </p:cNvSpPr>
          <p:nvPr/>
        </p:nvSpPr>
        <p:spPr bwMode="auto">
          <a:xfrm>
            <a:off x="0" y="6015038"/>
            <a:ext cx="9144000" cy="84296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150" name="Rectangle 6"/>
          <p:cNvSpPr>
            <a:spLocks noChangeArrowheads="1"/>
          </p:cNvSpPr>
          <p:nvPr/>
        </p:nvSpPr>
        <p:spPr bwMode="auto">
          <a:xfrm>
            <a:off x="665163" y="6292850"/>
            <a:ext cx="5832475" cy="287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en-US" sz="1200" b="1">
                <a:solidFill>
                  <a:srgbClr val="96CCEE"/>
                </a:solidFill>
                <a:latin typeface="Arial" charset="0"/>
              </a:rPr>
              <a:t>VII Conference of the Pan American Network on Drug Regulatory</a:t>
            </a:r>
          </a:p>
          <a:p>
            <a:r>
              <a:rPr lang="en-US" sz="1200" b="1">
                <a:solidFill>
                  <a:srgbClr val="96CCEE"/>
                </a:solidFill>
                <a:latin typeface="Arial" charset="0"/>
              </a:rPr>
              <a:t>Harmonization (PANDRH), Ottawa, Canada, 5-7 September 2013</a:t>
            </a:r>
            <a:endParaRPr lang="en-US" sz="1100" b="1">
              <a:solidFill>
                <a:srgbClr val="96CCEE"/>
              </a:solidFill>
              <a:latin typeface="Arial" charset="0"/>
            </a:endParaRPr>
          </a:p>
        </p:txBody>
      </p:sp>
      <p:sp>
        <p:nvSpPr>
          <p:cNvPr id="6151" name="Rectangle 7"/>
          <p:cNvSpPr>
            <a:spLocks noChangeArrowheads="1"/>
          </p:cNvSpPr>
          <p:nvPr/>
        </p:nvSpPr>
        <p:spPr bwMode="auto">
          <a:xfrm>
            <a:off x="107950" y="6381750"/>
            <a:ext cx="355600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 eaLnBrk="1" hangingPunct="1"/>
            <a:fld id="{3C719C3C-8371-4DF3-84FA-C675E41B3FAE}" type="slidenum">
              <a:rPr lang="ar-SA" sz="1500" b="1">
                <a:solidFill>
                  <a:srgbClr val="72BBE8"/>
                </a:solidFill>
              </a:rPr>
              <a:pPr algn="r" eaLnBrk="1" hangingPunct="1"/>
              <a:t>‹Nº›</a:t>
            </a:fld>
            <a:r>
              <a:rPr lang="en-US" sz="1500" b="1">
                <a:solidFill>
                  <a:srgbClr val="72BBE8"/>
                </a:solidFill>
              </a:rPr>
              <a:t> </a:t>
            </a:r>
            <a:r>
              <a:rPr lang="en-US" sz="2100" b="1" baseline="14000">
                <a:solidFill>
                  <a:schemeClr val="bg1"/>
                </a:solidFill>
              </a:rPr>
              <a:t>|</a:t>
            </a:r>
          </a:p>
        </p:txBody>
      </p:sp>
      <p:pic>
        <p:nvPicPr>
          <p:cNvPr id="6152" name="Picture 8" descr="WHO-EN-BW-H"/>
          <p:cNvPicPr>
            <a:picLocks noChangeAspect="1" noChangeArrowheads="1"/>
          </p:cNvPicPr>
          <p:nvPr/>
        </p:nvPicPr>
        <p:blipFill>
          <a:blip r:embed="rId14" cstate="print">
            <a:lum contrast="12000"/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7488" y="6042025"/>
            <a:ext cx="2325687" cy="76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55" r:id="rId2"/>
    <p:sldLayoutId id="2147484256" r:id="rId3"/>
    <p:sldLayoutId id="2147484257" r:id="rId4"/>
    <p:sldLayoutId id="2147484258" r:id="rId5"/>
    <p:sldLayoutId id="2147484259" r:id="rId6"/>
    <p:sldLayoutId id="2147484260" r:id="rId7"/>
    <p:sldLayoutId id="2147484261" r:id="rId8"/>
    <p:sldLayoutId id="2147484262" r:id="rId9"/>
    <p:sldLayoutId id="2147484263" r:id="rId10"/>
    <p:sldLayoutId id="2147484264" r:id="rId11"/>
    <p:sldLayoutId id="2147484266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500">
          <a:solidFill>
            <a:srgbClr val="000066"/>
          </a:solidFill>
          <a:latin typeface="+mn-lt"/>
          <a:ea typeface="+mn-ea"/>
          <a:cs typeface="+mn-cs"/>
        </a:defRPr>
      </a:lvl1pPr>
      <a:lvl2pPr marL="804863" indent="-280988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2100">
          <a:solidFill>
            <a:srgbClr val="000066"/>
          </a:solidFill>
          <a:latin typeface="+mn-lt"/>
          <a:cs typeface="+mn-cs"/>
        </a:defRPr>
      </a:lvl2pPr>
      <a:lvl3pPr marL="1255713" indent="-269875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•"/>
        <a:defRPr sz="2100">
          <a:solidFill>
            <a:srgbClr val="000066"/>
          </a:solidFill>
          <a:latin typeface="Arial Unicode MS" pitchFamily="34" charset="-128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–"/>
        <a:defRPr sz="2100">
          <a:solidFill>
            <a:srgbClr val="000066"/>
          </a:solidFill>
          <a:latin typeface="Arial Unicode MS" pitchFamily="34" charset="-128"/>
          <a:cs typeface="+mn-cs"/>
        </a:defRPr>
      </a:lvl4pPr>
      <a:lvl5pPr marL="1989138" indent="-146050" algn="r" rtl="1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5pPr>
      <a:lvl6pPr marL="2446338" indent="-146050" algn="r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903538" indent="-146050" algn="r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360738" indent="-146050" algn="r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817938" indent="-146050" algn="r" rtl="1" fontAlgn="base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azatyans@who.int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7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26" Type="http://schemas.openxmlformats.org/officeDocument/2006/relationships/tags" Target="../tags/tag103.xml"/><Relationship Id="rId39" Type="http://schemas.openxmlformats.org/officeDocument/2006/relationships/tags" Target="../tags/tag116.xml"/><Relationship Id="rId21" Type="http://schemas.openxmlformats.org/officeDocument/2006/relationships/tags" Target="../tags/tag98.xml"/><Relationship Id="rId34" Type="http://schemas.openxmlformats.org/officeDocument/2006/relationships/tags" Target="../tags/tag111.xml"/><Relationship Id="rId42" Type="http://schemas.openxmlformats.org/officeDocument/2006/relationships/tags" Target="../tags/tag119.xml"/><Relationship Id="rId47" Type="http://schemas.openxmlformats.org/officeDocument/2006/relationships/tags" Target="../tags/tag124.xml"/><Relationship Id="rId50" Type="http://schemas.openxmlformats.org/officeDocument/2006/relationships/tags" Target="../tags/tag127.xml"/><Relationship Id="rId55" Type="http://schemas.openxmlformats.org/officeDocument/2006/relationships/tags" Target="../tags/tag132.xml"/><Relationship Id="rId63" Type="http://schemas.openxmlformats.org/officeDocument/2006/relationships/tags" Target="../tags/tag140.xml"/><Relationship Id="rId68" Type="http://schemas.openxmlformats.org/officeDocument/2006/relationships/tags" Target="../tags/tag145.xml"/><Relationship Id="rId76" Type="http://schemas.openxmlformats.org/officeDocument/2006/relationships/tags" Target="../tags/tag153.xml"/><Relationship Id="rId7" Type="http://schemas.openxmlformats.org/officeDocument/2006/relationships/tags" Target="../tags/tag84.xml"/><Relationship Id="rId71" Type="http://schemas.openxmlformats.org/officeDocument/2006/relationships/tags" Target="../tags/tag148.xml"/><Relationship Id="rId2" Type="http://schemas.openxmlformats.org/officeDocument/2006/relationships/tags" Target="../tags/tag79.xml"/><Relationship Id="rId16" Type="http://schemas.openxmlformats.org/officeDocument/2006/relationships/tags" Target="../tags/tag93.xml"/><Relationship Id="rId29" Type="http://schemas.openxmlformats.org/officeDocument/2006/relationships/tags" Target="../tags/tag106.xml"/><Relationship Id="rId11" Type="http://schemas.openxmlformats.org/officeDocument/2006/relationships/tags" Target="../tags/tag88.xml"/><Relationship Id="rId24" Type="http://schemas.openxmlformats.org/officeDocument/2006/relationships/tags" Target="../tags/tag101.xml"/><Relationship Id="rId32" Type="http://schemas.openxmlformats.org/officeDocument/2006/relationships/tags" Target="../tags/tag109.xml"/><Relationship Id="rId37" Type="http://schemas.openxmlformats.org/officeDocument/2006/relationships/tags" Target="../tags/tag114.xml"/><Relationship Id="rId40" Type="http://schemas.openxmlformats.org/officeDocument/2006/relationships/tags" Target="../tags/tag117.xml"/><Relationship Id="rId45" Type="http://schemas.openxmlformats.org/officeDocument/2006/relationships/tags" Target="../tags/tag122.xml"/><Relationship Id="rId53" Type="http://schemas.openxmlformats.org/officeDocument/2006/relationships/tags" Target="../tags/tag130.xml"/><Relationship Id="rId58" Type="http://schemas.openxmlformats.org/officeDocument/2006/relationships/tags" Target="../tags/tag135.xml"/><Relationship Id="rId66" Type="http://schemas.openxmlformats.org/officeDocument/2006/relationships/tags" Target="../tags/tag143.xml"/><Relationship Id="rId74" Type="http://schemas.openxmlformats.org/officeDocument/2006/relationships/tags" Target="../tags/tag151.xml"/><Relationship Id="rId79" Type="http://schemas.openxmlformats.org/officeDocument/2006/relationships/tags" Target="../tags/tag156.xml"/><Relationship Id="rId5" Type="http://schemas.openxmlformats.org/officeDocument/2006/relationships/tags" Target="../tags/tag82.xml"/><Relationship Id="rId61" Type="http://schemas.openxmlformats.org/officeDocument/2006/relationships/tags" Target="../tags/tag138.xml"/><Relationship Id="rId82" Type="http://schemas.openxmlformats.org/officeDocument/2006/relationships/notesSlide" Target="../notesSlides/notesSlide2.xml"/><Relationship Id="rId10" Type="http://schemas.openxmlformats.org/officeDocument/2006/relationships/tags" Target="../tags/tag87.xml"/><Relationship Id="rId19" Type="http://schemas.openxmlformats.org/officeDocument/2006/relationships/tags" Target="../tags/tag96.xml"/><Relationship Id="rId31" Type="http://schemas.openxmlformats.org/officeDocument/2006/relationships/tags" Target="../tags/tag108.xml"/><Relationship Id="rId44" Type="http://schemas.openxmlformats.org/officeDocument/2006/relationships/tags" Target="../tags/tag121.xml"/><Relationship Id="rId52" Type="http://schemas.openxmlformats.org/officeDocument/2006/relationships/tags" Target="../tags/tag129.xml"/><Relationship Id="rId60" Type="http://schemas.openxmlformats.org/officeDocument/2006/relationships/tags" Target="../tags/tag137.xml"/><Relationship Id="rId65" Type="http://schemas.openxmlformats.org/officeDocument/2006/relationships/tags" Target="../tags/tag142.xml"/><Relationship Id="rId73" Type="http://schemas.openxmlformats.org/officeDocument/2006/relationships/tags" Target="../tags/tag150.xml"/><Relationship Id="rId78" Type="http://schemas.openxmlformats.org/officeDocument/2006/relationships/tags" Target="../tags/tag155.xml"/><Relationship Id="rId81" Type="http://schemas.openxmlformats.org/officeDocument/2006/relationships/slideLayout" Target="../slideLayouts/slideLayout5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tags" Target="../tags/tag99.xml"/><Relationship Id="rId27" Type="http://schemas.openxmlformats.org/officeDocument/2006/relationships/tags" Target="../tags/tag104.xml"/><Relationship Id="rId30" Type="http://schemas.openxmlformats.org/officeDocument/2006/relationships/tags" Target="../tags/tag107.xml"/><Relationship Id="rId35" Type="http://schemas.openxmlformats.org/officeDocument/2006/relationships/tags" Target="../tags/tag112.xml"/><Relationship Id="rId43" Type="http://schemas.openxmlformats.org/officeDocument/2006/relationships/tags" Target="../tags/tag120.xml"/><Relationship Id="rId48" Type="http://schemas.openxmlformats.org/officeDocument/2006/relationships/tags" Target="../tags/tag125.xml"/><Relationship Id="rId56" Type="http://schemas.openxmlformats.org/officeDocument/2006/relationships/tags" Target="../tags/tag133.xml"/><Relationship Id="rId64" Type="http://schemas.openxmlformats.org/officeDocument/2006/relationships/tags" Target="../tags/tag141.xml"/><Relationship Id="rId69" Type="http://schemas.openxmlformats.org/officeDocument/2006/relationships/tags" Target="../tags/tag146.xml"/><Relationship Id="rId77" Type="http://schemas.openxmlformats.org/officeDocument/2006/relationships/tags" Target="../tags/tag154.xml"/><Relationship Id="rId8" Type="http://schemas.openxmlformats.org/officeDocument/2006/relationships/tags" Target="../tags/tag85.xml"/><Relationship Id="rId51" Type="http://schemas.openxmlformats.org/officeDocument/2006/relationships/tags" Target="../tags/tag128.xml"/><Relationship Id="rId72" Type="http://schemas.openxmlformats.org/officeDocument/2006/relationships/tags" Target="../tags/tag149.xml"/><Relationship Id="rId80" Type="http://schemas.openxmlformats.org/officeDocument/2006/relationships/tags" Target="../tags/tag157.xml"/><Relationship Id="rId3" Type="http://schemas.openxmlformats.org/officeDocument/2006/relationships/tags" Target="../tags/tag80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tags" Target="../tags/tag102.xml"/><Relationship Id="rId33" Type="http://schemas.openxmlformats.org/officeDocument/2006/relationships/tags" Target="../tags/tag110.xml"/><Relationship Id="rId38" Type="http://schemas.openxmlformats.org/officeDocument/2006/relationships/tags" Target="../tags/tag115.xml"/><Relationship Id="rId46" Type="http://schemas.openxmlformats.org/officeDocument/2006/relationships/tags" Target="../tags/tag123.xml"/><Relationship Id="rId59" Type="http://schemas.openxmlformats.org/officeDocument/2006/relationships/tags" Target="../tags/tag136.xml"/><Relationship Id="rId67" Type="http://schemas.openxmlformats.org/officeDocument/2006/relationships/tags" Target="../tags/tag144.xml"/><Relationship Id="rId20" Type="http://schemas.openxmlformats.org/officeDocument/2006/relationships/tags" Target="../tags/tag97.xml"/><Relationship Id="rId41" Type="http://schemas.openxmlformats.org/officeDocument/2006/relationships/tags" Target="../tags/tag118.xml"/><Relationship Id="rId54" Type="http://schemas.openxmlformats.org/officeDocument/2006/relationships/tags" Target="../tags/tag131.xml"/><Relationship Id="rId62" Type="http://schemas.openxmlformats.org/officeDocument/2006/relationships/tags" Target="../tags/tag139.xml"/><Relationship Id="rId70" Type="http://schemas.openxmlformats.org/officeDocument/2006/relationships/tags" Target="../tags/tag147.xml"/><Relationship Id="rId75" Type="http://schemas.openxmlformats.org/officeDocument/2006/relationships/tags" Target="../tags/tag152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5" Type="http://schemas.openxmlformats.org/officeDocument/2006/relationships/tags" Target="../tags/tag92.xml"/><Relationship Id="rId23" Type="http://schemas.openxmlformats.org/officeDocument/2006/relationships/tags" Target="../tags/tag100.xml"/><Relationship Id="rId28" Type="http://schemas.openxmlformats.org/officeDocument/2006/relationships/tags" Target="../tags/tag105.xml"/><Relationship Id="rId36" Type="http://schemas.openxmlformats.org/officeDocument/2006/relationships/tags" Target="../tags/tag113.xml"/><Relationship Id="rId49" Type="http://schemas.openxmlformats.org/officeDocument/2006/relationships/tags" Target="../tags/tag126.xml"/><Relationship Id="rId57" Type="http://schemas.openxmlformats.org/officeDocument/2006/relationships/tags" Target="../tags/tag13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ho.int/medicines" TargetMode="External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7.xml"/><Relationship Id="rId4" Type="http://schemas.openxmlformats.org/officeDocument/2006/relationships/hyperlink" Target="http://www.eauc.org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57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image" Target="../media/image9.png"/><Relationship Id="rId89" Type="http://schemas.openxmlformats.org/officeDocument/2006/relationships/image" Target="../media/image12.png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image" Target="../media/image14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notesSlide" Target="../notesSlides/notesSlide1.xml"/><Relationship Id="rId87" Type="http://schemas.openxmlformats.org/officeDocument/2006/relationships/hyperlink" Target="http://images.google.com/imgres?imgurl=http://www.sheastandards.net/images/ecowas-logo.gif&amp;imgrefurl=http://www.sheastandards.net/RTC_comments.html&amp;usg=__ZRdGwyE0rbAImfqZM0OcxW4chFw=&amp;h=101&amp;w=100&amp;sz=3&amp;hl=en&amp;start=2&amp;sig2=U4QZ8oOfd6H_1ZQLu3zfkA&amp;tbnid=WKlj5VwjtfrTlM:&amp;tbnh=83&amp;tbnw=82&amp;ei=vVCbSfq9FY6qsAPzxqS5Bw&amp;prev=/images?q=ECOWAS+logo&amp;gbv=2&amp;hl=en" TargetMode="External"/><Relationship Id="rId102" Type="http://schemas.openxmlformats.org/officeDocument/2006/relationships/image" Target="../media/image23.jpe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image" Target="../media/image7.png"/><Relationship Id="rId90" Type="http://schemas.openxmlformats.org/officeDocument/2006/relationships/hyperlink" Target="http://images.google.com/imgres?imgurl=http://siteresources.worldbank.org/EXTSSATPNEWS/Images/3745729-1196131837876/EAC-logo.gif&amp;imgrefurl=http://newsletters.worldbank.org/external/default/main?print=Y&amp;menuPK=3745748&amp;theSitePK=3745731&amp;pagePK=64133601&amp;contentMDK=21558414&amp;piPK=64129599&amp;usg=__JJ7mP_oPmdsvUs7lGKvNhm6Kv3Y=&amp;h=123&amp;w=133&amp;sz=10&amp;hl=en&amp;start=2&amp;sig2=YKJKE4StZNZYazeWd-0yHw&amp;tbnid=v22WjkweBGVgmM:&amp;tbnh=85&amp;tbnw=92&amp;ei=f1CbSZrkA4r0sAOFvOSwBw&amp;prev=/images?q=EAC+logo&amp;gbv=2&amp;hl=en" TargetMode="External"/><Relationship Id="rId95" Type="http://schemas.openxmlformats.org/officeDocument/2006/relationships/image" Target="../media/image17.png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image" Target="../media/image22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hyperlink" Target="http://images.google.com/imgres?imgurl=http://upload.wikimedia.org/wikipedia/commons/thumb/5/55/Logo_of_the_African_Union.svg/429px-Logo_of_the_African_Union.svg.png&amp;imgrefurl=http://commons.wikimedia.org/wiki/File:Logo_of_the_African_Union.svg&amp;usg=__ZBYChXpN_3spKWYmVJ16WuRvWwE=&amp;h=425&amp;w=429&amp;sz=59&amp;hl=en&amp;start=1&amp;sig2=wSrV0xfmKGZWnt6W_dmQAQ&amp;tbnid=z2NEcrvJsPCBKM:&amp;tbnh=125&amp;tbnw=126&amp;ei=tU-bSdPILYrMsAObxui3Bw&amp;prev=/images?q=african+union&amp;gbv=2&amp;hl=en" TargetMode="External"/><Relationship Id="rId85" Type="http://schemas.openxmlformats.org/officeDocument/2006/relationships/hyperlink" Target="http://images.google.com/imgres?imgurl=http://gwethguy.files.wordpress.com/2008/03/cemac-logo.jpg&amp;imgrefurl=http://gwethguy.wordpress.com/2008/03/09/strategie-d%E2%80%99integration-sous-regionale-le-gabon-prend-l%E2%80%99initiative-en-zone-cemac/&amp;usg=__pyKVqc-8WaKqus2VJlxHfapUmT8=&amp;h=250&amp;w=250&amp;sz=49&amp;hl=en&amp;start=6&amp;sig2=f0ETTNYcLRifX9HxIjBGPQ&amp;tbnid=K2wc1ALh_fXJrM:&amp;tbnh=111&amp;tbnw=111&amp;ei=oFCbSaCaBpGasAPEyNmyBw&amp;prev=/images?q=CEMAC+logo&amp;gbv=2&amp;hl=en" TargetMode="External"/><Relationship Id="rId93" Type="http://schemas.openxmlformats.org/officeDocument/2006/relationships/image" Target="../media/image15.png"/><Relationship Id="rId98" Type="http://schemas.openxmlformats.org/officeDocument/2006/relationships/image" Target="../media/image20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image" Target="../media/image24.jpe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image" Target="../media/image8.jpeg"/><Relationship Id="rId88" Type="http://schemas.openxmlformats.org/officeDocument/2006/relationships/image" Target="../media/image11.jpeg"/><Relationship Id="rId91" Type="http://schemas.openxmlformats.org/officeDocument/2006/relationships/image" Target="../media/image13.jpeg"/><Relationship Id="rId96" Type="http://schemas.openxmlformats.org/officeDocument/2006/relationships/image" Target="../media/image18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slideLayout" Target="../slideLayouts/slideLayout57.xml"/><Relationship Id="rId81" Type="http://schemas.openxmlformats.org/officeDocument/2006/relationships/image" Target="../media/image6.jpeg"/><Relationship Id="rId86" Type="http://schemas.openxmlformats.org/officeDocument/2006/relationships/image" Target="../media/image10.jpeg"/><Relationship Id="rId94" Type="http://schemas.openxmlformats.org/officeDocument/2006/relationships/image" Target="../media/image16.png"/><Relationship Id="rId99" Type="http://schemas.openxmlformats.org/officeDocument/2006/relationships/image" Target="../media/image21.png"/><Relationship Id="rId101" Type="http://schemas.openxmlformats.org/officeDocument/2006/relationships/hyperlink" Target="http://images.google.com/imgres?imgurl=http://www.cidoc.net/logo_za.gif&amp;imgrefurl=http://www.cidoc.net/001293.html&amp;usg=__0f7R9zxVG4cKsaIBV9G2MI-ePjk=&amp;h=300&amp;w=227&amp;sz=16&amp;hl=en&amp;start=3&amp;sig2=A0Bk7blt2VNLKRJBz0v67A&amp;tbnid=pj8u0UQrvQpwzM:&amp;tbnh=116&amp;tbnw=88&amp;ei=DlGbSYXgGZngsAOR1dS1Bw&amp;prev=/images?q=South+Africa+government+logo&amp;gbv=2&amp;hl=en" TargetMode="Externa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52650"/>
            <a:ext cx="3851275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13"/>
          <p:cNvSpPr>
            <a:spLocks noChangeArrowheads="1"/>
          </p:cNvSpPr>
          <p:nvPr/>
        </p:nvSpPr>
        <p:spPr bwMode="auto">
          <a:xfrm>
            <a:off x="2925763" y="1916113"/>
            <a:ext cx="5832475" cy="1474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63DE8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 algn="ctr"/>
            <a:r>
              <a:rPr lang="en-US" sz="3000" b="1" dirty="0">
                <a:solidFill>
                  <a:srgbClr val="4C2600"/>
                </a:solidFill>
                <a:latin typeface="Calibri" pitchFamily="34" charset="0"/>
                <a:cs typeface="Calibri" pitchFamily="34" charset="0"/>
              </a:rPr>
              <a:t>Overview of African Medicines Registration Harmonization </a:t>
            </a:r>
            <a:r>
              <a:rPr lang="en-US" sz="3000" b="1" dirty="0" smtClean="0">
                <a:solidFill>
                  <a:srgbClr val="4C2600"/>
                </a:solidFill>
                <a:latin typeface="Calibri" pitchFamily="34" charset="0"/>
                <a:cs typeface="Calibri" pitchFamily="34" charset="0"/>
              </a:rPr>
              <a:t>Initiative (AMRH</a:t>
            </a:r>
            <a:r>
              <a:rPr lang="en-US" sz="3000" b="1" dirty="0">
                <a:solidFill>
                  <a:srgbClr val="4C2600"/>
                </a:solidFill>
                <a:latin typeface="Calibri" pitchFamily="34" charset="0"/>
                <a:cs typeface="Calibri" pitchFamily="34" charset="0"/>
              </a:rPr>
              <a:t>)</a:t>
            </a:r>
            <a:endParaRPr lang="es-ES" sz="3000" b="1" dirty="0">
              <a:solidFill>
                <a:srgbClr val="4C26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Rectangle 25"/>
          <p:cNvSpPr>
            <a:spLocks noChangeArrowheads="1"/>
          </p:cNvSpPr>
          <p:nvPr/>
        </p:nvSpPr>
        <p:spPr bwMode="auto">
          <a:xfrm>
            <a:off x="4426594" y="4494842"/>
            <a:ext cx="4033838" cy="138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63DE8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>
              <a:defRPr/>
            </a:pPr>
            <a:r>
              <a:rPr lang="en-US" sz="1200" b="1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Dr Samvel Azatyan</a:t>
            </a:r>
          </a:p>
          <a:p>
            <a:pPr>
              <a:defRPr/>
            </a:pPr>
            <a:r>
              <a:rPr lang="en-US" sz="12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Manager</a:t>
            </a:r>
          </a:p>
          <a:p>
            <a:pPr>
              <a:defRPr/>
            </a:pPr>
            <a:r>
              <a:rPr lang="en-US" sz="12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Medicines  Regulatory Support Programme</a:t>
            </a:r>
          </a:p>
          <a:p>
            <a:pPr>
              <a:defRPr/>
            </a:pPr>
            <a:r>
              <a:rPr lang="en-US" sz="12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Quality Assurance and Safety: Medicines</a:t>
            </a:r>
            <a:br>
              <a:rPr lang="en-US" sz="12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en-US" sz="12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Essential Medicines and  Medical Products</a:t>
            </a:r>
          </a:p>
          <a:p>
            <a:pPr>
              <a:defRPr/>
            </a:pPr>
            <a:r>
              <a:rPr lang="en-US" sz="12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World Health Organization</a:t>
            </a:r>
            <a:br>
              <a:rPr lang="en-US" sz="12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en-US" sz="12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E-mail: </a:t>
            </a:r>
            <a:r>
              <a:rPr lang="en-US" sz="12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  <a:hlinkClick r:id="rId3"/>
              </a:rPr>
              <a:t>azatyans@who.int</a:t>
            </a:r>
            <a:r>
              <a:rPr lang="en-US" sz="12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n-US" sz="1200" dirty="0">
              <a:solidFill>
                <a:schemeClr val="accent4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197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88" y="420688"/>
            <a:ext cx="2555875" cy="796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8" name="TextBox 5"/>
          <p:cNvSpPr txBox="1">
            <a:spLocks noChangeArrowheads="1"/>
          </p:cNvSpPr>
          <p:nvPr/>
        </p:nvSpPr>
        <p:spPr bwMode="auto">
          <a:xfrm>
            <a:off x="3491879" y="420688"/>
            <a:ext cx="504093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algn="r"/>
            <a:r>
              <a:rPr lang="en-US" b="1" dirty="0" smtClean="0">
                <a:latin typeface="Calibri" pitchFamily="34" charset="0"/>
                <a:cs typeface="Calibri" pitchFamily="34" charset="0"/>
              </a:rPr>
              <a:t>VII Conference of the Pan American Network on</a:t>
            </a:r>
          </a:p>
          <a:p>
            <a:pPr algn="r"/>
            <a:r>
              <a:rPr lang="en-US" b="1" dirty="0" smtClean="0">
                <a:latin typeface="Calibri" pitchFamily="34" charset="0"/>
                <a:cs typeface="Calibri" pitchFamily="34" charset="0"/>
              </a:rPr>
              <a:t>Drug Regulatory Harmonization (PANDRH)</a:t>
            </a:r>
          </a:p>
          <a:p>
            <a:pPr algn="r"/>
            <a:r>
              <a:rPr lang="en-US" b="1" dirty="0" smtClean="0">
                <a:latin typeface="Calibri" pitchFamily="34" charset="0"/>
                <a:cs typeface="Calibri" pitchFamily="34" charset="0"/>
              </a:rPr>
              <a:t>Ottawa, Canada, 5-7 September 2013</a:t>
            </a:r>
            <a:endParaRPr lang="en-US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92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pPr eaLnBrk="1" hangingPunct="1"/>
            <a:r>
              <a:rPr lang="en-GB" sz="3200" dirty="0" smtClean="0">
                <a:latin typeface="Calibri" pitchFamily="34" charset="0"/>
                <a:cs typeface="Calibri" pitchFamily="34" charset="0"/>
              </a:rPr>
              <a:t>Why Regional Economic Communities</a:t>
            </a:r>
            <a:br>
              <a:rPr lang="en-GB" sz="3200" dirty="0" smtClean="0">
                <a:latin typeface="Calibri" pitchFamily="34" charset="0"/>
                <a:cs typeface="Calibri" pitchFamily="34" charset="0"/>
              </a:rPr>
            </a:br>
            <a:r>
              <a:rPr lang="en-GB" sz="3200" dirty="0" smtClean="0">
                <a:latin typeface="Calibri" pitchFamily="34" charset="0"/>
                <a:cs typeface="Calibri" pitchFamily="34" charset="0"/>
              </a:rPr>
              <a:t>(RECs) ‐ based approach?</a:t>
            </a:r>
            <a:endParaRPr lang="et-EE" sz="32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50824" y="1500188"/>
            <a:ext cx="8713663" cy="4351337"/>
          </a:xfrm>
        </p:spPr>
        <p:txBody>
          <a:bodyPr/>
          <a:lstStyle/>
          <a:p>
            <a:pPr eaLnBrk="1" hangingPunct="1">
              <a:spcBef>
                <a:spcPts val="0"/>
              </a:spcBef>
              <a:buSzPct val="120000"/>
              <a:buFont typeface="Wingdings" pitchFamily="2" charset="2"/>
              <a:buChar char="§"/>
            </a:pPr>
            <a:r>
              <a:rPr lang="en-GB" sz="2300" dirty="0" smtClean="0">
                <a:latin typeface="Calibri" pitchFamily="34" charset="0"/>
                <a:cs typeface="Calibri" pitchFamily="34" charset="0"/>
              </a:rPr>
              <a:t>Africa is a continent of huge diversity and complex                          unity, with numerous Regional Economic                                      Communities (RECs);</a:t>
            </a:r>
          </a:p>
          <a:p>
            <a:pPr eaLnBrk="1" hangingPunct="1">
              <a:spcBef>
                <a:spcPts val="0"/>
              </a:spcBef>
              <a:buSzPct val="120000"/>
              <a:buFont typeface="Wingdings" pitchFamily="2" charset="2"/>
              <a:buChar char="§"/>
            </a:pPr>
            <a:r>
              <a:rPr lang="en-US" sz="2300" dirty="0" smtClean="0">
                <a:latin typeface="Calibri" pitchFamily="34" charset="0"/>
                <a:cs typeface="Calibri" pitchFamily="34" charset="0"/>
              </a:rPr>
              <a:t>RECs have a strong mandate to promote common                            trade, economic and market opportunities to those                           countries that constitute their member states.</a:t>
            </a:r>
          </a:p>
          <a:p>
            <a:pPr eaLnBrk="1" hangingPunct="1">
              <a:spcBef>
                <a:spcPts val="0"/>
              </a:spcBef>
              <a:buSzPct val="120000"/>
              <a:buFont typeface="Wingdings" pitchFamily="2" charset="2"/>
              <a:buChar char="§"/>
            </a:pPr>
            <a:r>
              <a:rPr lang="en-US" sz="2300" dirty="0" smtClean="0">
                <a:latin typeface="Calibri" pitchFamily="34" charset="0"/>
                <a:cs typeface="Calibri" pitchFamily="34" charset="0"/>
              </a:rPr>
              <a:t>In addition to economic development, many RECs work to promote social development and are </a:t>
            </a:r>
            <a:r>
              <a:rPr lang="en-US" sz="2300" i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increasingly active in the healthcare field</a:t>
            </a:r>
            <a:r>
              <a:rPr lang="en-US" sz="2300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pPr eaLnBrk="1" hangingPunct="1">
              <a:spcBef>
                <a:spcPts val="0"/>
              </a:spcBef>
              <a:buSzPct val="120000"/>
              <a:buFont typeface="Wingdings" pitchFamily="2" charset="2"/>
              <a:buChar char="§"/>
            </a:pPr>
            <a:r>
              <a:rPr lang="en-US" sz="2300" dirty="0" smtClean="0">
                <a:latin typeface="Calibri" pitchFamily="34" charset="0"/>
                <a:cs typeface="Calibri" pitchFamily="34" charset="0"/>
              </a:rPr>
              <a:t>Several RECs have already supported </a:t>
            </a:r>
            <a:r>
              <a:rPr lang="en-US" sz="2300" i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harmonization of medicines registration </a:t>
            </a:r>
            <a:r>
              <a:rPr lang="en-US" sz="2300" dirty="0" smtClean="0">
                <a:latin typeface="Calibri" pitchFamily="34" charset="0"/>
                <a:cs typeface="Calibri" pitchFamily="34" charset="0"/>
              </a:rPr>
              <a:t>by developing common pharmaceutical policies and operational plans.</a:t>
            </a:r>
          </a:p>
          <a:p>
            <a:pPr eaLnBrk="1" hangingPunct="1">
              <a:spcBef>
                <a:spcPts val="600"/>
              </a:spcBef>
              <a:buSzPct val="120000"/>
              <a:buFont typeface="Wingdings" pitchFamily="2" charset="2"/>
              <a:buChar char="§"/>
            </a:pPr>
            <a:endParaRPr lang="en-GB" sz="2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6691" name="Picture 6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853" y="1484784"/>
            <a:ext cx="2084635" cy="2012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chemeClr val="tx1"/>
                </a:solidFill>
                <a:prstDash val="solid"/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But.. a number of overlaps and politically complicated environment substantially affect the situation… </a:t>
            </a:r>
            <a:endParaRPr lang="en-GB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>
                <a:latin typeface="Calibri" pitchFamily="34" charset="0"/>
                <a:cs typeface="Calibri" pitchFamily="34" charset="0"/>
              </a:rPr>
              <a:t>Why Regional Economic Communities</a:t>
            </a:r>
            <a:br>
              <a:rPr lang="en-GB" sz="3200" dirty="0">
                <a:latin typeface="Calibri" pitchFamily="34" charset="0"/>
                <a:cs typeface="Calibri" pitchFamily="34" charset="0"/>
              </a:rPr>
            </a:br>
            <a:r>
              <a:rPr lang="en-GB" sz="3200" dirty="0">
                <a:latin typeface="Calibri" pitchFamily="34" charset="0"/>
                <a:cs typeface="Calibri" pitchFamily="34" charset="0"/>
              </a:rPr>
              <a:t>(RECs) ‐ based approach?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2420888"/>
            <a:ext cx="5184576" cy="336296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88125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eaLnBrk="1" hangingPunct="1"/>
            <a:fld id="{6C256E1E-E600-4E38-9EDB-7D38F0E0EE08}" type="slidenum">
              <a:rPr lang="en-GB" sz="1200">
                <a:solidFill>
                  <a:srgbClr val="898989"/>
                </a:solidFill>
                <a:latin typeface="Calibri" pitchFamily="34" charset="0"/>
              </a:rPr>
              <a:pPr eaLnBrk="1" hangingPunct="1"/>
              <a:t>12</a:t>
            </a:fld>
            <a:endParaRPr lang="en-GB" sz="12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12292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9161463" cy="1268413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en-US" sz="2800" dirty="0" smtClean="0">
                <a:latin typeface="Calibri" pitchFamily="34" charset="0"/>
                <a:cs typeface="Calibri" pitchFamily="34" charset="0"/>
              </a:rPr>
              <a:t>Almost 85% of Sub-Saharan Africa covered by Summary Project Proposals already completed or in the process</a:t>
            </a:r>
          </a:p>
        </p:txBody>
      </p:sp>
      <p:graphicFrame>
        <p:nvGraphicFramePr>
          <p:cNvPr id="124046" name="Group 142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84213" y="2203450"/>
          <a:ext cx="5424487" cy="2249497"/>
        </p:xfrm>
        <a:graphic>
          <a:graphicData uri="http://schemas.openxmlformats.org/drawingml/2006/table">
            <a:tbl>
              <a:tblPr/>
              <a:tblGrid>
                <a:gridCol w="2402948"/>
                <a:gridCol w="966309"/>
                <a:gridCol w="1173583"/>
                <a:gridCol w="881647"/>
              </a:tblGrid>
              <a:tr h="4937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mpleted or in-process RECs</a:t>
                      </a:r>
                    </a:p>
                  </a:txBody>
                  <a:tcPr marL="45710" marR="45710" marT="45723" marB="45723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untries covered</a:t>
                      </a:r>
                    </a:p>
                  </a:txBody>
                  <a:tcPr marL="45710" marR="45710" marT="45723" marB="45723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Total</a:t>
                      </a:r>
                      <a:b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</a:b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embers*</a:t>
                      </a:r>
                    </a:p>
                  </a:txBody>
                  <a:tcPr marL="45710" marR="45710" marT="45723" marB="45723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% pop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vered</a:t>
                      </a:r>
                    </a:p>
                  </a:txBody>
                  <a:tcPr marL="45710" marR="45710" marT="45723" marB="45723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2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AC &amp; OCEAC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AC, OCEAC, ECOWA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EAC, OCEAC, ECOWAS, SADC</a:t>
                      </a:r>
                    </a:p>
                  </a:txBody>
                  <a:tcPr marL="45710" marR="45710" marT="45723" marB="45723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2 (20%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6 (46%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41 (74%)</a:t>
                      </a:r>
                    </a:p>
                  </a:txBody>
                  <a:tcPr marL="45710" marR="45710" marT="45723" marB="45723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1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6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41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10" marR="45710" marT="45723" marB="45723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17%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45%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72%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10" marR="45710" marT="45723" marB="45723" anchorCtr="1"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29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nl-NL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*Tanzania in both EAC and SADC (but will go with EAC); UEMOA/ECOWAS are working out overlap</a:t>
                      </a:r>
                    </a:p>
                  </a:txBody>
                  <a:tcPr marL="45710" marR="45710" marT="45723" marB="45723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nl-NL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10" marR="45710" marT="45723" marB="45723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nl-NL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10" marR="45710" marT="45723" marB="45723" anchorCtr="1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nl-NL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45710" marR="45710" marT="45723" marB="45723" anchorCtr="1" horzOverflow="overflow">
                    <a:lnL>
                      <a:noFill/>
                    </a:lnL>
                    <a:lnR cap="flat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308" name="Rectangle 30"/>
          <p:cNvSpPr>
            <a:spLocks noChangeArrowheads="1"/>
          </p:cNvSpPr>
          <p:nvPr/>
        </p:nvSpPr>
        <p:spPr bwMode="gray">
          <a:xfrm>
            <a:off x="1116013" y="1655763"/>
            <a:ext cx="4189412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45720" rIns="45720" anchor="b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REC progress</a:t>
            </a:r>
          </a:p>
        </p:txBody>
      </p:sp>
      <p:sp>
        <p:nvSpPr>
          <p:cNvPr id="24596" name="BCG_FootNote_Box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4575" y="5732463"/>
            <a:ext cx="18716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71842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800" dirty="0">
                <a:latin typeface="Calibri" pitchFamily="34" charset="0"/>
                <a:cs typeface="Calibri" pitchFamily="34" charset="0"/>
              </a:rPr>
              <a:t>Source: BCG analysis</a:t>
            </a:r>
          </a:p>
        </p:txBody>
      </p:sp>
      <p:sp>
        <p:nvSpPr>
          <p:cNvPr id="24597" name="Text Box 33"/>
          <p:cNvSpPr txBox="1">
            <a:spLocks noChangeArrowheads="1"/>
          </p:cNvSpPr>
          <p:nvPr/>
        </p:nvSpPr>
        <p:spPr bwMode="auto">
          <a:xfrm>
            <a:off x="7668344" y="5056733"/>
            <a:ext cx="470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eaLnBrk="1" hangingPunct="1"/>
            <a:r>
              <a:rPr lang="en-US" sz="1000" b="1" dirty="0">
                <a:latin typeface="Calibri" pitchFamily="34" charset="0"/>
                <a:cs typeface="Calibri" pitchFamily="34" charset="0"/>
              </a:rPr>
              <a:t>SADC</a:t>
            </a:r>
          </a:p>
        </p:txBody>
      </p:sp>
      <p:sp>
        <p:nvSpPr>
          <p:cNvPr id="12312" name="Rectangle 34"/>
          <p:cNvSpPr>
            <a:spLocks noChangeArrowheads="1"/>
          </p:cNvSpPr>
          <p:nvPr/>
        </p:nvSpPr>
        <p:spPr bwMode="gray">
          <a:xfrm>
            <a:off x="683568" y="4494213"/>
            <a:ext cx="6133188" cy="1187450"/>
          </a:xfrm>
          <a:prstGeom prst="rect">
            <a:avLst/>
          </a:prstGeom>
          <a:solidFill>
            <a:srgbClr val="CEF3FE"/>
          </a:solidFill>
          <a:ln w="9525" algn="ctr">
            <a:solidFill>
              <a:srgbClr val="006699"/>
            </a:solidFill>
            <a:miter lim="800000"/>
            <a:headEnd/>
            <a:tailEnd/>
          </a:ln>
          <a:effectLst/>
          <a:extLst/>
        </p:spPr>
        <p:txBody>
          <a:bodyPr anchor="ctr" anchorCtr="1"/>
          <a:lstStyle/>
          <a:p>
            <a:pPr>
              <a:defRPr/>
            </a:pPr>
            <a:r>
              <a:rPr lang="en-US" sz="16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WHO, NEPAD and World Bank:</a:t>
            </a:r>
          </a:p>
          <a:p>
            <a:pPr marL="285750" indent="-285750">
              <a:buFont typeface="Arial" pitchFamily="34" charset="0"/>
              <a:buChar char="−"/>
              <a:defRPr/>
            </a:pPr>
            <a:r>
              <a:rPr lang="en-US" sz="16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supporting </a:t>
            </a:r>
            <a:r>
              <a:rPr lang="en-US" sz="1600" dirty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East African Community which has already received funding and is implementing the </a:t>
            </a:r>
            <a:r>
              <a:rPr lang="en-US" sz="16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project;</a:t>
            </a:r>
          </a:p>
          <a:p>
            <a:pPr marL="285750" indent="-285750">
              <a:buFont typeface="Arial" pitchFamily="34" charset="0"/>
              <a:buChar char="−"/>
              <a:defRPr/>
            </a:pPr>
            <a:r>
              <a:rPr lang="en-US" sz="16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continuing </a:t>
            </a:r>
            <a:r>
              <a:rPr lang="en-US" sz="1600" dirty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to work with </a:t>
            </a:r>
            <a:r>
              <a:rPr lang="en-US" sz="16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other RECs to finalize their proposals.</a:t>
            </a:r>
            <a:endParaRPr lang="en-US" sz="1600" dirty="0">
              <a:solidFill>
                <a:srgbClr val="006699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599" name="Text Box 44"/>
          <p:cNvSpPr txBox="1">
            <a:spLocks noChangeArrowheads="1"/>
          </p:cNvSpPr>
          <p:nvPr/>
        </p:nvSpPr>
        <p:spPr bwMode="auto">
          <a:xfrm>
            <a:off x="8435975" y="6465888"/>
            <a:ext cx="3238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eaLnBrk="1" hangingPunct="1"/>
            <a:fld id="{6402862C-77A5-4458-801E-2B758315C7E4}" type="slidenum">
              <a:rPr lang="en-US" sz="1000">
                <a:solidFill>
                  <a:schemeClr val="bg1"/>
                </a:solidFill>
                <a:latin typeface="Arial" charset="0"/>
              </a:rPr>
              <a:pPr eaLnBrk="1" hangingPunct="1"/>
              <a:t>12</a:t>
            </a:fld>
            <a:endParaRPr lang="en-US" sz="1000">
              <a:solidFill>
                <a:schemeClr val="bg1"/>
              </a:solidFill>
              <a:latin typeface="Arial" charset="0"/>
            </a:endParaRPr>
          </a:p>
        </p:txBody>
      </p:sp>
      <p:grpSp>
        <p:nvGrpSpPr>
          <p:cNvPr id="24600" name="Group 45"/>
          <p:cNvGrpSpPr>
            <a:grpSpLocks/>
          </p:cNvGrpSpPr>
          <p:nvPr/>
        </p:nvGrpSpPr>
        <p:grpSpPr bwMode="auto">
          <a:xfrm>
            <a:off x="6021388" y="1631950"/>
            <a:ext cx="3159125" cy="3335338"/>
            <a:chOff x="2992" y="586"/>
            <a:chExt cx="2544" cy="2557"/>
          </a:xfrm>
        </p:grpSpPr>
        <p:sp>
          <p:nvSpPr>
            <p:cNvPr id="24601" name="AutoShape 46"/>
            <p:cNvSpPr>
              <a:spLocks/>
            </p:cNvSpPr>
            <p:nvPr/>
          </p:nvSpPr>
          <p:spPr bwMode="auto">
            <a:xfrm>
              <a:off x="5127" y="1771"/>
              <a:ext cx="96" cy="502"/>
            </a:xfrm>
            <a:prstGeom prst="rightBrace">
              <a:avLst>
                <a:gd name="adj1" fmla="val 43576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602" name="AutoShape 47"/>
            <p:cNvSpPr>
              <a:spLocks/>
            </p:cNvSpPr>
            <p:nvPr/>
          </p:nvSpPr>
          <p:spPr bwMode="auto">
            <a:xfrm rot="16200000" flipH="1">
              <a:off x="4398" y="2606"/>
              <a:ext cx="188" cy="885"/>
            </a:xfrm>
            <a:prstGeom prst="rightBrace">
              <a:avLst>
                <a:gd name="adj1" fmla="val 39229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4603" name="Group 48"/>
            <p:cNvGrpSpPr>
              <a:grpSpLocks/>
            </p:cNvGrpSpPr>
            <p:nvPr/>
          </p:nvGrpSpPr>
          <p:grpSpPr bwMode="auto">
            <a:xfrm rot="950862">
              <a:off x="3083" y="1677"/>
              <a:ext cx="836" cy="334"/>
              <a:chOff x="3059" y="1732"/>
              <a:chExt cx="836" cy="334"/>
            </a:xfrm>
          </p:grpSpPr>
          <p:sp>
            <p:nvSpPr>
              <p:cNvPr id="24686" name="AutoShape 49"/>
              <p:cNvSpPr>
                <a:spLocks/>
              </p:cNvSpPr>
              <p:nvPr/>
            </p:nvSpPr>
            <p:spPr bwMode="auto">
              <a:xfrm rot="5413413" flipH="1">
                <a:off x="3431" y="1429"/>
                <a:ext cx="161" cy="767"/>
              </a:xfrm>
              <a:prstGeom prst="leftBrace">
                <a:avLst>
                  <a:gd name="adj1" fmla="val 39700"/>
                  <a:gd name="adj2" fmla="val 51042"/>
                </a:avLst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687" name="Text Box 50"/>
              <p:cNvSpPr txBox="1">
                <a:spLocks noChangeArrowheads="1"/>
              </p:cNvSpPr>
              <p:nvPr/>
            </p:nvSpPr>
            <p:spPr bwMode="auto">
              <a:xfrm>
                <a:off x="3059" y="1877"/>
                <a:ext cx="823" cy="1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 Unicode MS" pitchFamily="34" charset="-128"/>
                    <a:cs typeface="Arial" charset="0"/>
                  </a:defRPr>
                </a:lvl9pPr>
              </a:lstStyle>
              <a:p>
                <a:pPr eaLnBrk="1" hangingPunct="1"/>
                <a:r>
                  <a:rPr lang="en-US" sz="1000" b="1" dirty="0">
                    <a:latin typeface="Calibri" pitchFamily="34" charset="0"/>
                    <a:cs typeface="Calibri" pitchFamily="34" charset="0"/>
                  </a:rPr>
                  <a:t>WAHO/UEMOA</a:t>
                </a:r>
              </a:p>
            </p:txBody>
          </p:sp>
        </p:grpSp>
        <p:sp>
          <p:nvSpPr>
            <p:cNvPr id="24604" name="Text Box 51"/>
            <p:cNvSpPr txBox="1">
              <a:spLocks noChangeArrowheads="1"/>
            </p:cNvSpPr>
            <p:nvPr/>
          </p:nvSpPr>
          <p:spPr bwMode="auto">
            <a:xfrm>
              <a:off x="5195" y="1945"/>
              <a:ext cx="315" cy="1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9pPr>
            </a:lstStyle>
            <a:p>
              <a:pPr eaLnBrk="1" hangingPunct="1"/>
              <a:r>
                <a:rPr lang="en-US" sz="1000" b="1" dirty="0">
                  <a:latin typeface="Calibri" pitchFamily="34" charset="0"/>
                  <a:cs typeface="Calibri" pitchFamily="34" charset="0"/>
                </a:rPr>
                <a:t>EAC</a:t>
              </a:r>
            </a:p>
          </p:txBody>
        </p:sp>
        <p:sp>
          <p:nvSpPr>
            <p:cNvPr id="24605" name="AutoShape 52"/>
            <p:cNvSpPr>
              <a:spLocks/>
            </p:cNvSpPr>
            <p:nvPr/>
          </p:nvSpPr>
          <p:spPr bwMode="auto">
            <a:xfrm rot="19662477" flipH="1">
              <a:off x="4012" y="1790"/>
              <a:ext cx="50" cy="331"/>
            </a:xfrm>
            <a:prstGeom prst="rightBrace">
              <a:avLst>
                <a:gd name="adj1" fmla="val 55167"/>
                <a:gd name="adj2" fmla="val 46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cxnSp>
          <p:nvCxnSpPr>
            <p:cNvPr id="24606" name="AutoShape 53"/>
            <p:cNvCxnSpPr>
              <a:cxnSpLocks noChangeShapeType="1"/>
              <a:stCxn id="24605" idx="1"/>
            </p:cNvCxnSpPr>
            <p:nvPr/>
          </p:nvCxnSpPr>
          <p:spPr bwMode="auto">
            <a:xfrm flipH="1">
              <a:off x="3870" y="1957"/>
              <a:ext cx="138" cy="237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 type="none" w="lg" len="lg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</p:cxnSp>
        <p:sp>
          <p:nvSpPr>
            <p:cNvPr id="24607" name="Text Box 54"/>
            <p:cNvSpPr txBox="1">
              <a:spLocks noChangeArrowheads="1"/>
            </p:cNvSpPr>
            <p:nvPr/>
          </p:nvSpPr>
          <p:spPr bwMode="auto">
            <a:xfrm>
              <a:off x="3680" y="2170"/>
              <a:ext cx="439" cy="1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9pPr>
            </a:lstStyle>
            <a:p>
              <a:pPr eaLnBrk="1" hangingPunct="1"/>
              <a:r>
                <a:rPr lang="en-US" sz="1000" b="1">
                  <a:latin typeface="Calibri" pitchFamily="34" charset="0"/>
                  <a:cs typeface="Calibri" pitchFamily="34" charset="0"/>
                </a:rPr>
                <a:t>OCEAC</a:t>
              </a:r>
            </a:p>
          </p:txBody>
        </p:sp>
        <p:sp>
          <p:nvSpPr>
            <p:cNvPr id="24608" name="Freeform 55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4051" y="723"/>
              <a:ext cx="487" cy="438"/>
            </a:xfrm>
            <a:custGeom>
              <a:avLst/>
              <a:gdLst>
                <a:gd name="T0" fmla="*/ 4 w 786"/>
                <a:gd name="T1" fmla="*/ 23 h 678"/>
                <a:gd name="T2" fmla="*/ 7 w 786"/>
                <a:gd name="T3" fmla="*/ 20 h 678"/>
                <a:gd name="T4" fmla="*/ 6 w 786"/>
                <a:gd name="T5" fmla="*/ 15 h 678"/>
                <a:gd name="T6" fmla="*/ 9 w 786"/>
                <a:gd name="T7" fmla="*/ 12 h 678"/>
                <a:gd name="T8" fmla="*/ 12 w 786"/>
                <a:gd name="T9" fmla="*/ 10 h 678"/>
                <a:gd name="T10" fmla="*/ 16 w 786"/>
                <a:gd name="T11" fmla="*/ 7 h 678"/>
                <a:gd name="T12" fmla="*/ 16 w 786"/>
                <a:gd name="T13" fmla="*/ 3 h 678"/>
                <a:gd name="T14" fmla="*/ 18 w 786"/>
                <a:gd name="T15" fmla="*/ 1 h 678"/>
                <a:gd name="T16" fmla="*/ 20 w 786"/>
                <a:gd name="T17" fmla="*/ 2 h 678"/>
                <a:gd name="T18" fmla="*/ 25 w 786"/>
                <a:gd name="T19" fmla="*/ 3 h 678"/>
                <a:gd name="T20" fmla="*/ 29 w 786"/>
                <a:gd name="T21" fmla="*/ 2 h 678"/>
                <a:gd name="T22" fmla="*/ 33 w 786"/>
                <a:gd name="T23" fmla="*/ 3 h 678"/>
                <a:gd name="T24" fmla="*/ 37 w 786"/>
                <a:gd name="T25" fmla="*/ 5 h 678"/>
                <a:gd name="T26" fmla="*/ 41 w 786"/>
                <a:gd name="T27" fmla="*/ 6 h 678"/>
                <a:gd name="T28" fmla="*/ 44 w 786"/>
                <a:gd name="T29" fmla="*/ 8 h 678"/>
                <a:gd name="T30" fmla="*/ 45 w 786"/>
                <a:gd name="T31" fmla="*/ 12 h 678"/>
                <a:gd name="T32" fmla="*/ 48 w 786"/>
                <a:gd name="T33" fmla="*/ 16 h 678"/>
                <a:gd name="T34" fmla="*/ 52 w 786"/>
                <a:gd name="T35" fmla="*/ 17 h 678"/>
                <a:gd name="T36" fmla="*/ 58 w 786"/>
                <a:gd name="T37" fmla="*/ 18 h 678"/>
                <a:gd name="T38" fmla="*/ 61 w 786"/>
                <a:gd name="T39" fmla="*/ 19 h 678"/>
                <a:gd name="T40" fmla="*/ 64 w 786"/>
                <a:gd name="T41" fmla="*/ 20 h 678"/>
                <a:gd name="T42" fmla="*/ 67 w 786"/>
                <a:gd name="T43" fmla="*/ 23 h 678"/>
                <a:gd name="T44" fmla="*/ 71 w 786"/>
                <a:gd name="T45" fmla="*/ 25 h 678"/>
                <a:gd name="T46" fmla="*/ 75 w 786"/>
                <a:gd name="T47" fmla="*/ 24 h 678"/>
                <a:gd name="T48" fmla="*/ 79 w 786"/>
                <a:gd name="T49" fmla="*/ 19 h 678"/>
                <a:gd name="T50" fmla="*/ 78 w 786"/>
                <a:gd name="T51" fmla="*/ 16 h 678"/>
                <a:gd name="T52" fmla="*/ 78 w 786"/>
                <a:gd name="T53" fmla="*/ 10 h 678"/>
                <a:gd name="T54" fmla="*/ 79 w 786"/>
                <a:gd name="T55" fmla="*/ 8 h 678"/>
                <a:gd name="T56" fmla="*/ 81 w 786"/>
                <a:gd name="T57" fmla="*/ 5 h 678"/>
                <a:gd name="T58" fmla="*/ 87 w 786"/>
                <a:gd name="T59" fmla="*/ 3 h 678"/>
                <a:gd name="T60" fmla="*/ 91 w 786"/>
                <a:gd name="T61" fmla="*/ 2 h 678"/>
                <a:gd name="T62" fmla="*/ 95 w 786"/>
                <a:gd name="T63" fmla="*/ 2 h 678"/>
                <a:gd name="T64" fmla="*/ 99 w 786"/>
                <a:gd name="T65" fmla="*/ 4 h 678"/>
                <a:gd name="T66" fmla="*/ 101 w 786"/>
                <a:gd name="T67" fmla="*/ 7 h 678"/>
                <a:gd name="T68" fmla="*/ 105 w 786"/>
                <a:gd name="T69" fmla="*/ 8 h 678"/>
                <a:gd name="T70" fmla="*/ 108 w 786"/>
                <a:gd name="T71" fmla="*/ 10 h 678"/>
                <a:gd name="T72" fmla="*/ 112 w 786"/>
                <a:gd name="T73" fmla="*/ 10 h 678"/>
                <a:gd name="T74" fmla="*/ 115 w 786"/>
                <a:gd name="T75" fmla="*/ 12 h 678"/>
                <a:gd name="T76" fmla="*/ 116 w 786"/>
                <a:gd name="T77" fmla="*/ 14 h 678"/>
                <a:gd name="T78" fmla="*/ 114 w 786"/>
                <a:gd name="T79" fmla="*/ 17 h 678"/>
                <a:gd name="T80" fmla="*/ 115 w 786"/>
                <a:gd name="T81" fmla="*/ 21 h 678"/>
                <a:gd name="T82" fmla="*/ 112 w 786"/>
                <a:gd name="T83" fmla="*/ 26 h 678"/>
                <a:gd name="T84" fmla="*/ 114 w 786"/>
                <a:gd name="T85" fmla="*/ 31 h 678"/>
                <a:gd name="T86" fmla="*/ 115 w 786"/>
                <a:gd name="T87" fmla="*/ 34 h 678"/>
                <a:gd name="T88" fmla="*/ 102 w 786"/>
                <a:gd name="T89" fmla="*/ 115 h 678"/>
                <a:gd name="T90" fmla="*/ 86 w 786"/>
                <a:gd name="T91" fmla="*/ 105 h 678"/>
                <a:gd name="T92" fmla="*/ 64 w 786"/>
                <a:gd name="T93" fmla="*/ 93 h 678"/>
                <a:gd name="T94" fmla="*/ 46 w 786"/>
                <a:gd name="T95" fmla="*/ 85 h 678"/>
                <a:gd name="T96" fmla="*/ 30 w 786"/>
                <a:gd name="T97" fmla="*/ 87 h 678"/>
                <a:gd name="T98" fmla="*/ 25 w 786"/>
                <a:gd name="T99" fmla="*/ 85 h 678"/>
                <a:gd name="T100" fmla="*/ 17 w 786"/>
                <a:gd name="T101" fmla="*/ 78 h 678"/>
                <a:gd name="T102" fmla="*/ 12 w 786"/>
                <a:gd name="T103" fmla="*/ 75 h 678"/>
                <a:gd name="T104" fmla="*/ 6 w 786"/>
                <a:gd name="T105" fmla="*/ 73 h 678"/>
                <a:gd name="T106" fmla="*/ 0 w 786"/>
                <a:gd name="T107" fmla="*/ 61 h 678"/>
                <a:gd name="T108" fmla="*/ 2 w 786"/>
                <a:gd name="T109" fmla="*/ 58 h 678"/>
                <a:gd name="T110" fmla="*/ 4 w 786"/>
                <a:gd name="T111" fmla="*/ 54 h 678"/>
                <a:gd name="T112" fmla="*/ 4 w 786"/>
                <a:gd name="T113" fmla="*/ 49 h 678"/>
                <a:gd name="T114" fmla="*/ 4 w 786"/>
                <a:gd name="T115" fmla="*/ 44 h 678"/>
                <a:gd name="T116" fmla="*/ 4 w 786"/>
                <a:gd name="T117" fmla="*/ 37 h 678"/>
                <a:gd name="T118" fmla="*/ 1 w 786"/>
                <a:gd name="T119" fmla="*/ 28 h 678"/>
                <a:gd name="T120" fmla="*/ 1 w 786"/>
                <a:gd name="T121" fmla="*/ 25 h 6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786" h="678">
                  <a:moveTo>
                    <a:pt x="12" y="144"/>
                  </a:moveTo>
                  <a:lnTo>
                    <a:pt x="18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08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26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204" y="18"/>
                  </a:lnTo>
                  <a:lnTo>
                    <a:pt x="210" y="18"/>
                  </a:lnTo>
                  <a:lnTo>
                    <a:pt x="216" y="18"/>
                  </a:lnTo>
                  <a:lnTo>
                    <a:pt x="222" y="18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72"/>
                  </a:lnTo>
                  <a:lnTo>
                    <a:pt x="306" y="78"/>
                  </a:lnTo>
                  <a:lnTo>
                    <a:pt x="312" y="84"/>
                  </a:lnTo>
                  <a:lnTo>
                    <a:pt x="318" y="90"/>
                  </a:lnTo>
                  <a:lnTo>
                    <a:pt x="324" y="90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6" y="96"/>
                  </a:lnTo>
                  <a:lnTo>
                    <a:pt x="342" y="96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60" y="96"/>
                  </a:lnTo>
                  <a:lnTo>
                    <a:pt x="366" y="96"/>
                  </a:lnTo>
                  <a:lnTo>
                    <a:pt x="372" y="96"/>
                  </a:lnTo>
                  <a:lnTo>
                    <a:pt x="378" y="96"/>
                  </a:lnTo>
                  <a:lnTo>
                    <a:pt x="390" y="102"/>
                  </a:lnTo>
                  <a:lnTo>
                    <a:pt x="396" y="102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8" y="108"/>
                  </a:lnTo>
                  <a:lnTo>
                    <a:pt x="414" y="108"/>
                  </a:lnTo>
                  <a:lnTo>
                    <a:pt x="420" y="108"/>
                  </a:lnTo>
                  <a:lnTo>
                    <a:pt x="420" y="114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32" y="114"/>
                  </a:lnTo>
                  <a:lnTo>
                    <a:pt x="438" y="120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50" y="126"/>
                  </a:lnTo>
                  <a:lnTo>
                    <a:pt x="456" y="132"/>
                  </a:lnTo>
                  <a:lnTo>
                    <a:pt x="462" y="138"/>
                  </a:lnTo>
                  <a:lnTo>
                    <a:pt x="468" y="138"/>
                  </a:lnTo>
                  <a:lnTo>
                    <a:pt x="474" y="138"/>
                  </a:lnTo>
                  <a:lnTo>
                    <a:pt x="474" y="144"/>
                  </a:lnTo>
                  <a:lnTo>
                    <a:pt x="480" y="144"/>
                  </a:lnTo>
                  <a:lnTo>
                    <a:pt x="486" y="144"/>
                  </a:lnTo>
                  <a:lnTo>
                    <a:pt x="492" y="144"/>
                  </a:lnTo>
                  <a:lnTo>
                    <a:pt x="498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6" y="132"/>
                  </a:lnTo>
                  <a:lnTo>
                    <a:pt x="522" y="126"/>
                  </a:lnTo>
                  <a:lnTo>
                    <a:pt x="528" y="120"/>
                  </a:lnTo>
                  <a:lnTo>
                    <a:pt x="534" y="114"/>
                  </a:lnTo>
                  <a:lnTo>
                    <a:pt x="534" y="108"/>
                  </a:lnTo>
                  <a:lnTo>
                    <a:pt x="540" y="102"/>
                  </a:lnTo>
                  <a:lnTo>
                    <a:pt x="540" y="96"/>
                  </a:lnTo>
                  <a:lnTo>
                    <a:pt x="534" y="96"/>
                  </a:lnTo>
                  <a:lnTo>
                    <a:pt x="534" y="90"/>
                  </a:lnTo>
                  <a:lnTo>
                    <a:pt x="528" y="90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28" y="60"/>
                  </a:lnTo>
                  <a:lnTo>
                    <a:pt x="528" y="54"/>
                  </a:lnTo>
                  <a:lnTo>
                    <a:pt x="534" y="54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40" y="42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82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48" y="18"/>
                  </a:lnTo>
                  <a:lnTo>
                    <a:pt x="654" y="18"/>
                  </a:lnTo>
                  <a:lnTo>
                    <a:pt x="660" y="18"/>
                  </a:lnTo>
                  <a:lnTo>
                    <a:pt x="666" y="24"/>
                  </a:lnTo>
                  <a:lnTo>
                    <a:pt x="672" y="24"/>
                  </a:lnTo>
                  <a:lnTo>
                    <a:pt x="678" y="24"/>
                  </a:lnTo>
                  <a:lnTo>
                    <a:pt x="684" y="24"/>
                  </a:lnTo>
                  <a:lnTo>
                    <a:pt x="684" y="30"/>
                  </a:lnTo>
                  <a:lnTo>
                    <a:pt x="684" y="36"/>
                  </a:lnTo>
                  <a:lnTo>
                    <a:pt x="684" y="42"/>
                  </a:lnTo>
                  <a:lnTo>
                    <a:pt x="690" y="42"/>
                  </a:lnTo>
                  <a:lnTo>
                    <a:pt x="690" y="48"/>
                  </a:lnTo>
                  <a:lnTo>
                    <a:pt x="696" y="48"/>
                  </a:lnTo>
                  <a:lnTo>
                    <a:pt x="702" y="48"/>
                  </a:lnTo>
                  <a:lnTo>
                    <a:pt x="708" y="48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0" y="54"/>
                  </a:lnTo>
                  <a:lnTo>
                    <a:pt x="726" y="54"/>
                  </a:lnTo>
                  <a:lnTo>
                    <a:pt x="732" y="54"/>
                  </a:lnTo>
                  <a:lnTo>
                    <a:pt x="738" y="60"/>
                  </a:lnTo>
                  <a:lnTo>
                    <a:pt x="744" y="60"/>
                  </a:lnTo>
                  <a:lnTo>
                    <a:pt x="750" y="60"/>
                  </a:lnTo>
                  <a:lnTo>
                    <a:pt x="756" y="60"/>
                  </a:lnTo>
                  <a:lnTo>
                    <a:pt x="762" y="54"/>
                  </a:lnTo>
                  <a:lnTo>
                    <a:pt x="768" y="54"/>
                  </a:lnTo>
                  <a:lnTo>
                    <a:pt x="768" y="60"/>
                  </a:lnTo>
                  <a:lnTo>
                    <a:pt x="774" y="60"/>
                  </a:lnTo>
                  <a:lnTo>
                    <a:pt x="780" y="60"/>
                  </a:lnTo>
                  <a:lnTo>
                    <a:pt x="780" y="66"/>
                  </a:lnTo>
                  <a:lnTo>
                    <a:pt x="780" y="72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0" y="78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74" y="90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14"/>
                  </a:lnTo>
                  <a:lnTo>
                    <a:pt x="780" y="120"/>
                  </a:lnTo>
                  <a:lnTo>
                    <a:pt x="774" y="126"/>
                  </a:lnTo>
                  <a:lnTo>
                    <a:pt x="774" y="132"/>
                  </a:lnTo>
                  <a:lnTo>
                    <a:pt x="768" y="138"/>
                  </a:lnTo>
                  <a:lnTo>
                    <a:pt x="768" y="144"/>
                  </a:lnTo>
                  <a:lnTo>
                    <a:pt x="762" y="150"/>
                  </a:lnTo>
                  <a:lnTo>
                    <a:pt x="768" y="150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74"/>
                  </a:lnTo>
                  <a:lnTo>
                    <a:pt x="774" y="180"/>
                  </a:lnTo>
                  <a:lnTo>
                    <a:pt x="768" y="180"/>
                  </a:lnTo>
                  <a:lnTo>
                    <a:pt x="774" y="180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80" y="192"/>
                  </a:lnTo>
                  <a:lnTo>
                    <a:pt x="780" y="552"/>
                  </a:lnTo>
                  <a:lnTo>
                    <a:pt x="780" y="654"/>
                  </a:lnTo>
                  <a:lnTo>
                    <a:pt x="726" y="654"/>
                  </a:lnTo>
                  <a:lnTo>
                    <a:pt x="726" y="678"/>
                  </a:lnTo>
                  <a:lnTo>
                    <a:pt x="690" y="660"/>
                  </a:lnTo>
                  <a:lnTo>
                    <a:pt x="654" y="642"/>
                  </a:lnTo>
                  <a:lnTo>
                    <a:pt x="618" y="624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82" y="606"/>
                  </a:lnTo>
                  <a:lnTo>
                    <a:pt x="564" y="594"/>
                  </a:lnTo>
                  <a:lnTo>
                    <a:pt x="546" y="588"/>
                  </a:lnTo>
                  <a:lnTo>
                    <a:pt x="468" y="546"/>
                  </a:lnTo>
                  <a:lnTo>
                    <a:pt x="444" y="534"/>
                  </a:lnTo>
                  <a:lnTo>
                    <a:pt x="432" y="534"/>
                  </a:lnTo>
                  <a:lnTo>
                    <a:pt x="372" y="504"/>
                  </a:lnTo>
                  <a:lnTo>
                    <a:pt x="330" y="480"/>
                  </a:lnTo>
                  <a:lnTo>
                    <a:pt x="324" y="486"/>
                  </a:lnTo>
                  <a:lnTo>
                    <a:pt x="318" y="486"/>
                  </a:lnTo>
                  <a:lnTo>
                    <a:pt x="312" y="492"/>
                  </a:lnTo>
                  <a:lnTo>
                    <a:pt x="282" y="504"/>
                  </a:lnTo>
                  <a:lnTo>
                    <a:pt x="240" y="522"/>
                  </a:lnTo>
                  <a:lnTo>
                    <a:pt x="216" y="504"/>
                  </a:lnTo>
                  <a:lnTo>
                    <a:pt x="210" y="498"/>
                  </a:lnTo>
                  <a:lnTo>
                    <a:pt x="204" y="498"/>
                  </a:lnTo>
                  <a:lnTo>
                    <a:pt x="204" y="492"/>
                  </a:lnTo>
                  <a:lnTo>
                    <a:pt x="198" y="492"/>
                  </a:lnTo>
                  <a:lnTo>
                    <a:pt x="192" y="492"/>
                  </a:lnTo>
                  <a:lnTo>
                    <a:pt x="174" y="486"/>
                  </a:lnTo>
                  <a:lnTo>
                    <a:pt x="168" y="486"/>
                  </a:lnTo>
                  <a:lnTo>
                    <a:pt x="150" y="486"/>
                  </a:lnTo>
                  <a:lnTo>
                    <a:pt x="138" y="480"/>
                  </a:lnTo>
                  <a:lnTo>
                    <a:pt x="132" y="480"/>
                  </a:lnTo>
                  <a:lnTo>
                    <a:pt x="120" y="456"/>
                  </a:lnTo>
                  <a:lnTo>
                    <a:pt x="114" y="444"/>
                  </a:lnTo>
                  <a:lnTo>
                    <a:pt x="108" y="444"/>
                  </a:lnTo>
                  <a:lnTo>
                    <a:pt x="102" y="444"/>
                  </a:lnTo>
                  <a:lnTo>
                    <a:pt x="90" y="438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66" y="426"/>
                  </a:lnTo>
                  <a:lnTo>
                    <a:pt x="60" y="426"/>
                  </a:lnTo>
                  <a:lnTo>
                    <a:pt x="54" y="432"/>
                  </a:lnTo>
                  <a:lnTo>
                    <a:pt x="42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36" y="414"/>
                  </a:lnTo>
                  <a:lnTo>
                    <a:pt x="36" y="390"/>
                  </a:lnTo>
                  <a:lnTo>
                    <a:pt x="24" y="372"/>
                  </a:lnTo>
                  <a:lnTo>
                    <a:pt x="0" y="348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6"/>
                  </a:lnTo>
                  <a:lnTo>
                    <a:pt x="18" y="336"/>
                  </a:lnTo>
                  <a:lnTo>
                    <a:pt x="24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12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30" y="276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24" y="252"/>
                  </a:lnTo>
                  <a:lnTo>
                    <a:pt x="24" y="240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86"/>
                  </a:lnTo>
                  <a:lnTo>
                    <a:pt x="12" y="162"/>
                  </a:lnTo>
                  <a:lnTo>
                    <a:pt x="6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6" y="144"/>
                  </a:lnTo>
                  <a:lnTo>
                    <a:pt x="12" y="14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09" name="Freeform 56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4143" y="1621"/>
              <a:ext cx="586" cy="607"/>
            </a:xfrm>
            <a:custGeom>
              <a:avLst/>
              <a:gdLst>
                <a:gd name="T0" fmla="*/ 6 w 948"/>
                <a:gd name="T1" fmla="*/ 89 h 936"/>
                <a:gd name="T2" fmla="*/ 12 w 948"/>
                <a:gd name="T3" fmla="*/ 86 h 936"/>
                <a:gd name="T4" fmla="*/ 15 w 948"/>
                <a:gd name="T5" fmla="*/ 87 h 936"/>
                <a:gd name="T6" fmla="*/ 21 w 948"/>
                <a:gd name="T7" fmla="*/ 87 h 936"/>
                <a:gd name="T8" fmla="*/ 28 w 948"/>
                <a:gd name="T9" fmla="*/ 77 h 936"/>
                <a:gd name="T10" fmla="*/ 30 w 948"/>
                <a:gd name="T11" fmla="*/ 65 h 936"/>
                <a:gd name="T12" fmla="*/ 36 w 948"/>
                <a:gd name="T13" fmla="*/ 56 h 936"/>
                <a:gd name="T14" fmla="*/ 41 w 948"/>
                <a:gd name="T15" fmla="*/ 45 h 936"/>
                <a:gd name="T16" fmla="*/ 42 w 948"/>
                <a:gd name="T17" fmla="*/ 34 h 936"/>
                <a:gd name="T18" fmla="*/ 45 w 948"/>
                <a:gd name="T19" fmla="*/ 21 h 936"/>
                <a:gd name="T20" fmla="*/ 46 w 948"/>
                <a:gd name="T21" fmla="*/ 10 h 936"/>
                <a:gd name="T22" fmla="*/ 51 w 948"/>
                <a:gd name="T23" fmla="*/ 3 h 936"/>
                <a:gd name="T24" fmla="*/ 59 w 948"/>
                <a:gd name="T25" fmla="*/ 6 h 936"/>
                <a:gd name="T26" fmla="*/ 69 w 948"/>
                <a:gd name="T27" fmla="*/ 10 h 936"/>
                <a:gd name="T28" fmla="*/ 75 w 948"/>
                <a:gd name="T29" fmla="*/ 8 h 936"/>
                <a:gd name="T30" fmla="*/ 80 w 948"/>
                <a:gd name="T31" fmla="*/ 6 h 936"/>
                <a:gd name="T32" fmla="*/ 87 w 948"/>
                <a:gd name="T33" fmla="*/ 3 h 936"/>
                <a:gd name="T34" fmla="*/ 90 w 948"/>
                <a:gd name="T35" fmla="*/ 4 h 936"/>
                <a:gd name="T36" fmla="*/ 96 w 948"/>
                <a:gd name="T37" fmla="*/ 1 h 936"/>
                <a:gd name="T38" fmla="*/ 99 w 948"/>
                <a:gd name="T39" fmla="*/ 2 h 936"/>
                <a:gd name="T40" fmla="*/ 104 w 948"/>
                <a:gd name="T41" fmla="*/ 3 h 936"/>
                <a:gd name="T42" fmla="*/ 106 w 948"/>
                <a:gd name="T43" fmla="*/ 3 h 936"/>
                <a:gd name="T44" fmla="*/ 113 w 948"/>
                <a:gd name="T45" fmla="*/ 6 h 936"/>
                <a:gd name="T46" fmla="*/ 119 w 948"/>
                <a:gd name="T47" fmla="*/ 10 h 936"/>
                <a:gd name="T48" fmla="*/ 122 w 948"/>
                <a:gd name="T49" fmla="*/ 8 h 936"/>
                <a:gd name="T50" fmla="*/ 127 w 948"/>
                <a:gd name="T51" fmla="*/ 8 h 936"/>
                <a:gd name="T52" fmla="*/ 134 w 948"/>
                <a:gd name="T53" fmla="*/ 16 h 936"/>
                <a:gd name="T54" fmla="*/ 135 w 948"/>
                <a:gd name="T55" fmla="*/ 21 h 936"/>
                <a:gd name="T56" fmla="*/ 137 w 948"/>
                <a:gd name="T57" fmla="*/ 30 h 936"/>
                <a:gd name="T58" fmla="*/ 127 w 948"/>
                <a:gd name="T59" fmla="*/ 43 h 936"/>
                <a:gd name="T60" fmla="*/ 125 w 948"/>
                <a:gd name="T61" fmla="*/ 57 h 936"/>
                <a:gd name="T62" fmla="*/ 122 w 948"/>
                <a:gd name="T63" fmla="*/ 65 h 936"/>
                <a:gd name="T64" fmla="*/ 122 w 948"/>
                <a:gd name="T65" fmla="*/ 74 h 936"/>
                <a:gd name="T66" fmla="*/ 124 w 948"/>
                <a:gd name="T67" fmla="*/ 81 h 936"/>
                <a:gd name="T68" fmla="*/ 125 w 948"/>
                <a:gd name="T69" fmla="*/ 94 h 936"/>
                <a:gd name="T70" fmla="*/ 130 w 948"/>
                <a:gd name="T71" fmla="*/ 108 h 936"/>
                <a:gd name="T72" fmla="*/ 129 w 948"/>
                <a:gd name="T73" fmla="*/ 120 h 936"/>
                <a:gd name="T74" fmla="*/ 117 w 948"/>
                <a:gd name="T75" fmla="*/ 131 h 936"/>
                <a:gd name="T76" fmla="*/ 119 w 948"/>
                <a:gd name="T77" fmla="*/ 137 h 936"/>
                <a:gd name="T78" fmla="*/ 119 w 948"/>
                <a:gd name="T79" fmla="*/ 145 h 936"/>
                <a:gd name="T80" fmla="*/ 120 w 948"/>
                <a:gd name="T81" fmla="*/ 154 h 936"/>
                <a:gd name="T82" fmla="*/ 127 w 948"/>
                <a:gd name="T83" fmla="*/ 154 h 936"/>
                <a:gd name="T84" fmla="*/ 122 w 948"/>
                <a:gd name="T85" fmla="*/ 165 h 936"/>
                <a:gd name="T86" fmla="*/ 117 w 948"/>
                <a:gd name="T87" fmla="*/ 158 h 936"/>
                <a:gd name="T88" fmla="*/ 109 w 948"/>
                <a:gd name="T89" fmla="*/ 152 h 936"/>
                <a:gd name="T90" fmla="*/ 104 w 948"/>
                <a:gd name="T91" fmla="*/ 152 h 936"/>
                <a:gd name="T92" fmla="*/ 96 w 948"/>
                <a:gd name="T93" fmla="*/ 150 h 936"/>
                <a:gd name="T94" fmla="*/ 90 w 948"/>
                <a:gd name="T95" fmla="*/ 148 h 936"/>
                <a:gd name="T96" fmla="*/ 85 w 948"/>
                <a:gd name="T97" fmla="*/ 143 h 936"/>
                <a:gd name="T98" fmla="*/ 77 w 948"/>
                <a:gd name="T99" fmla="*/ 144 h 936"/>
                <a:gd name="T100" fmla="*/ 72 w 948"/>
                <a:gd name="T101" fmla="*/ 142 h 936"/>
                <a:gd name="T102" fmla="*/ 70 w 948"/>
                <a:gd name="T103" fmla="*/ 132 h 936"/>
                <a:gd name="T104" fmla="*/ 70 w 948"/>
                <a:gd name="T105" fmla="*/ 122 h 936"/>
                <a:gd name="T106" fmla="*/ 70 w 948"/>
                <a:gd name="T107" fmla="*/ 112 h 936"/>
                <a:gd name="T108" fmla="*/ 53 w 948"/>
                <a:gd name="T109" fmla="*/ 111 h 936"/>
                <a:gd name="T110" fmla="*/ 45 w 948"/>
                <a:gd name="T111" fmla="*/ 118 h 936"/>
                <a:gd name="T112" fmla="*/ 38 w 948"/>
                <a:gd name="T113" fmla="*/ 115 h 936"/>
                <a:gd name="T114" fmla="*/ 33 w 948"/>
                <a:gd name="T115" fmla="*/ 107 h 936"/>
                <a:gd name="T116" fmla="*/ 27 w 948"/>
                <a:gd name="T117" fmla="*/ 99 h 936"/>
                <a:gd name="T118" fmla="*/ 12 w 948"/>
                <a:gd name="T119" fmla="*/ 99 h 936"/>
                <a:gd name="T120" fmla="*/ 1 w 948"/>
                <a:gd name="T121" fmla="*/ 101 h 9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948" h="936">
                  <a:moveTo>
                    <a:pt x="0" y="552"/>
                  </a:moveTo>
                  <a:lnTo>
                    <a:pt x="12" y="552"/>
                  </a:lnTo>
                  <a:lnTo>
                    <a:pt x="12" y="528"/>
                  </a:lnTo>
                  <a:lnTo>
                    <a:pt x="12" y="522"/>
                  </a:lnTo>
                  <a:lnTo>
                    <a:pt x="12" y="516"/>
                  </a:lnTo>
                  <a:lnTo>
                    <a:pt x="18" y="516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30" y="510"/>
                  </a:lnTo>
                  <a:lnTo>
                    <a:pt x="30" y="504"/>
                  </a:lnTo>
                  <a:lnTo>
                    <a:pt x="36" y="504"/>
                  </a:lnTo>
                  <a:lnTo>
                    <a:pt x="36" y="498"/>
                  </a:lnTo>
                  <a:lnTo>
                    <a:pt x="42" y="498"/>
                  </a:lnTo>
                  <a:lnTo>
                    <a:pt x="48" y="498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54" y="510"/>
                  </a:lnTo>
                  <a:lnTo>
                    <a:pt x="60" y="510"/>
                  </a:lnTo>
                  <a:lnTo>
                    <a:pt x="66" y="504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78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6" y="486"/>
                  </a:lnTo>
                  <a:lnTo>
                    <a:pt x="102" y="486"/>
                  </a:lnTo>
                  <a:lnTo>
                    <a:pt x="102" y="480"/>
                  </a:lnTo>
                  <a:lnTo>
                    <a:pt x="108" y="480"/>
                  </a:lnTo>
                  <a:lnTo>
                    <a:pt x="108" y="486"/>
                  </a:lnTo>
                  <a:lnTo>
                    <a:pt x="114" y="486"/>
                  </a:lnTo>
                  <a:lnTo>
                    <a:pt x="108" y="486"/>
                  </a:lnTo>
                  <a:lnTo>
                    <a:pt x="108" y="492"/>
                  </a:lnTo>
                  <a:lnTo>
                    <a:pt x="102" y="492"/>
                  </a:lnTo>
                  <a:lnTo>
                    <a:pt x="102" y="498"/>
                  </a:lnTo>
                  <a:lnTo>
                    <a:pt x="108" y="498"/>
                  </a:lnTo>
                  <a:lnTo>
                    <a:pt x="108" y="504"/>
                  </a:lnTo>
                  <a:lnTo>
                    <a:pt x="108" y="510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6" y="510"/>
                  </a:lnTo>
                  <a:lnTo>
                    <a:pt x="132" y="510"/>
                  </a:lnTo>
                  <a:lnTo>
                    <a:pt x="132" y="504"/>
                  </a:lnTo>
                  <a:lnTo>
                    <a:pt x="132" y="498"/>
                  </a:lnTo>
                  <a:lnTo>
                    <a:pt x="138" y="498"/>
                  </a:lnTo>
                  <a:lnTo>
                    <a:pt x="138" y="492"/>
                  </a:lnTo>
                  <a:lnTo>
                    <a:pt x="144" y="492"/>
                  </a:lnTo>
                  <a:lnTo>
                    <a:pt x="144" y="486"/>
                  </a:lnTo>
                  <a:lnTo>
                    <a:pt x="150" y="480"/>
                  </a:lnTo>
                  <a:lnTo>
                    <a:pt x="156" y="480"/>
                  </a:lnTo>
                  <a:lnTo>
                    <a:pt x="162" y="480"/>
                  </a:lnTo>
                  <a:lnTo>
                    <a:pt x="162" y="474"/>
                  </a:lnTo>
                  <a:lnTo>
                    <a:pt x="162" y="468"/>
                  </a:lnTo>
                  <a:lnTo>
                    <a:pt x="168" y="468"/>
                  </a:lnTo>
                  <a:lnTo>
                    <a:pt x="174" y="468"/>
                  </a:lnTo>
                  <a:lnTo>
                    <a:pt x="180" y="462"/>
                  </a:lnTo>
                  <a:lnTo>
                    <a:pt x="186" y="462"/>
                  </a:lnTo>
                  <a:lnTo>
                    <a:pt x="186" y="456"/>
                  </a:lnTo>
                  <a:lnTo>
                    <a:pt x="192" y="444"/>
                  </a:lnTo>
                  <a:lnTo>
                    <a:pt x="192" y="438"/>
                  </a:lnTo>
                  <a:lnTo>
                    <a:pt x="198" y="438"/>
                  </a:lnTo>
                  <a:lnTo>
                    <a:pt x="198" y="432"/>
                  </a:lnTo>
                  <a:lnTo>
                    <a:pt x="198" y="426"/>
                  </a:lnTo>
                  <a:lnTo>
                    <a:pt x="198" y="420"/>
                  </a:lnTo>
                  <a:lnTo>
                    <a:pt x="198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198" y="396"/>
                  </a:lnTo>
                  <a:lnTo>
                    <a:pt x="198" y="390"/>
                  </a:lnTo>
                  <a:lnTo>
                    <a:pt x="198" y="384"/>
                  </a:lnTo>
                  <a:lnTo>
                    <a:pt x="198" y="378"/>
                  </a:lnTo>
                  <a:lnTo>
                    <a:pt x="198" y="372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16" y="354"/>
                  </a:lnTo>
                  <a:lnTo>
                    <a:pt x="222" y="336"/>
                  </a:lnTo>
                  <a:lnTo>
                    <a:pt x="228" y="336"/>
                  </a:lnTo>
                  <a:lnTo>
                    <a:pt x="228" y="330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40" y="324"/>
                  </a:lnTo>
                  <a:lnTo>
                    <a:pt x="240" y="318"/>
                  </a:lnTo>
                  <a:lnTo>
                    <a:pt x="246" y="318"/>
                  </a:lnTo>
                  <a:lnTo>
                    <a:pt x="252" y="318"/>
                  </a:lnTo>
                  <a:lnTo>
                    <a:pt x="258" y="312"/>
                  </a:lnTo>
                  <a:lnTo>
                    <a:pt x="264" y="306"/>
                  </a:lnTo>
                  <a:lnTo>
                    <a:pt x="264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76" y="288"/>
                  </a:lnTo>
                  <a:lnTo>
                    <a:pt x="270" y="282"/>
                  </a:lnTo>
                  <a:lnTo>
                    <a:pt x="270" y="276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76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82" y="252"/>
                  </a:lnTo>
                  <a:lnTo>
                    <a:pt x="282" y="246"/>
                  </a:lnTo>
                  <a:lnTo>
                    <a:pt x="282" y="240"/>
                  </a:lnTo>
                  <a:lnTo>
                    <a:pt x="282" y="234"/>
                  </a:lnTo>
                  <a:lnTo>
                    <a:pt x="282" y="228"/>
                  </a:lnTo>
                  <a:lnTo>
                    <a:pt x="276" y="222"/>
                  </a:lnTo>
                  <a:lnTo>
                    <a:pt x="276" y="216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2" y="204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288" y="186"/>
                  </a:lnTo>
                  <a:lnTo>
                    <a:pt x="288" y="180"/>
                  </a:lnTo>
                  <a:lnTo>
                    <a:pt x="288" y="174"/>
                  </a:lnTo>
                  <a:lnTo>
                    <a:pt x="288" y="168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94" y="156"/>
                  </a:lnTo>
                  <a:lnTo>
                    <a:pt x="294" y="150"/>
                  </a:lnTo>
                  <a:lnTo>
                    <a:pt x="300" y="144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306" y="120"/>
                  </a:lnTo>
                  <a:lnTo>
                    <a:pt x="312" y="120"/>
                  </a:lnTo>
                  <a:lnTo>
                    <a:pt x="312" y="114"/>
                  </a:lnTo>
                  <a:lnTo>
                    <a:pt x="318" y="114"/>
                  </a:lnTo>
                  <a:lnTo>
                    <a:pt x="318" y="108"/>
                  </a:lnTo>
                  <a:lnTo>
                    <a:pt x="318" y="102"/>
                  </a:lnTo>
                  <a:lnTo>
                    <a:pt x="318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18" y="78"/>
                  </a:lnTo>
                  <a:lnTo>
                    <a:pt x="318" y="72"/>
                  </a:lnTo>
                  <a:lnTo>
                    <a:pt x="318" y="66"/>
                  </a:lnTo>
                  <a:lnTo>
                    <a:pt x="318" y="60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54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84" y="18"/>
                  </a:lnTo>
                  <a:lnTo>
                    <a:pt x="390" y="24"/>
                  </a:lnTo>
                  <a:lnTo>
                    <a:pt x="396" y="24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08" y="42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38" y="54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62" y="54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10" y="54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16" y="42"/>
                  </a:lnTo>
                  <a:lnTo>
                    <a:pt x="516" y="48"/>
                  </a:lnTo>
                  <a:lnTo>
                    <a:pt x="522" y="48"/>
                  </a:lnTo>
                  <a:lnTo>
                    <a:pt x="522" y="42"/>
                  </a:lnTo>
                  <a:lnTo>
                    <a:pt x="522" y="36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28" y="36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36"/>
                  </a:lnTo>
                  <a:lnTo>
                    <a:pt x="540" y="30"/>
                  </a:lnTo>
                  <a:lnTo>
                    <a:pt x="546" y="30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42"/>
                  </a:lnTo>
                  <a:lnTo>
                    <a:pt x="558" y="42"/>
                  </a:lnTo>
                  <a:lnTo>
                    <a:pt x="558" y="36"/>
                  </a:lnTo>
                  <a:lnTo>
                    <a:pt x="564" y="36"/>
                  </a:lnTo>
                  <a:lnTo>
                    <a:pt x="564" y="30"/>
                  </a:lnTo>
                  <a:lnTo>
                    <a:pt x="570" y="30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94" y="24"/>
                  </a:lnTo>
                  <a:lnTo>
                    <a:pt x="594" y="18"/>
                  </a:lnTo>
                  <a:lnTo>
                    <a:pt x="594" y="24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0" y="18"/>
                  </a:lnTo>
                  <a:lnTo>
                    <a:pt x="600" y="12"/>
                  </a:lnTo>
                  <a:lnTo>
                    <a:pt x="606" y="12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18"/>
                  </a:lnTo>
                  <a:lnTo>
                    <a:pt x="636" y="18"/>
                  </a:lnTo>
                  <a:lnTo>
                    <a:pt x="636" y="24"/>
                  </a:lnTo>
                  <a:lnTo>
                    <a:pt x="636" y="18"/>
                  </a:lnTo>
                  <a:lnTo>
                    <a:pt x="642" y="18"/>
                  </a:lnTo>
                  <a:lnTo>
                    <a:pt x="648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48" y="12"/>
                  </a:lnTo>
                  <a:lnTo>
                    <a:pt x="648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2" y="12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90" y="6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702" y="12"/>
                  </a:lnTo>
                  <a:lnTo>
                    <a:pt x="708" y="12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20" y="12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2" y="12"/>
                  </a:lnTo>
                  <a:lnTo>
                    <a:pt x="738" y="6"/>
                  </a:lnTo>
                  <a:lnTo>
                    <a:pt x="738" y="12"/>
                  </a:lnTo>
                  <a:lnTo>
                    <a:pt x="744" y="12"/>
                  </a:lnTo>
                  <a:lnTo>
                    <a:pt x="750" y="12"/>
                  </a:lnTo>
                  <a:lnTo>
                    <a:pt x="756" y="12"/>
                  </a:lnTo>
                  <a:lnTo>
                    <a:pt x="756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68" y="30"/>
                  </a:lnTo>
                  <a:lnTo>
                    <a:pt x="774" y="30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80" y="42"/>
                  </a:lnTo>
                  <a:lnTo>
                    <a:pt x="786" y="42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92" y="54"/>
                  </a:lnTo>
                  <a:lnTo>
                    <a:pt x="798" y="54"/>
                  </a:lnTo>
                  <a:lnTo>
                    <a:pt x="804" y="54"/>
                  </a:lnTo>
                  <a:lnTo>
                    <a:pt x="810" y="54"/>
                  </a:lnTo>
                  <a:lnTo>
                    <a:pt x="810" y="48"/>
                  </a:lnTo>
                  <a:lnTo>
                    <a:pt x="816" y="48"/>
                  </a:lnTo>
                  <a:lnTo>
                    <a:pt x="816" y="42"/>
                  </a:lnTo>
                  <a:lnTo>
                    <a:pt x="822" y="42"/>
                  </a:lnTo>
                  <a:lnTo>
                    <a:pt x="822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34" y="42"/>
                  </a:lnTo>
                  <a:lnTo>
                    <a:pt x="834" y="48"/>
                  </a:lnTo>
                  <a:lnTo>
                    <a:pt x="840" y="48"/>
                  </a:lnTo>
                  <a:lnTo>
                    <a:pt x="840" y="54"/>
                  </a:lnTo>
                  <a:lnTo>
                    <a:pt x="846" y="54"/>
                  </a:lnTo>
                  <a:lnTo>
                    <a:pt x="846" y="48"/>
                  </a:lnTo>
                  <a:lnTo>
                    <a:pt x="852" y="48"/>
                  </a:lnTo>
                  <a:lnTo>
                    <a:pt x="852" y="42"/>
                  </a:lnTo>
                  <a:lnTo>
                    <a:pt x="858" y="42"/>
                  </a:lnTo>
                  <a:lnTo>
                    <a:pt x="858" y="36"/>
                  </a:lnTo>
                  <a:lnTo>
                    <a:pt x="864" y="36"/>
                  </a:lnTo>
                  <a:lnTo>
                    <a:pt x="870" y="36"/>
                  </a:lnTo>
                  <a:lnTo>
                    <a:pt x="870" y="42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70" y="48"/>
                  </a:lnTo>
                  <a:lnTo>
                    <a:pt x="876" y="54"/>
                  </a:lnTo>
                  <a:lnTo>
                    <a:pt x="882" y="54"/>
                  </a:lnTo>
                  <a:lnTo>
                    <a:pt x="882" y="60"/>
                  </a:lnTo>
                  <a:lnTo>
                    <a:pt x="888" y="66"/>
                  </a:lnTo>
                  <a:lnTo>
                    <a:pt x="894" y="66"/>
                  </a:lnTo>
                  <a:lnTo>
                    <a:pt x="894" y="72"/>
                  </a:lnTo>
                  <a:lnTo>
                    <a:pt x="900" y="72"/>
                  </a:lnTo>
                  <a:lnTo>
                    <a:pt x="906" y="72"/>
                  </a:lnTo>
                  <a:lnTo>
                    <a:pt x="906" y="78"/>
                  </a:lnTo>
                  <a:lnTo>
                    <a:pt x="912" y="78"/>
                  </a:lnTo>
                  <a:lnTo>
                    <a:pt x="912" y="84"/>
                  </a:lnTo>
                  <a:lnTo>
                    <a:pt x="912" y="90"/>
                  </a:lnTo>
                  <a:lnTo>
                    <a:pt x="912" y="84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24" y="90"/>
                  </a:lnTo>
                  <a:lnTo>
                    <a:pt x="924" y="96"/>
                  </a:lnTo>
                  <a:lnTo>
                    <a:pt x="930" y="96"/>
                  </a:lnTo>
                  <a:lnTo>
                    <a:pt x="924" y="102"/>
                  </a:lnTo>
                  <a:lnTo>
                    <a:pt x="924" y="108"/>
                  </a:lnTo>
                  <a:lnTo>
                    <a:pt x="918" y="114"/>
                  </a:lnTo>
                  <a:lnTo>
                    <a:pt x="918" y="120"/>
                  </a:lnTo>
                  <a:lnTo>
                    <a:pt x="924" y="120"/>
                  </a:lnTo>
                  <a:lnTo>
                    <a:pt x="924" y="126"/>
                  </a:lnTo>
                  <a:lnTo>
                    <a:pt x="924" y="132"/>
                  </a:lnTo>
                  <a:lnTo>
                    <a:pt x="918" y="138"/>
                  </a:lnTo>
                  <a:lnTo>
                    <a:pt x="918" y="144"/>
                  </a:lnTo>
                  <a:lnTo>
                    <a:pt x="924" y="144"/>
                  </a:lnTo>
                  <a:lnTo>
                    <a:pt x="924" y="150"/>
                  </a:lnTo>
                  <a:lnTo>
                    <a:pt x="930" y="150"/>
                  </a:lnTo>
                  <a:lnTo>
                    <a:pt x="936" y="150"/>
                  </a:lnTo>
                  <a:lnTo>
                    <a:pt x="936" y="156"/>
                  </a:lnTo>
                  <a:lnTo>
                    <a:pt x="942" y="156"/>
                  </a:lnTo>
                  <a:lnTo>
                    <a:pt x="948" y="162"/>
                  </a:lnTo>
                  <a:lnTo>
                    <a:pt x="942" y="168"/>
                  </a:lnTo>
                  <a:lnTo>
                    <a:pt x="936" y="174"/>
                  </a:lnTo>
                  <a:lnTo>
                    <a:pt x="930" y="180"/>
                  </a:lnTo>
                  <a:lnTo>
                    <a:pt x="918" y="192"/>
                  </a:lnTo>
                  <a:lnTo>
                    <a:pt x="906" y="210"/>
                  </a:lnTo>
                  <a:lnTo>
                    <a:pt x="900" y="210"/>
                  </a:lnTo>
                  <a:lnTo>
                    <a:pt x="894" y="210"/>
                  </a:lnTo>
                  <a:lnTo>
                    <a:pt x="894" y="216"/>
                  </a:lnTo>
                  <a:lnTo>
                    <a:pt x="894" y="222"/>
                  </a:lnTo>
                  <a:lnTo>
                    <a:pt x="888" y="222"/>
                  </a:lnTo>
                  <a:lnTo>
                    <a:pt x="882" y="222"/>
                  </a:lnTo>
                  <a:lnTo>
                    <a:pt x="882" y="228"/>
                  </a:lnTo>
                  <a:lnTo>
                    <a:pt x="882" y="234"/>
                  </a:lnTo>
                  <a:lnTo>
                    <a:pt x="882" y="240"/>
                  </a:lnTo>
                  <a:lnTo>
                    <a:pt x="876" y="246"/>
                  </a:lnTo>
                  <a:lnTo>
                    <a:pt x="876" y="252"/>
                  </a:lnTo>
                  <a:lnTo>
                    <a:pt x="876" y="258"/>
                  </a:lnTo>
                  <a:lnTo>
                    <a:pt x="870" y="258"/>
                  </a:lnTo>
                  <a:lnTo>
                    <a:pt x="870" y="264"/>
                  </a:lnTo>
                  <a:lnTo>
                    <a:pt x="870" y="270"/>
                  </a:lnTo>
                  <a:lnTo>
                    <a:pt x="864" y="288"/>
                  </a:lnTo>
                  <a:lnTo>
                    <a:pt x="864" y="294"/>
                  </a:lnTo>
                  <a:lnTo>
                    <a:pt x="864" y="300"/>
                  </a:lnTo>
                  <a:lnTo>
                    <a:pt x="864" y="306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30"/>
                  </a:lnTo>
                  <a:lnTo>
                    <a:pt x="864" y="336"/>
                  </a:lnTo>
                  <a:lnTo>
                    <a:pt x="858" y="336"/>
                  </a:lnTo>
                  <a:lnTo>
                    <a:pt x="858" y="342"/>
                  </a:lnTo>
                  <a:lnTo>
                    <a:pt x="852" y="342"/>
                  </a:lnTo>
                  <a:lnTo>
                    <a:pt x="846" y="342"/>
                  </a:lnTo>
                  <a:lnTo>
                    <a:pt x="846" y="348"/>
                  </a:lnTo>
                  <a:lnTo>
                    <a:pt x="846" y="354"/>
                  </a:lnTo>
                  <a:lnTo>
                    <a:pt x="840" y="354"/>
                  </a:lnTo>
                  <a:lnTo>
                    <a:pt x="840" y="360"/>
                  </a:lnTo>
                  <a:lnTo>
                    <a:pt x="840" y="366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34" y="378"/>
                  </a:lnTo>
                  <a:lnTo>
                    <a:pt x="834" y="384"/>
                  </a:lnTo>
                  <a:lnTo>
                    <a:pt x="828" y="384"/>
                  </a:lnTo>
                  <a:lnTo>
                    <a:pt x="828" y="390"/>
                  </a:lnTo>
                  <a:lnTo>
                    <a:pt x="828" y="396"/>
                  </a:lnTo>
                  <a:lnTo>
                    <a:pt x="828" y="402"/>
                  </a:lnTo>
                  <a:lnTo>
                    <a:pt x="834" y="402"/>
                  </a:lnTo>
                  <a:lnTo>
                    <a:pt x="834" y="408"/>
                  </a:lnTo>
                  <a:lnTo>
                    <a:pt x="834" y="414"/>
                  </a:lnTo>
                  <a:lnTo>
                    <a:pt x="840" y="414"/>
                  </a:lnTo>
                  <a:lnTo>
                    <a:pt x="840" y="420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32"/>
                  </a:lnTo>
                  <a:lnTo>
                    <a:pt x="840" y="432"/>
                  </a:lnTo>
                  <a:lnTo>
                    <a:pt x="846" y="438"/>
                  </a:lnTo>
                  <a:lnTo>
                    <a:pt x="846" y="444"/>
                  </a:lnTo>
                  <a:lnTo>
                    <a:pt x="846" y="450"/>
                  </a:lnTo>
                  <a:lnTo>
                    <a:pt x="846" y="456"/>
                  </a:lnTo>
                  <a:lnTo>
                    <a:pt x="846" y="462"/>
                  </a:lnTo>
                  <a:lnTo>
                    <a:pt x="846" y="468"/>
                  </a:lnTo>
                  <a:lnTo>
                    <a:pt x="852" y="468"/>
                  </a:lnTo>
                  <a:lnTo>
                    <a:pt x="852" y="474"/>
                  </a:lnTo>
                  <a:lnTo>
                    <a:pt x="852" y="486"/>
                  </a:lnTo>
                  <a:lnTo>
                    <a:pt x="852" y="492"/>
                  </a:lnTo>
                  <a:lnTo>
                    <a:pt x="846" y="498"/>
                  </a:lnTo>
                  <a:lnTo>
                    <a:pt x="846" y="504"/>
                  </a:lnTo>
                  <a:lnTo>
                    <a:pt x="846" y="510"/>
                  </a:lnTo>
                  <a:lnTo>
                    <a:pt x="852" y="516"/>
                  </a:lnTo>
                  <a:lnTo>
                    <a:pt x="852" y="522"/>
                  </a:lnTo>
                  <a:lnTo>
                    <a:pt x="852" y="528"/>
                  </a:lnTo>
                  <a:lnTo>
                    <a:pt x="858" y="534"/>
                  </a:lnTo>
                  <a:lnTo>
                    <a:pt x="858" y="546"/>
                  </a:lnTo>
                  <a:lnTo>
                    <a:pt x="864" y="546"/>
                  </a:lnTo>
                  <a:lnTo>
                    <a:pt x="864" y="552"/>
                  </a:lnTo>
                  <a:lnTo>
                    <a:pt x="864" y="558"/>
                  </a:lnTo>
                  <a:lnTo>
                    <a:pt x="858" y="564"/>
                  </a:lnTo>
                  <a:lnTo>
                    <a:pt x="858" y="570"/>
                  </a:lnTo>
                  <a:lnTo>
                    <a:pt x="864" y="576"/>
                  </a:lnTo>
                  <a:lnTo>
                    <a:pt x="864" y="582"/>
                  </a:lnTo>
                  <a:lnTo>
                    <a:pt x="864" y="588"/>
                  </a:lnTo>
                  <a:lnTo>
                    <a:pt x="870" y="594"/>
                  </a:lnTo>
                  <a:lnTo>
                    <a:pt x="876" y="600"/>
                  </a:lnTo>
                  <a:lnTo>
                    <a:pt x="888" y="606"/>
                  </a:lnTo>
                  <a:lnTo>
                    <a:pt x="888" y="612"/>
                  </a:lnTo>
                  <a:lnTo>
                    <a:pt x="894" y="618"/>
                  </a:lnTo>
                  <a:lnTo>
                    <a:pt x="900" y="630"/>
                  </a:lnTo>
                  <a:lnTo>
                    <a:pt x="900" y="636"/>
                  </a:lnTo>
                  <a:lnTo>
                    <a:pt x="906" y="648"/>
                  </a:lnTo>
                  <a:lnTo>
                    <a:pt x="912" y="660"/>
                  </a:lnTo>
                  <a:lnTo>
                    <a:pt x="912" y="666"/>
                  </a:lnTo>
                  <a:lnTo>
                    <a:pt x="918" y="666"/>
                  </a:lnTo>
                  <a:lnTo>
                    <a:pt x="918" y="672"/>
                  </a:lnTo>
                  <a:lnTo>
                    <a:pt x="918" y="678"/>
                  </a:lnTo>
                  <a:lnTo>
                    <a:pt x="912" y="678"/>
                  </a:lnTo>
                  <a:lnTo>
                    <a:pt x="900" y="678"/>
                  </a:lnTo>
                  <a:lnTo>
                    <a:pt x="888" y="678"/>
                  </a:lnTo>
                  <a:lnTo>
                    <a:pt x="882" y="678"/>
                  </a:lnTo>
                  <a:lnTo>
                    <a:pt x="876" y="684"/>
                  </a:lnTo>
                  <a:lnTo>
                    <a:pt x="864" y="684"/>
                  </a:lnTo>
                  <a:lnTo>
                    <a:pt x="828" y="690"/>
                  </a:lnTo>
                  <a:lnTo>
                    <a:pt x="828" y="696"/>
                  </a:lnTo>
                  <a:lnTo>
                    <a:pt x="828" y="702"/>
                  </a:lnTo>
                  <a:lnTo>
                    <a:pt x="822" y="714"/>
                  </a:lnTo>
                  <a:lnTo>
                    <a:pt x="816" y="714"/>
                  </a:lnTo>
                  <a:lnTo>
                    <a:pt x="816" y="720"/>
                  </a:lnTo>
                  <a:lnTo>
                    <a:pt x="804" y="720"/>
                  </a:lnTo>
                  <a:lnTo>
                    <a:pt x="804" y="726"/>
                  </a:lnTo>
                  <a:lnTo>
                    <a:pt x="798" y="732"/>
                  </a:lnTo>
                  <a:lnTo>
                    <a:pt x="804" y="732"/>
                  </a:lnTo>
                  <a:lnTo>
                    <a:pt x="804" y="738"/>
                  </a:lnTo>
                  <a:lnTo>
                    <a:pt x="804" y="732"/>
                  </a:lnTo>
                  <a:lnTo>
                    <a:pt x="810" y="732"/>
                  </a:lnTo>
                  <a:lnTo>
                    <a:pt x="810" y="738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50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16" y="774"/>
                  </a:lnTo>
                  <a:lnTo>
                    <a:pt x="810" y="774"/>
                  </a:lnTo>
                  <a:lnTo>
                    <a:pt x="810" y="780"/>
                  </a:lnTo>
                  <a:lnTo>
                    <a:pt x="816" y="780"/>
                  </a:lnTo>
                  <a:lnTo>
                    <a:pt x="816" y="786"/>
                  </a:lnTo>
                  <a:lnTo>
                    <a:pt x="816" y="792"/>
                  </a:lnTo>
                  <a:lnTo>
                    <a:pt x="816" y="798"/>
                  </a:lnTo>
                  <a:lnTo>
                    <a:pt x="810" y="798"/>
                  </a:lnTo>
                  <a:lnTo>
                    <a:pt x="810" y="804"/>
                  </a:lnTo>
                  <a:lnTo>
                    <a:pt x="810" y="810"/>
                  </a:lnTo>
                  <a:lnTo>
                    <a:pt x="810" y="816"/>
                  </a:lnTo>
                  <a:lnTo>
                    <a:pt x="804" y="816"/>
                  </a:lnTo>
                  <a:lnTo>
                    <a:pt x="804" y="822"/>
                  </a:lnTo>
                  <a:lnTo>
                    <a:pt x="810" y="822"/>
                  </a:lnTo>
                  <a:lnTo>
                    <a:pt x="804" y="822"/>
                  </a:lnTo>
                  <a:lnTo>
                    <a:pt x="804" y="828"/>
                  </a:lnTo>
                  <a:lnTo>
                    <a:pt x="804" y="834"/>
                  </a:lnTo>
                  <a:lnTo>
                    <a:pt x="804" y="840"/>
                  </a:lnTo>
                  <a:lnTo>
                    <a:pt x="804" y="846"/>
                  </a:lnTo>
                  <a:lnTo>
                    <a:pt x="804" y="852"/>
                  </a:lnTo>
                  <a:lnTo>
                    <a:pt x="804" y="858"/>
                  </a:lnTo>
                  <a:lnTo>
                    <a:pt x="804" y="852"/>
                  </a:lnTo>
                  <a:lnTo>
                    <a:pt x="810" y="858"/>
                  </a:lnTo>
                  <a:lnTo>
                    <a:pt x="816" y="858"/>
                  </a:lnTo>
                  <a:lnTo>
                    <a:pt x="816" y="864"/>
                  </a:lnTo>
                  <a:lnTo>
                    <a:pt x="822" y="864"/>
                  </a:lnTo>
                  <a:lnTo>
                    <a:pt x="822" y="870"/>
                  </a:lnTo>
                  <a:lnTo>
                    <a:pt x="828" y="870"/>
                  </a:lnTo>
                  <a:lnTo>
                    <a:pt x="828" y="876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40" y="882"/>
                  </a:lnTo>
                  <a:lnTo>
                    <a:pt x="846" y="882"/>
                  </a:lnTo>
                  <a:lnTo>
                    <a:pt x="852" y="882"/>
                  </a:lnTo>
                  <a:lnTo>
                    <a:pt x="858" y="888"/>
                  </a:lnTo>
                  <a:lnTo>
                    <a:pt x="858" y="882"/>
                  </a:lnTo>
                  <a:lnTo>
                    <a:pt x="852" y="882"/>
                  </a:lnTo>
                  <a:lnTo>
                    <a:pt x="858" y="876"/>
                  </a:lnTo>
                  <a:lnTo>
                    <a:pt x="864" y="876"/>
                  </a:lnTo>
                  <a:lnTo>
                    <a:pt x="870" y="870"/>
                  </a:lnTo>
                  <a:lnTo>
                    <a:pt x="870" y="936"/>
                  </a:lnTo>
                  <a:lnTo>
                    <a:pt x="864" y="936"/>
                  </a:lnTo>
                  <a:lnTo>
                    <a:pt x="864" y="930"/>
                  </a:lnTo>
                  <a:lnTo>
                    <a:pt x="864" y="924"/>
                  </a:lnTo>
                  <a:lnTo>
                    <a:pt x="858" y="924"/>
                  </a:lnTo>
                  <a:lnTo>
                    <a:pt x="852" y="930"/>
                  </a:lnTo>
                  <a:lnTo>
                    <a:pt x="846" y="930"/>
                  </a:lnTo>
                  <a:lnTo>
                    <a:pt x="846" y="936"/>
                  </a:lnTo>
                  <a:lnTo>
                    <a:pt x="840" y="936"/>
                  </a:lnTo>
                  <a:lnTo>
                    <a:pt x="840" y="930"/>
                  </a:lnTo>
                  <a:lnTo>
                    <a:pt x="834" y="930"/>
                  </a:lnTo>
                  <a:lnTo>
                    <a:pt x="834" y="936"/>
                  </a:lnTo>
                  <a:lnTo>
                    <a:pt x="834" y="930"/>
                  </a:lnTo>
                  <a:lnTo>
                    <a:pt x="828" y="930"/>
                  </a:lnTo>
                  <a:lnTo>
                    <a:pt x="828" y="924"/>
                  </a:lnTo>
                  <a:lnTo>
                    <a:pt x="828" y="918"/>
                  </a:lnTo>
                  <a:lnTo>
                    <a:pt x="822" y="918"/>
                  </a:lnTo>
                  <a:lnTo>
                    <a:pt x="822" y="912"/>
                  </a:lnTo>
                  <a:lnTo>
                    <a:pt x="822" y="906"/>
                  </a:lnTo>
                  <a:lnTo>
                    <a:pt x="816" y="906"/>
                  </a:lnTo>
                  <a:lnTo>
                    <a:pt x="810" y="906"/>
                  </a:lnTo>
                  <a:lnTo>
                    <a:pt x="804" y="900"/>
                  </a:lnTo>
                  <a:lnTo>
                    <a:pt x="810" y="900"/>
                  </a:lnTo>
                  <a:lnTo>
                    <a:pt x="810" y="894"/>
                  </a:lnTo>
                  <a:lnTo>
                    <a:pt x="804" y="894"/>
                  </a:lnTo>
                  <a:lnTo>
                    <a:pt x="804" y="888"/>
                  </a:lnTo>
                  <a:lnTo>
                    <a:pt x="798" y="882"/>
                  </a:lnTo>
                  <a:lnTo>
                    <a:pt x="792" y="882"/>
                  </a:lnTo>
                  <a:lnTo>
                    <a:pt x="786" y="888"/>
                  </a:lnTo>
                  <a:lnTo>
                    <a:pt x="786" y="882"/>
                  </a:lnTo>
                  <a:lnTo>
                    <a:pt x="780" y="882"/>
                  </a:lnTo>
                  <a:lnTo>
                    <a:pt x="780" y="876"/>
                  </a:lnTo>
                  <a:lnTo>
                    <a:pt x="774" y="876"/>
                  </a:lnTo>
                  <a:lnTo>
                    <a:pt x="768" y="876"/>
                  </a:lnTo>
                  <a:lnTo>
                    <a:pt x="762" y="876"/>
                  </a:lnTo>
                  <a:lnTo>
                    <a:pt x="756" y="870"/>
                  </a:lnTo>
                  <a:lnTo>
                    <a:pt x="756" y="864"/>
                  </a:lnTo>
                  <a:lnTo>
                    <a:pt x="756" y="858"/>
                  </a:lnTo>
                  <a:lnTo>
                    <a:pt x="750" y="858"/>
                  </a:lnTo>
                  <a:lnTo>
                    <a:pt x="750" y="852"/>
                  </a:lnTo>
                  <a:lnTo>
                    <a:pt x="744" y="852"/>
                  </a:lnTo>
                  <a:lnTo>
                    <a:pt x="744" y="846"/>
                  </a:lnTo>
                  <a:lnTo>
                    <a:pt x="744" y="840"/>
                  </a:lnTo>
                  <a:lnTo>
                    <a:pt x="738" y="846"/>
                  </a:lnTo>
                  <a:lnTo>
                    <a:pt x="732" y="846"/>
                  </a:lnTo>
                  <a:lnTo>
                    <a:pt x="738" y="846"/>
                  </a:lnTo>
                  <a:lnTo>
                    <a:pt x="732" y="852"/>
                  </a:lnTo>
                  <a:lnTo>
                    <a:pt x="732" y="858"/>
                  </a:lnTo>
                  <a:lnTo>
                    <a:pt x="726" y="864"/>
                  </a:lnTo>
                  <a:lnTo>
                    <a:pt x="720" y="864"/>
                  </a:lnTo>
                  <a:lnTo>
                    <a:pt x="714" y="864"/>
                  </a:lnTo>
                  <a:lnTo>
                    <a:pt x="708" y="864"/>
                  </a:lnTo>
                  <a:lnTo>
                    <a:pt x="708" y="858"/>
                  </a:lnTo>
                  <a:lnTo>
                    <a:pt x="702" y="858"/>
                  </a:lnTo>
                  <a:lnTo>
                    <a:pt x="702" y="864"/>
                  </a:lnTo>
                  <a:lnTo>
                    <a:pt x="696" y="864"/>
                  </a:lnTo>
                  <a:lnTo>
                    <a:pt x="696" y="858"/>
                  </a:lnTo>
                  <a:lnTo>
                    <a:pt x="690" y="858"/>
                  </a:lnTo>
                  <a:lnTo>
                    <a:pt x="684" y="858"/>
                  </a:lnTo>
                  <a:lnTo>
                    <a:pt x="678" y="858"/>
                  </a:lnTo>
                  <a:lnTo>
                    <a:pt x="678" y="852"/>
                  </a:lnTo>
                  <a:lnTo>
                    <a:pt x="672" y="852"/>
                  </a:lnTo>
                  <a:lnTo>
                    <a:pt x="666" y="852"/>
                  </a:lnTo>
                  <a:lnTo>
                    <a:pt x="660" y="852"/>
                  </a:lnTo>
                  <a:lnTo>
                    <a:pt x="660" y="846"/>
                  </a:lnTo>
                  <a:lnTo>
                    <a:pt x="654" y="846"/>
                  </a:lnTo>
                  <a:lnTo>
                    <a:pt x="648" y="846"/>
                  </a:lnTo>
                  <a:lnTo>
                    <a:pt x="648" y="840"/>
                  </a:lnTo>
                  <a:lnTo>
                    <a:pt x="648" y="834"/>
                  </a:lnTo>
                  <a:lnTo>
                    <a:pt x="648" y="828"/>
                  </a:lnTo>
                  <a:lnTo>
                    <a:pt x="648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0" y="828"/>
                  </a:lnTo>
                  <a:lnTo>
                    <a:pt x="624" y="828"/>
                  </a:lnTo>
                  <a:lnTo>
                    <a:pt x="618" y="828"/>
                  </a:lnTo>
                  <a:lnTo>
                    <a:pt x="618" y="834"/>
                  </a:lnTo>
                  <a:lnTo>
                    <a:pt x="612" y="834"/>
                  </a:lnTo>
                  <a:lnTo>
                    <a:pt x="606" y="834"/>
                  </a:lnTo>
                  <a:lnTo>
                    <a:pt x="606" y="840"/>
                  </a:lnTo>
                  <a:lnTo>
                    <a:pt x="606" y="834"/>
                  </a:lnTo>
                  <a:lnTo>
                    <a:pt x="600" y="834"/>
                  </a:lnTo>
                  <a:lnTo>
                    <a:pt x="600" y="828"/>
                  </a:lnTo>
                  <a:lnTo>
                    <a:pt x="606" y="828"/>
                  </a:lnTo>
                  <a:lnTo>
                    <a:pt x="606" y="822"/>
                  </a:lnTo>
                  <a:lnTo>
                    <a:pt x="600" y="816"/>
                  </a:lnTo>
                  <a:lnTo>
                    <a:pt x="594" y="816"/>
                  </a:lnTo>
                  <a:lnTo>
                    <a:pt x="588" y="816"/>
                  </a:lnTo>
                  <a:lnTo>
                    <a:pt x="594" y="810"/>
                  </a:lnTo>
                  <a:lnTo>
                    <a:pt x="588" y="810"/>
                  </a:lnTo>
                  <a:lnTo>
                    <a:pt x="582" y="810"/>
                  </a:lnTo>
                  <a:lnTo>
                    <a:pt x="576" y="816"/>
                  </a:lnTo>
                  <a:lnTo>
                    <a:pt x="570" y="816"/>
                  </a:lnTo>
                  <a:lnTo>
                    <a:pt x="564" y="816"/>
                  </a:lnTo>
                  <a:lnTo>
                    <a:pt x="564" y="810"/>
                  </a:lnTo>
                  <a:lnTo>
                    <a:pt x="558" y="810"/>
                  </a:lnTo>
                  <a:lnTo>
                    <a:pt x="552" y="810"/>
                  </a:lnTo>
                  <a:lnTo>
                    <a:pt x="552" y="816"/>
                  </a:lnTo>
                  <a:lnTo>
                    <a:pt x="546" y="816"/>
                  </a:lnTo>
                  <a:lnTo>
                    <a:pt x="540" y="816"/>
                  </a:lnTo>
                  <a:lnTo>
                    <a:pt x="540" y="822"/>
                  </a:lnTo>
                  <a:lnTo>
                    <a:pt x="534" y="822"/>
                  </a:lnTo>
                  <a:lnTo>
                    <a:pt x="534" y="816"/>
                  </a:lnTo>
                  <a:lnTo>
                    <a:pt x="528" y="816"/>
                  </a:lnTo>
                  <a:lnTo>
                    <a:pt x="522" y="816"/>
                  </a:lnTo>
                  <a:lnTo>
                    <a:pt x="522" y="822"/>
                  </a:lnTo>
                  <a:lnTo>
                    <a:pt x="516" y="816"/>
                  </a:lnTo>
                  <a:lnTo>
                    <a:pt x="510" y="816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28"/>
                  </a:lnTo>
                  <a:lnTo>
                    <a:pt x="498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2" y="804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498" y="798"/>
                  </a:lnTo>
                  <a:lnTo>
                    <a:pt x="498" y="792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498" y="774"/>
                  </a:lnTo>
                  <a:lnTo>
                    <a:pt x="498" y="768"/>
                  </a:lnTo>
                  <a:lnTo>
                    <a:pt x="492" y="762"/>
                  </a:lnTo>
                  <a:lnTo>
                    <a:pt x="492" y="756"/>
                  </a:lnTo>
                  <a:lnTo>
                    <a:pt x="486" y="756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74" y="732"/>
                  </a:lnTo>
                  <a:lnTo>
                    <a:pt x="474" y="726"/>
                  </a:lnTo>
                  <a:lnTo>
                    <a:pt x="480" y="726"/>
                  </a:lnTo>
                  <a:lnTo>
                    <a:pt x="474" y="720"/>
                  </a:lnTo>
                  <a:lnTo>
                    <a:pt x="480" y="720"/>
                  </a:lnTo>
                  <a:lnTo>
                    <a:pt x="480" y="714"/>
                  </a:lnTo>
                  <a:lnTo>
                    <a:pt x="480" y="708"/>
                  </a:lnTo>
                  <a:lnTo>
                    <a:pt x="480" y="702"/>
                  </a:lnTo>
                  <a:lnTo>
                    <a:pt x="480" y="696"/>
                  </a:lnTo>
                  <a:lnTo>
                    <a:pt x="480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80" y="672"/>
                  </a:lnTo>
                  <a:lnTo>
                    <a:pt x="474" y="666"/>
                  </a:lnTo>
                  <a:lnTo>
                    <a:pt x="474" y="660"/>
                  </a:lnTo>
                  <a:lnTo>
                    <a:pt x="474" y="654"/>
                  </a:lnTo>
                  <a:lnTo>
                    <a:pt x="474" y="648"/>
                  </a:lnTo>
                  <a:lnTo>
                    <a:pt x="474" y="642"/>
                  </a:lnTo>
                  <a:lnTo>
                    <a:pt x="480" y="642"/>
                  </a:lnTo>
                  <a:lnTo>
                    <a:pt x="474" y="642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74" y="630"/>
                  </a:lnTo>
                  <a:lnTo>
                    <a:pt x="432" y="630"/>
                  </a:lnTo>
                  <a:lnTo>
                    <a:pt x="414" y="630"/>
                  </a:lnTo>
                  <a:lnTo>
                    <a:pt x="414" y="624"/>
                  </a:lnTo>
                  <a:lnTo>
                    <a:pt x="414" y="618"/>
                  </a:lnTo>
                  <a:lnTo>
                    <a:pt x="414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360" y="618"/>
                  </a:lnTo>
                  <a:lnTo>
                    <a:pt x="366" y="618"/>
                  </a:lnTo>
                  <a:lnTo>
                    <a:pt x="360" y="618"/>
                  </a:lnTo>
                  <a:lnTo>
                    <a:pt x="360" y="624"/>
                  </a:lnTo>
                  <a:lnTo>
                    <a:pt x="360" y="630"/>
                  </a:lnTo>
                  <a:lnTo>
                    <a:pt x="360" y="636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54" y="654"/>
                  </a:lnTo>
                  <a:lnTo>
                    <a:pt x="354" y="660"/>
                  </a:lnTo>
                  <a:lnTo>
                    <a:pt x="354" y="666"/>
                  </a:lnTo>
                  <a:lnTo>
                    <a:pt x="324" y="666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12" y="666"/>
                  </a:lnTo>
                  <a:lnTo>
                    <a:pt x="306" y="666"/>
                  </a:lnTo>
                  <a:lnTo>
                    <a:pt x="300" y="666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82" y="672"/>
                  </a:lnTo>
                  <a:lnTo>
                    <a:pt x="282" y="666"/>
                  </a:lnTo>
                  <a:lnTo>
                    <a:pt x="276" y="672"/>
                  </a:lnTo>
                  <a:lnTo>
                    <a:pt x="270" y="672"/>
                  </a:lnTo>
                  <a:lnTo>
                    <a:pt x="264" y="672"/>
                  </a:lnTo>
                  <a:lnTo>
                    <a:pt x="264" y="666"/>
                  </a:lnTo>
                  <a:lnTo>
                    <a:pt x="258" y="666"/>
                  </a:lnTo>
                  <a:lnTo>
                    <a:pt x="258" y="660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52" y="648"/>
                  </a:lnTo>
                  <a:lnTo>
                    <a:pt x="246" y="648"/>
                  </a:lnTo>
                  <a:lnTo>
                    <a:pt x="246" y="642"/>
                  </a:lnTo>
                  <a:lnTo>
                    <a:pt x="246" y="636"/>
                  </a:lnTo>
                  <a:lnTo>
                    <a:pt x="240" y="636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8" y="600"/>
                  </a:lnTo>
                  <a:lnTo>
                    <a:pt x="228" y="594"/>
                  </a:lnTo>
                  <a:lnTo>
                    <a:pt x="222" y="594"/>
                  </a:lnTo>
                  <a:lnTo>
                    <a:pt x="222" y="588"/>
                  </a:lnTo>
                  <a:lnTo>
                    <a:pt x="222" y="582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80" y="558"/>
                  </a:lnTo>
                  <a:lnTo>
                    <a:pt x="168" y="558"/>
                  </a:lnTo>
                  <a:lnTo>
                    <a:pt x="162" y="558"/>
                  </a:lnTo>
                  <a:lnTo>
                    <a:pt x="144" y="558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2" y="558"/>
                  </a:lnTo>
                  <a:lnTo>
                    <a:pt x="96" y="558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78" y="558"/>
                  </a:lnTo>
                  <a:lnTo>
                    <a:pt x="66" y="558"/>
                  </a:lnTo>
                  <a:lnTo>
                    <a:pt x="60" y="558"/>
                  </a:lnTo>
                  <a:lnTo>
                    <a:pt x="54" y="558"/>
                  </a:lnTo>
                  <a:lnTo>
                    <a:pt x="48" y="558"/>
                  </a:lnTo>
                  <a:lnTo>
                    <a:pt x="42" y="558"/>
                  </a:lnTo>
                  <a:lnTo>
                    <a:pt x="36" y="558"/>
                  </a:lnTo>
                  <a:lnTo>
                    <a:pt x="30" y="558"/>
                  </a:lnTo>
                  <a:lnTo>
                    <a:pt x="30" y="564"/>
                  </a:lnTo>
                  <a:lnTo>
                    <a:pt x="24" y="564"/>
                  </a:lnTo>
                  <a:lnTo>
                    <a:pt x="18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6" y="564"/>
                  </a:lnTo>
                  <a:lnTo>
                    <a:pt x="0" y="558"/>
                  </a:lnTo>
                  <a:lnTo>
                    <a:pt x="0" y="552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10" name="Freeform 57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4695" y="2129"/>
              <a:ext cx="322" cy="532"/>
            </a:xfrm>
            <a:custGeom>
              <a:avLst/>
              <a:gdLst>
                <a:gd name="T0" fmla="*/ 5 w 884"/>
                <a:gd name="T1" fmla="*/ 7 h 1393"/>
                <a:gd name="T2" fmla="*/ 6 w 884"/>
                <a:gd name="T3" fmla="*/ 8 h 1393"/>
                <a:gd name="T4" fmla="*/ 6 w 884"/>
                <a:gd name="T5" fmla="*/ 9 h 1393"/>
                <a:gd name="T6" fmla="*/ 6 w 884"/>
                <a:gd name="T7" fmla="*/ 11 h 1393"/>
                <a:gd name="T8" fmla="*/ 7 w 884"/>
                <a:gd name="T9" fmla="*/ 12 h 1393"/>
                <a:gd name="T10" fmla="*/ 7 w 884"/>
                <a:gd name="T11" fmla="*/ 11 h 1393"/>
                <a:gd name="T12" fmla="*/ 8 w 884"/>
                <a:gd name="T13" fmla="*/ 10 h 1393"/>
                <a:gd name="T14" fmla="*/ 6 w 884"/>
                <a:gd name="T15" fmla="*/ 5 h 1393"/>
                <a:gd name="T16" fmla="*/ 8 w 884"/>
                <a:gd name="T17" fmla="*/ 2 h 1393"/>
                <a:gd name="T18" fmla="*/ 9 w 884"/>
                <a:gd name="T19" fmla="*/ 2 h 1393"/>
                <a:gd name="T20" fmla="*/ 10 w 884"/>
                <a:gd name="T21" fmla="*/ 2 h 1393"/>
                <a:gd name="T22" fmla="*/ 11 w 884"/>
                <a:gd name="T23" fmla="*/ 2 h 1393"/>
                <a:gd name="T24" fmla="*/ 12 w 884"/>
                <a:gd name="T25" fmla="*/ 2 h 1393"/>
                <a:gd name="T26" fmla="*/ 14 w 884"/>
                <a:gd name="T27" fmla="*/ 1 h 1393"/>
                <a:gd name="T28" fmla="*/ 15 w 884"/>
                <a:gd name="T29" fmla="*/ 0 h 1393"/>
                <a:gd name="T30" fmla="*/ 15 w 884"/>
                <a:gd name="T31" fmla="*/ 1 h 1393"/>
                <a:gd name="T32" fmla="*/ 15 w 884"/>
                <a:gd name="T33" fmla="*/ 2 h 1393"/>
                <a:gd name="T34" fmla="*/ 15 w 884"/>
                <a:gd name="T35" fmla="*/ 3 h 1393"/>
                <a:gd name="T36" fmla="*/ 15 w 884"/>
                <a:gd name="T37" fmla="*/ 4 h 1393"/>
                <a:gd name="T38" fmla="*/ 15 w 884"/>
                <a:gd name="T39" fmla="*/ 4 h 1393"/>
                <a:gd name="T40" fmla="*/ 15 w 884"/>
                <a:gd name="T41" fmla="*/ 5 h 1393"/>
                <a:gd name="T42" fmla="*/ 15 w 884"/>
                <a:gd name="T43" fmla="*/ 6 h 1393"/>
                <a:gd name="T44" fmla="*/ 15 w 884"/>
                <a:gd name="T45" fmla="*/ 7 h 1393"/>
                <a:gd name="T46" fmla="*/ 16 w 884"/>
                <a:gd name="T47" fmla="*/ 8 h 1393"/>
                <a:gd name="T48" fmla="*/ 15 w 884"/>
                <a:gd name="T49" fmla="*/ 8 h 1393"/>
                <a:gd name="T50" fmla="*/ 15 w 884"/>
                <a:gd name="T51" fmla="*/ 9 h 1393"/>
                <a:gd name="T52" fmla="*/ 15 w 884"/>
                <a:gd name="T53" fmla="*/ 10 h 1393"/>
                <a:gd name="T54" fmla="*/ 14 w 884"/>
                <a:gd name="T55" fmla="*/ 10 h 1393"/>
                <a:gd name="T56" fmla="*/ 14 w 884"/>
                <a:gd name="T57" fmla="*/ 11 h 1393"/>
                <a:gd name="T58" fmla="*/ 12 w 884"/>
                <a:gd name="T59" fmla="*/ 12 h 1393"/>
                <a:gd name="T60" fmla="*/ 12 w 884"/>
                <a:gd name="T61" fmla="*/ 12 h 1393"/>
                <a:gd name="T62" fmla="*/ 11 w 884"/>
                <a:gd name="T63" fmla="*/ 13 h 1393"/>
                <a:gd name="T64" fmla="*/ 10 w 884"/>
                <a:gd name="T65" fmla="*/ 14 h 1393"/>
                <a:gd name="T66" fmla="*/ 9 w 884"/>
                <a:gd name="T67" fmla="*/ 15 h 1393"/>
                <a:gd name="T68" fmla="*/ 9 w 884"/>
                <a:gd name="T69" fmla="*/ 15 h 1393"/>
                <a:gd name="T70" fmla="*/ 8 w 884"/>
                <a:gd name="T71" fmla="*/ 16 h 1393"/>
                <a:gd name="T72" fmla="*/ 8 w 884"/>
                <a:gd name="T73" fmla="*/ 16 h 1393"/>
                <a:gd name="T74" fmla="*/ 7 w 884"/>
                <a:gd name="T75" fmla="*/ 17 h 1393"/>
                <a:gd name="T76" fmla="*/ 7 w 884"/>
                <a:gd name="T77" fmla="*/ 18 h 1393"/>
                <a:gd name="T78" fmla="*/ 6 w 884"/>
                <a:gd name="T79" fmla="*/ 18 h 1393"/>
                <a:gd name="T80" fmla="*/ 7 w 884"/>
                <a:gd name="T81" fmla="*/ 18 h 1393"/>
                <a:gd name="T82" fmla="*/ 7 w 884"/>
                <a:gd name="T83" fmla="*/ 19 h 1393"/>
                <a:gd name="T84" fmla="*/ 7 w 884"/>
                <a:gd name="T85" fmla="*/ 19 h 1393"/>
                <a:gd name="T86" fmla="*/ 7 w 884"/>
                <a:gd name="T87" fmla="*/ 21 h 1393"/>
                <a:gd name="T88" fmla="*/ 8 w 884"/>
                <a:gd name="T89" fmla="*/ 21 h 1393"/>
                <a:gd name="T90" fmla="*/ 8 w 884"/>
                <a:gd name="T91" fmla="*/ 23 h 1393"/>
                <a:gd name="T92" fmla="*/ 8 w 884"/>
                <a:gd name="T93" fmla="*/ 24 h 1393"/>
                <a:gd name="T94" fmla="*/ 7 w 884"/>
                <a:gd name="T95" fmla="*/ 25 h 1393"/>
                <a:gd name="T96" fmla="*/ 5 w 884"/>
                <a:gd name="T97" fmla="*/ 27 h 1393"/>
                <a:gd name="T98" fmla="*/ 4 w 884"/>
                <a:gd name="T99" fmla="*/ 28 h 1393"/>
                <a:gd name="T100" fmla="*/ 4 w 884"/>
                <a:gd name="T101" fmla="*/ 28 h 1393"/>
                <a:gd name="T102" fmla="*/ 4 w 884"/>
                <a:gd name="T103" fmla="*/ 30 h 1393"/>
                <a:gd name="T104" fmla="*/ 3 w 884"/>
                <a:gd name="T105" fmla="*/ 27 h 1393"/>
                <a:gd name="T106" fmla="*/ 2 w 884"/>
                <a:gd name="T107" fmla="*/ 24 h 1393"/>
                <a:gd name="T108" fmla="*/ 3 w 884"/>
                <a:gd name="T109" fmla="*/ 19 h 1393"/>
                <a:gd name="T110" fmla="*/ 4 w 884"/>
                <a:gd name="T111" fmla="*/ 17 h 1393"/>
                <a:gd name="T112" fmla="*/ 4 w 884"/>
                <a:gd name="T113" fmla="*/ 15 h 1393"/>
                <a:gd name="T114" fmla="*/ 4 w 884"/>
                <a:gd name="T115" fmla="*/ 14 h 1393"/>
                <a:gd name="T116" fmla="*/ 4 w 884"/>
                <a:gd name="T117" fmla="*/ 13 h 1393"/>
                <a:gd name="T118" fmla="*/ 3 w 884"/>
                <a:gd name="T119" fmla="*/ 11 h 1393"/>
                <a:gd name="T120" fmla="*/ 1 w 884"/>
                <a:gd name="T121" fmla="*/ 10 h 1393"/>
                <a:gd name="T122" fmla="*/ 0 w 884"/>
                <a:gd name="T123" fmla="*/ 8 h 1393"/>
                <a:gd name="T124" fmla="*/ 3 w 884"/>
                <a:gd name="T125" fmla="*/ 7 h 13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884" h="1393">
                  <a:moveTo>
                    <a:pt x="252" y="300"/>
                  </a:moveTo>
                  <a:lnTo>
                    <a:pt x="257" y="300"/>
                  </a:lnTo>
                  <a:lnTo>
                    <a:pt x="257" y="305"/>
                  </a:lnTo>
                  <a:lnTo>
                    <a:pt x="257" y="311"/>
                  </a:lnTo>
                  <a:lnTo>
                    <a:pt x="257" y="316"/>
                  </a:lnTo>
                  <a:lnTo>
                    <a:pt x="262" y="316"/>
                  </a:lnTo>
                  <a:lnTo>
                    <a:pt x="262" y="321"/>
                  </a:lnTo>
                  <a:lnTo>
                    <a:pt x="268" y="327"/>
                  </a:lnTo>
                  <a:lnTo>
                    <a:pt x="268" y="332"/>
                  </a:lnTo>
                  <a:lnTo>
                    <a:pt x="273" y="332"/>
                  </a:lnTo>
                  <a:lnTo>
                    <a:pt x="278" y="337"/>
                  </a:lnTo>
                  <a:lnTo>
                    <a:pt x="278" y="343"/>
                  </a:lnTo>
                  <a:lnTo>
                    <a:pt x="284" y="343"/>
                  </a:lnTo>
                  <a:lnTo>
                    <a:pt x="284" y="348"/>
                  </a:lnTo>
                  <a:lnTo>
                    <a:pt x="289" y="353"/>
                  </a:lnTo>
                  <a:lnTo>
                    <a:pt x="289" y="348"/>
                  </a:lnTo>
                  <a:lnTo>
                    <a:pt x="289" y="343"/>
                  </a:lnTo>
                  <a:lnTo>
                    <a:pt x="295" y="343"/>
                  </a:lnTo>
                  <a:lnTo>
                    <a:pt x="300" y="343"/>
                  </a:lnTo>
                  <a:lnTo>
                    <a:pt x="300" y="348"/>
                  </a:lnTo>
                  <a:lnTo>
                    <a:pt x="305" y="343"/>
                  </a:lnTo>
                  <a:lnTo>
                    <a:pt x="311" y="337"/>
                  </a:lnTo>
                  <a:lnTo>
                    <a:pt x="321" y="343"/>
                  </a:lnTo>
                  <a:lnTo>
                    <a:pt x="321" y="337"/>
                  </a:lnTo>
                  <a:lnTo>
                    <a:pt x="327" y="337"/>
                  </a:lnTo>
                  <a:lnTo>
                    <a:pt x="332" y="337"/>
                  </a:lnTo>
                  <a:lnTo>
                    <a:pt x="337" y="337"/>
                  </a:lnTo>
                  <a:lnTo>
                    <a:pt x="337" y="332"/>
                  </a:lnTo>
                  <a:lnTo>
                    <a:pt x="343" y="332"/>
                  </a:lnTo>
                  <a:lnTo>
                    <a:pt x="348" y="332"/>
                  </a:lnTo>
                  <a:lnTo>
                    <a:pt x="348" y="337"/>
                  </a:lnTo>
                  <a:lnTo>
                    <a:pt x="354" y="337"/>
                  </a:lnTo>
                  <a:lnTo>
                    <a:pt x="354" y="343"/>
                  </a:lnTo>
                  <a:lnTo>
                    <a:pt x="354" y="348"/>
                  </a:lnTo>
                  <a:lnTo>
                    <a:pt x="359" y="348"/>
                  </a:lnTo>
                  <a:lnTo>
                    <a:pt x="359" y="353"/>
                  </a:lnTo>
                  <a:lnTo>
                    <a:pt x="359" y="359"/>
                  </a:lnTo>
                  <a:lnTo>
                    <a:pt x="359" y="364"/>
                  </a:lnTo>
                  <a:lnTo>
                    <a:pt x="364" y="370"/>
                  </a:lnTo>
                  <a:lnTo>
                    <a:pt x="364" y="375"/>
                  </a:lnTo>
                  <a:lnTo>
                    <a:pt x="359" y="375"/>
                  </a:lnTo>
                  <a:lnTo>
                    <a:pt x="364" y="375"/>
                  </a:lnTo>
                  <a:lnTo>
                    <a:pt x="364" y="380"/>
                  </a:lnTo>
                  <a:lnTo>
                    <a:pt x="364" y="386"/>
                  </a:lnTo>
                  <a:lnTo>
                    <a:pt x="364" y="391"/>
                  </a:lnTo>
                  <a:lnTo>
                    <a:pt x="364" y="396"/>
                  </a:lnTo>
                  <a:lnTo>
                    <a:pt x="364" y="402"/>
                  </a:lnTo>
                  <a:lnTo>
                    <a:pt x="364" y="407"/>
                  </a:lnTo>
                  <a:lnTo>
                    <a:pt x="364" y="412"/>
                  </a:lnTo>
                  <a:lnTo>
                    <a:pt x="359" y="412"/>
                  </a:lnTo>
                  <a:lnTo>
                    <a:pt x="359" y="418"/>
                  </a:lnTo>
                  <a:lnTo>
                    <a:pt x="354" y="418"/>
                  </a:lnTo>
                  <a:lnTo>
                    <a:pt x="354" y="423"/>
                  </a:lnTo>
                  <a:lnTo>
                    <a:pt x="348" y="423"/>
                  </a:lnTo>
                  <a:lnTo>
                    <a:pt x="348" y="428"/>
                  </a:lnTo>
                  <a:lnTo>
                    <a:pt x="354" y="428"/>
                  </a:lnTo>
                  <a:lnTo>
                    <a:pt x="354" y="434"/>
                  </a:lnTo>
                  <a:lnTo>
                    <a:pt x="348" y="439"/>
                  </a:lnTo>
                  <a:lnTo>
                    <a:pt x="348" y="445"/>
                  </a:lnTo>
                  <a:lnTo>
                    <a:pt x="343" y="445"/>
                  </a:lnTo>
                  <a:lnTo>
                    <a:pt x="337" y="450"/>
                  </a:lnTo>
                  <a:lnTo>
                    <a:pt x="337" y="455"/>
                  </a:lnTo>
                  <a:lnTo>
                    <a:pt x="337" y="461"/>
                  </a:lnTo>
                  <a:lnTo>
                    <a:pt x="337" y="466"/>
                  </a:lnTo>
                  <a:lnTo>
                    <a:pt x="337" y="461"/>
                  </a:lnTo>
                  <a:lnTo>
                    <a:pt x="343" y="466"/>
                  </a:lnTo>
                  <a:lnTo>
                    <a:pt x="348" y="471"/>
                  </a:lnTo>
                  <a:lnTo>
                    <a:pt x="354" y="477"/>
                  </a:lnTo>
                  <a:lnTo>
                    <a:pt x="348" y="477"/>
                  </a:lnTo>
                  <a:lnTo>
                    <a:pt x="348" y="482"/>
                  </a:lnTo>
                  <a:lnTo>
                    <a:pt x="348" y="487"/>
                  </a:lnTo>
                  <a:lnTo>
                    <a:pt x="348" y="493"/>
                  </a:lnTo>
                  <a:lnTo>
                    <a:pt x="354" y="493"/>
                  </a:lnTo>
                  <a:lnTo>
                    <a:pt x="359" y="493"/>
                  </a:lnTo>
                  <a:lnTo>
                    <a:pt x="364" y="498"/>
                  </a:lnTo>
                  <a:lnTo>
                    <a:pt x="364" y="504"/>
                  </a:lnTo>
                  <a:lnTo>
                    <a:pt x="370" y="509"/>
                  </a:lnTo>
                  <a:lnTo>
                    <a:pt x="370" y="514"/>
                  </a:lnTo>
                  <a:lnTo>
                    <a:pt x="375" y="514"/>
                  </a:lnTo>
                  <a:lnTo>
                    <a:pt x="380" y="514"/>
                  </a:lnTo>
                  <a:lnTo>
                    <a:pt x="380" y="520"/>
                  </a:lnTo>
                  <a:lnTo>
                    <a:pt x="386" y="520"/>
                  </a:lnTo>
                  <a:lnTo>
                    <a:pt x="386" y="525"/>
                  </a:lnTo>
                  <a:lnTo>
                    <a:pt x="386" y="530"/>
                  </a:lnTo>
                  <a:lnTo>
                    <a:pt x="391" y="530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402" y="536"/>
                  </a:lnTo>
                  <a:lnTo>
                    <a:pt x="402" y="541"/>
                  </a:lnTo>
                  <a:lnTo>
                    <a:pt x="407" y="541"/>
                  </a:lnTo>
                  <a:lnTo>
                    <a:pt x="413" y="541"/>
                  </a:lnTo>
                  <a:lnTo>
                    <a:pt x="413" y="546"/>
                  </a:lnTo>
                  <a:lnTo>
                    <a:pt x="413" y="552"/>
                  </a:lnTo>
                  <a:lnTo>
                    <a:pt x="407" y="552"/>
                  </a:lnTo>
                  <a:lnTo>
                    <a:pt x="402" y="552"/>
                  </a:lnTo>
                  <a:lnTo>
                    <a:pt x="402" y="557"/>
                  </a:lnTo>
                  <a:lnTo>
                    <a:pt x="407" y="562"/>
                  </a:lnTo>
                  <a:lnTo>
                    <a:pt x="423" y="562"/>
                  </a:lnTo>
                  <a:lnTo>
                    <a:pt x="423" y="557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46"/>
                  </a:lnTo>
                  <a:lnTo>
                    <a:pt x="423" y="541"/>
                  </a:lnTo>
                  <a:lnTo>
                    <a:pt x="423" y="536"/>
                  </a:lnTo>
                  <a:lnTo>
                    <a:pt x="423" y="530"/>
                  </a:lnTo>
                  <a:lnTo>
                    <a:pt x="418" y="530"/>
                  </a:lnTo>
                  <a:lnTo>
                    <a:pt x="418" y="525"/>
                  </a:lnTo>
                  <a:lnTo>
                    <a:pt x="413" y="525"/>
                  </a:lnTo>
                  <a:lnTo>
                    <a:pt x="413" y="520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8" y="509"/>
                  </a:lnTo>
                  <a:lnTo>
                    <a:pt x="418" y="504"/>
                  </a:lnTo>
                  <a:lnTo>
                    <a:pt x="423" y="504"/>
                  </a:lnTo>
                  <a:lnTo>
                    <a:pt x="423" y="498"/>
                  </a:lnTo>
                  <a:lnTo>
                    <a:pt x="423" y="493"/>
                  </a:lnTo>
                  <a:lnTo>
                    <a:pt x="423" y="487"/>
                  </a:lnTo>
                  <a:lnTo>
                    <a:pt x="429" y="487"/>
                  </a:lnTo>
                  <a:lnTo>
                    <a:pt x="429" y="482"/>
                  </a:lnTo>
                  <a:lnTo>
                    <a:pt x="434" y="482"/>
                  </a:lnTo>
                  <a:lnTo>
                    <a:pt x="434" y="477"/>
                  </a:lnTo>
                  <a:lnTo>
                    <a:pt x="439" y="482"/>
                  </a:lnTo>
                  <a:lnTo>
                    <a:pt x="445" y="482"/>
                  </a:lnTo>
                  <a:lnTo>
                    <a:pt x="450" y="482"/>
                  </a:lnTo>
                  <a:lnTo>
                    <a:pt x="450" y="477"/>
                  </a:lnTo>
                  <a:lnTo>
                    <a:pt x="455" y="477"/>
                  </a:lnTo>
                  <a:lnTo>
                    <a:pt x="461" y="477"/>
                  </a:lnTo>
                  <a:lnTo>
                    <a:pt x="461" y="471"/>
                  </a:lnTo>
                  <a:lnTo>
                    <a:pt x="466" y="471"/>
                  </a:lnTo>
                  <a:lnTo>
                    <a:pt x="466" y="466"/>
                  </a:lnTo>
                  <a:lnTo>
                    <a:pt x="466" y="461"/>
                  </a:lnTo>
                  <a:lnTo>
                    <a:pt x="471" y="418"/>
                  </a:lnTo>
                  <a:lnTo>
                    <a:pt x="466" y="396"/>
                  </a:lnTo>
                  <a:lnTo>
                    <a:pt x="471" y="375"/>
                  </a:lnTo>
                  <a:lnTo>
                    <a:pt x="471" y="359"/>
                  </a:lnTo>
                  <a:lnTo>
                    <a:pt x="439" y="321"/>
                  </a:lnTo>
                  <a:lnTo>
                    <a:pt x="439" y="316"/>
                  </a:lnTo>
                  <a:lnTo>
                    <a:pt x="418" y="289"/>
                  </a:lnTo>
                  <a:lnTo>
                    <a:pt x="407" y="273"/>
                  </a:lnTo>
                  <a:lnTo>
                    <a:pt x="391" y="262"/>
                  </a:lnTo>
                  <a:lnTo>
                    <a:pt x="386" y="257"/>
                  </a:lnTo>
                  <a:lnTo>
                    <a:pt x="364" y="257"/>
                  </a:lnTo>
                  <a:lnTo>
                    <a:pt x="364" y="252"/>
                  </a:lnTo>
                  <a:lnTo>
                    <a:pt x="359" y="246"/>
                  </a:lnTo>
                  <a:lnTo>
                    <a:pt x="359" y="241"/>
                  </a:lnTo>
                  <a:lnTo>
                    <a:pt x="359" y="235"/>
                  </a:lnTo>
                  <a:lnTo>
                    <a:pt x="359" y="225"/>
                  </a:lnTo>
                  <a:lnTo>
                    <a:pt x="359" y="219"/>
                  </a:lnTo>
                  <a:lnTo>
                    <a:pt x="359" y="209"/>
                  </a:lnTo>
                  <a:lnTo>
                    <a:pt x="359" y="203"/>
                  </a:lnTo>
                  <a:lnTo>
                    <a:pt x="359" y="198"/>
                  </a:lnTo>
                  <a:lnTo>
                    <a:pt x="359" y="193"/>
                  </a:lnTo>
                  <a:lnTo>
                    <a:pt x="354" y="187"/>
                  </a:lnTo>
                  <a:lnTo>
                    <a:pt x="348" y="160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4" y="134"/>
                  </a:lnTo>
                  <a:lnTo>
                    <a:pt x="359" y="128"/>
                  </a:lnTo>
                  <a:lnTo>
                    <a:pt x="364" y="112"/>
                  </a:lnTo>
                  <a:lnTo>
                    <a:pt x="370" y="101"/>
                  </a:lnTo>
                  <a:lnTo>
                    <a:pt x="370" y="96"/>
                  </a:lnTo>
                  <a:lnTo>
                    <a:pt x="396" y="91"/>
                  </a:lnTo>
                  <a:lnTo>
                    <a:pt x="429" y="91"/>
                  </a:lnTo>
                  <a:lnTo>
                    <a:pt x="429" y="96"/>
                  </a:lnTo>
                  <a:lnTo>
                    <a:pt x="434" y="91"/>
                  </a:lnTo>
                  <a:lnTo>
                    <a:pt x="434" y="96"/>
                  </a:lnTo>
                  <a:lnTo>
                    <a:pt x="439" y="96"/>
                  </a:lnTo>
                  <a:lnTo>
                    <a:pt x="439" y="91"/>
                  </a:lnTo>
                  <a:lnTo>
                    <a:pt x="439" y="96"/>
                  </a:lnTo>
                  <a:lnTo>
                    <a:pt x="445" y="96"/>
                  </a:lnTo>
                  <a:lnTo>
                    <a:pt x="450" y="96"/>
                  </a:lnTo>
                  <a:lnTo>
                    <a:pt x="455" y="91"/>
                  </a:lnTo>
                  <a:lnTo>
                    <a:pt x="455" y="85"/>
                  </a:lnTo>
                  <a:lnTo>
                    <a:pt x="461" y="85"/>
                  </a:lnTo>
                  <a:lnTo>
                    <a:pt x="466" y="80"/>
                  </a:lnTo>
                  <a:lnTo>
                    <a:pt x="471" y="80"/>
                  </a:lnTo>
                  <a:lnTo>
                    <a:pt x="477" y="80"/>
                  </a:lnTo>
                  <a:lnTo>
                    <a:pt x="477" y="85"/>
                  </a:lnTo>
                  <a:lnTo>
                    <a:pt x="482" y="85"/>
                  </a:lnTo>
                  <a:lnTo>
                    <a:pt x="488" y="91"/>
                  </a:lnTo>
                  <a:lnTo>
                    <a:pt x="493" y="91"/>
                  </a:lnTo>
                  <a:lnTo>
                    <a:pt x="493" y="96"/>
                  </a:lnTo>
                  <a:lnTo>
                    <a:pt x="498" y="96"/>
                  </a:lnTo>
                  <a:lnTo>
                    <a:pt x="493" y="96"/>
                  </a:lnTo>
                  <a:lnTo>
                    <a:pt x="498" y="101"/>
                  </a:lnTo>
                  <a:lnTo>
                    <a:pt x="493" y="101"/>
                  </a:lnTo>
                  <a:lnTo>
                    <a:pt x="498" y="101"/>
                  </a:lnTo>
                  <a:lnTo>
                    <a:pt x="498" y="107"/>
                  </a:lnTo>
                  <a:lnTo>
                    <a:pt x="504" y="107"/>
                  </a:lnTo>
                  <a:lnTo>
                    <a:pt x="509" y="101"/>
                  </a:lnTo>
                  <a:lnTo>
                    <a:pt x="509" y="107"/>
                  </a:lnTo>
                  <a:lnTo>
                    <a:pt x="514" y="101"/>
                  </a:lnTo>
                  <a:lnTo>
                    <a:pt x="520" y="101"/>
                  </a:lnTo>
                  <a:lnTo>
                    <a:pt x="525" y="107"/>
                  </a:lnTo>
                  <a:lnTo>
                    <a:pt x="530" y="107"/>
                  </a:lnTo>
                  <a:lnTo>
                    <a:pt x="536" y="107"/>
                  </a:lnTo>
                  <a:lnTo>
                    <a:pt x="541" y="101"/>
                  </a:lnTo>
                  <a:lnTo>
                    <a:pt x="547" y="101"/>
                  </a:lnTo>
                  <a:lnTo>
                    <a:pt x="547" y="96"/>
                  </a:lnTo>
                  <a:lnTo>
                    <a:pt x="552" y="96"/>
                  </a:lnTo>
                  <a:lnTo>
                    <a:pt x="557" y="96"/>
                  </a:lnTo>
                  <a:lnTo>
                    <a:pt x="563" y="96"/>
                  </a:lnTo>
                  <a:lnTo>
                    <a:pt x="568" y="91"/>
                  </a:lnTo>
                  <a:lnTo>
                    <a:pt x="568" y="96"/>
                  </a:lnTo>
                  <a:lnTo>
                    <a:pt x="573" y="96"/>
                  </a:lnTo>
                  <a:lnTo>
                    <a:pt x="573" y="101"/>
                  </a:lnTo>
                  <a:lnTo>
                    <a:pt x="584" y="101"/>
                  </a:lnTo>
                  <a:lnTo>
                    <a:pt x="584" y="107"/>
                  </a:lnTo>
                  <a:lnTo>
                    <a:pt x="589" y="107"/>
                  </a:lnTo>
                  <a:lnTo>
                    <a:pt x="589" y="101"/>
                  </a:lnTo>
                  <a:lnTo>
                    <a:pt x="595" y="101"/>
                  </a:lnTo>
                  <a:lnTo>
                    <a:pt x="595" y="107"/>
                  </a:lnTo>
                  <a:lnTo>
                    <a:pt x="600" y="107"/>
                  </a:lnTo>
                  <a:lnTo>
                    <a:pt x="606" y="107"/>
                  </a:lnTo>
                  <a:lnTo>
                    <a:pt x="606" y="101"/>
                  </a:lnTo>
                  <a:lnTo>
                    <a:pt x="611" y="101"/>
                  </a:lnTo>
                  <a:lnTo>
                    <a:pt x="616" y="101"/>
                  </a:lnTo>
                  <a:lnTo>
                    <a:pt x="622" y="96"/>
                  </a:lnTo>
                  <a:lnTo>
                    <a:pt x="632" y="91"/>
                  </a:lnTo>
                  <a:lnTo>
                    <a:pt x="632" y="85"/>
                  </a:lnTo>
                  <a:lnTo>
                    <a:pt x="632" y="80"/>
                  </a:lnTo>
                  <a:lnTo>
                    <a:pt x="638" y="80"/>
                  </a:lnTo>
                  <a:lnTo>
                    <a:pt x="638" y="75"/>
                  </a:lnTo>
                  <a:lnTo>
                    <a:pt x="638" y="69"/>
                  </a:lnTo>
                  <a:lnTo>
                    <a:pt x="643" y="69"/>
                  </a:lnTo>
                  <a:lnTo>
                    <a:pt x="648" y="69"/>
                  </a:lnTo>
                  <a:lnTo>
                    <a:pt x="654" y="69"/>
                  </a:lnTo>
                  <a:lnTo>
                    <a:pt x="659" y="64"/>
                  </a:lnTo>
                  <a:lnTo>
                    <a:pt x="659" y="69"/>
                  </a:lnTo>
                  <a:lnTo>
                    <a:pt x="664" y="69"/>
                  </a:lnTo>
                  <a:lnTo>
                    <a:pt x="670" y="69"/>
                  </a:lnTo>
                  <a:lnTo>
                    <a:pt x="670" y="75"/>
                  </a:lnTo>
                  <a:lnTo>
                    <a:pt x="675" y="75"/>
                  </a:lnTo>
                  <a:lnTo>
                    <a:pt x="681" y="75"/>
                  </a:lnTo>
                  <a:lnTo>
                    <a:pt x="681" y="80"/>
                  </a:lnTo>
                  <a:lnTo>
                    <a:pt x="686" y="80"/>
                  </a:lnTo>
                  <a:lnTo>
                    <a:pt x="691" y="80"/>
                  </a:lnTo>
                  <a:lnTo>
                    <a:pt x="691" y="75"/>
                  </a:lnTo>
                  <a:lnTo>
                    <a:pt x="697" y="75"/>
                  </a:lnTo>
                  <a:lnTo>
                    <a:pt x="697" y="69"/>
                  </a:lnTo>
                  <a:lnTo>
                    <a:pt x="702" y="69"/>
                  </a:lnTo>
                  <a:lnTo>
                    <a:pt x="707" y="69"/>
                  </a:lnTo>
                  <a:lnTo>
                    <a:pt x="713" y="64"/>
                  </a:lnTo>
                  <a:lnTo>
                    <a:pt x="718" y="64"/>
                  </a:lnTo>
                  <a:lnTo>
                    <a:pt x="718" y="59"/>
                  </a:lnTo>
                  <a:lnTo>
                    <a:pt x="723" y="59"/>
                  </a:lnTo>
                  <a:lnTo>
                    <a:pt x="729" y="59"/>
                  </a:lnTo>
                  <a:lnTo>
                    <a:pt x="734" y="59"/>
                  </a:lnTo>
                  <a:lnTo>
                    <a:pt x="740" y="59"/>
                  </a:lnTo>
                  <a:lnTo>
                    <a:pt x="745" y="59"/>
                  </a:lnTo>
                  <a:lnTo>
                    <a:pt x="750" y="59"/>
                  </a:lnTo>
                  <a:lnTo>
                    <a:pt x="756" y="59"/>
                  </a:lnTo>
                  <a:lnTo>
                    <a:pt x="761" y="53"/>
                  </a:lnTo>
                  <a:lnTo>
                    <a:pt x="766" y="48"/>
                  </a:lnTo>
                  <a:lnTo>
                    <a:pt x="772" y="48"/>
                  </a:lnTo>
                  <a:lnTo>
                    <a:pt x="772" y="43"/>
                  </a:lnTo>
                  <a:lnTo>
                    <a:pt x="777" y="43"/>
                  </a:lnTo>
                  <a:lnTo>
                    <a:pt x="782" y="43"/>
                  </a:lnTo>
                  <a:lnTo>
                    <a:pt x="788" y="43"/>
                  </a:lnTo>
                  <a:lnTo>
                    <a:pt x="788" y="37"/>
                  </a:lnTo>
                  <a:lnTo>
                    <a:pt x="793" y="37"/>
                  </a:lnTo>
                  <a:lnTo>
                    <a:pt x="799" y="37"/>
                  </a:lnTo>
                  <a:lnTo>
                    <a:pt x="799" y="32"/>
                  </a:lnTo>
                  <a:lnTo>
                    <a:pt x="804" y="32"/>
                  </a:lnTo>
                  <a:lnTo>
                    <a:pt x="809" y="32"/>
                  </a:lnTo>
                  <a:lnTo>
                    <a:pt x="815" y="26"/>
                  </a:lnTo>
                  <a:lnTo>
                    <a:pt x="820" y="21"/>
                  </a:lnTo>
                  <a:lnTo>
                    <a:pt x="825" y="16"/>
                  </a:lnTo>
                  <a:lnTo>
                    <a:pt x="831" y="16"/>
                  </a:lnTo>
                  <a:lnTo>
                    <a:pt x="831" y="10"/>
                  </a:lnTo>
                  <a:lnTo>
                    <a:pt x="836" y="10"/>
                  </a:lnTo>
                  <a:lnTo>
                    <a:pt x="841" y="10"/>
                  </a:lnTo>
                  <a:lnTo>
                    <a:pt x="841" y="5"/>
                  </a:lnTo>
                  <a:lnTo>
                    <a:pt x="847" y="5"/>
                  </a:lnTo>
                  <a:lnTo>
                    <a:pt x="847" y="0"/>
                  </a:lnTo>
                  <a:lnTo>
                    <a:pt x="852" y="0"/>
                  </a:lnTo>
                  <a:lnTo>
                    <a:pt x="857" y="0"/>
                  </a:lnTo>
                  <a:lnTo>
                    <a:pt x="857" y="5"/>
                  </a:lnTo>
                  <a:lnTo>
                    <a:pt x="857" y="10"/>
                  </a:lnTo>
                  <a:lnTo>
                    <a:pt x="863" y="10"/>
                  </a:lnTo>
                  <a:lnTo>
                    <a:pt x="857" y="10"/>
                  </a:lnTo>
                  <a:lnTo>
                    <a:pt x="863" y="16"/>
                  </a:lnTo>
                  <a:lnTo>
                    <a:pt x="868" y="16"/>
                  </a:lnTo>
                  <a:lnTo>
                    <a:pt x="868" y="21"/>
                  </a:lnTo>
                  <a:lnTo>
                    <a:pt x="863" y="21"/>
                  </a:lnTo>
                  <a:lnTo>
                    <a:pt x="863" y="16"/>
                  </a:lnTo>
                  <a:lnTo>
                    <a:pt x="857" y="21"/>
                  </a:lnTo>
                  <a:lnTo>
                    <a:pt x="852" y="21"/>
                  </a:lnTo>
                  <a:lnTo>
                    <a:pt x="852" y="26"/>
                  </a:lnTo>
                  <a:lnTo>
                    <a:pt x="857" y="26"/>
                  </a:lnTo>
                  <a:lnTo>
                    <a:pt x="863" y="32"/>
                  </a:lnTo>
                  <a:lnTo>
                    <a:pt x="857" y="37"/>
                  </a:lnTo>
                  <a:lnTo>
                    <a:pt x="852" y="37"/>
                  </a:lnTo>
                  <a:lnTo>
                    <a:pt x="852" y="43"/>
                  </a:lnTo>
                  <a:lnTo>
                    <a:pt x="857" y="43"/>
                  </a:lnTo>
                  <a:lnTo>
                    <a:pt x="863" y="48"/>
                  </a:lnTo>
                  <a:lnTo>
                    <a:pt x="857" y="48"/>
                  </a:lnTo>
                  <a:lnTo>
                    <a:pt x="857" y="53"/>
                  </a:lnTo>
                  <a:lnTo>
                    <a:pt x="852" y="59"/>
                  </a:lnTo>
                  <a:lnTo>
                    <a:pt x="857" y="64"/>
                  </a:lnTo>
                  <a:lnTo>
                    <a:pt x="847" y="64"/>
                  </a:lnTo>
                  <a:lnTo>
                    <a:pt x="847" y="69"/>
                  </a:lnTo>
                  <a:lnTo>
                    <a:pt x="847" y="75"/>
                  </a:lnTo>
                  <a:lnTo>
                    <a:pt x="841" y="69"/>
                  </a:lnTo>
                  <a:lnTo>
                    <a:pt x="841" y="75"/>
                  </a:lnTo>
                  <a:lnTo>
                    <a:pt x="847" y="75"/>
                  </a:lnTo>
                  <a:lnTo>
                    <a:pt x="847" y="80"/>
                  </a:lnTo>
                  <a:lnTo>
                    <a:pt x="852" y="80"/>
                  </a:lnTo>
                  <a:lnTo>
                    <a:pt x="852" y="85"/>
                  </a:lnTo>
                  <a:lnTo>
                    <a:pt x="852" y="91"/>
                  </a:lnTo>
                  <a:lnTo>
                    <a:pt x="847" y="91"/>
                  </a:lnTo>
                  <a:lnTo>
                    <a:pt x="847" y="96"/>
                  </a:lnTo>
                  <a:lnTo>
                    <a:pt x="852" y="96"/>
                  </a:lnTo>
                  <a:lnTo>
                    <a:pt x="847" y="96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52" y="107"/>
                  </a:lnTo>
                  <a:lnTo>
                    <a:pt x="852" y="112"/>
                  </a:lnTo>
                  <a:lnTo>
                    <a:pt x="852" y="118"/>
                  </a:lnTo>
                  <a:lnTo>
                    <a:pt x="857" y="118"/>
                  </a:lnTo>
                  <a:lnTo>
                    <a:pt x="852" y="118"/>
                  </a:lnTo>
                  <a:lnTo>
                    <a:pt x="852" y="123"/>
                  </a:lnTo>
                  <a:lnTo>
                    <a:pt x="852" y="128"/>
                  </a:lnTo>
                  <a:lnTo>
                    <a:pt x="857" y="128"/>
                  </a:lnTo>
                  <a:lnTo>
                    <a:pt x="857" y="134"/>
                  </a:lnTo>
                  <a:lnTo>
                    <a:pt x="852" y="134"/>
                  </a:lnTo>
                  <a:lnTo>
                    <a:pt x="857" y="134"/>
                  </a:lnTo>
                  <a:lnTo>
                    <a:pt x="857" y="139"/>
                  </a:lnTo>
                  <a:lnTo>
                    <a:pt x="852" y="139"/>
                  </a:lnTo>
                  <a:lnTo>
                    <a:pt x="852" y="144"/>
                  </a:lnTo>
                  <a:lnTo>
                    <a:pt x="857" y="144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47" y="155"/>
                  </a:lnTo>
                  <a:lnTo>
                    <a:pt x="852" y="155"/>
                  </a:lnTo>
                  <a:lnTo>
                    <a:pt x="852" y="150"/>
                  </a:lnTo>
                  <a:lnTo>
                    <a:pt x="852" y="155"/>
                  </a:lnTo>
                  <a:lnTo>
                    <a:pt x="852" y="160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2" y="171"/>
                  </a:lnTo>
                  <a:lnTo>
                    <a:pt x="852" y="166"/>
                  </a:lnTo>
                  <a:lnTo>
                    <a:pt x="852" y="171"/>
                  </a:lnTo>
                  <a:lnTo>
                    <a:pt x="847" y="171"/>
                  </a:lnTo>
                  <a:lnTo>
                    <a:pt x="852" y="177"/>
                  </a:lnTo>
                  <a:lnTo>
                    <a:pt x="847" y="177"/>
                  </a:lnTo>
                  <a:lnTo>
                    <a:pt x="852" y="177"/>
                  </a:lnTo>
                  <a:lnTo>
                    <a:pt x="852" y="171"/>
                  </a:lnTo>
                  <a:lnTo>
                    <a:pt x="852" y="177"/>
                  </a:lnTo>
                  <a:lnTo>
                    <a:pt x="857" y="177"/>
                  </a:lnTo>
                  <a:lnTo>
                    <a:pt x="863" y="177"/>
                  </a:lnTo>
                  <a:lnTo>
                    <a:pt x="857" y="177"/>
                  </a:lnTo>
                  <a:lnTo>
                    <a:pt x="857" y="182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57" y="187"/>
                  </a:lnTo>
                  <a:lnTo>
                    <a:pt x="863" y="193"/>
                  </a:lnTo>
                  <a:lnTo>
                    <a:pt x="863" y="187"/>
                  </a:lnTo>
                  <a:lnTo>
                    <a:pt x="863" y="193"/>
                  </a:lnTo>
                  <a:lnTo>
                    <a:pt x="868" y="193"/>
                  </a:lnTo>
                  <a:lnTo>
                    <a:pt x="863" y="198"/>
                  </a:lnTo>
                  <a:lnTo>
                    <a:pt x="857" y="198"/>
                  </a:lnTo>
                  <a:lnTo>
                    <a:pt x="857" y="203"/>
                  </a:lnTo>
                  <a:lnTo>
                    <a:pt x="857" y="209"/>
                  </a:lnTo>
                  <a:lnTo>
                    <a:pt x="857" y="203"/>
                  </a:lnTo>
                  <a:lnTo>
                    <a:pt x="852" y="203"/>
                  </a:lnTo>
                  <a:lnTo>
                    <a:pt x="847" y="209"/>
                  </a:lnTo>
                  <a:lnTo>
                    <a:pt x="847" y="214"/>
                  </a:lnTo>
                  <a:lnTo>
                    <a:pt x="852" y="214"/>
                  </a:lnTo>
                  <a:lnTo>
                    <a:pt x="847" y="219"/>
                  </a:lnTo>
                  <a:lnTo>
                    <a:pt x="852" y="214"/>
                  </a:lnTo>
                  <a:lnTo>
                    <a:pt x="852" y="219"/>
                  </a:lnTo>
                  <a:lnTo>
                    <a:pt x="857" y="219"/>
                  </a:lnTo>
                  <a:lnTo>
                    <a:pt x="857" y="214"/>
                  </a:lnTo>
                  <a:lnTo>
                    <a:pt x="852" y="214"/>
                  </a:lnTo>
                  <a:lnTo>
                    <a:pt x="852" y="209"/>
                  </a:lnTo>
                  <a:lnTo>
                    <a:pt x="857" y="214"/>
                  </a:lnTo>
                  <a:lnTo>
                    <a:pt x="863" y="209"/>
                  </a:lnTo>
                  <a:lnTo>
                    <a:pt x="863" y="214"/>
                  </a:lnTo>
                  <a:lnTo>
                    <a:pt x="857" y="219"/>
                  </a:lnTo>
                  <a:lnTo>
                    <a:pt x="857" y="225"/>
                  </a:lnTo>
                  <a:lnTo>
                    <a:pt x="857" y="230"/>
                  </a:lnTo>
                  <a:lnTo>
                    <a:pt x="857" y="235"/>
                  </a:lnTo>
                  <a:lnTo>
                    <a:pt x="857" y="241"/>
                  </a:lnTo>
                  <a:lnTo>
                    <a:pt x="863" y="241"/>
                  </a:lnTo>
                  <a:lnTo>
                    <a:pt x="863" y="246"/>
                  </a:lnTo>
                  <a:lnTo>
                    <a:pt x="857" y="252"/>
                  </a:lnTo>
                  <a:lnTo>
                    <a:pt x="857" y="257"/>
                  </a:lnTo>
                  <a:lnTo>
                    <a:pt x="852" y="257"/>
                  </a:lnTo>
                  <a:lnTo>
                    <a:pt x="857" y="257"/>
                  </a:lnTo>
                  <a:lnTo>
                    <a:pt x="857" y="262"/>
                  </a:lnTo>
                  <a:lnTo>
                    <a:pt x="863" y="262"/>
                  </a:lnTo>
                  <a:lnTo>
                    <a:pt x="857" y="268"/>
                  </a:lnTo>
                  <a:lnTo>
                    <a:pt x="857" y="273"/>
                  </a:lnTo>
                  <a:lnTo>
                    <a:pt x="863" y="273"/>
                  </a:lnTo>
                  <a:lnTo>
                    <a:pt x="863" y="278"/>
                  </a:lnTo>
                  <a:lnTo>
                    <a:pt x="863" y="284"/>
                  </a:lnTo>
                  <a:lnTo>
                    <a:pt x="863" y="289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8" y="300"/>
                  </a:lnTo>
                  <a:lnTo>
                    <a:pt x="868" y="305"/>
                  </a:lnTo>
                  <a:lnTo>
                    <a:pt x="863" y="305"/>
                  </a:lnTo>
                  <a:lnTo>
                    <a:pt x="863" y="311"/>
                  </a:lnTo>
                  <a:lnTo>
                    <a:pt x="857" y="311"/>
                  </a:lnTo>
                  <a:lnTo>
                    <a:pt x="857" y="316"/>
                  </a:lnTo>
                  <a:lnTo>
                    <a:pt x="857" y="321"/>
                  </a:lnTo>
                  <a:lnTo>
                    <a:pt x="863" y="316"/>
                  </a:lnTo>
                  <a:lnTo>
                    <a:pt x="863" y="321"/>
                  </a:lnTo>
                  <a:lnTo>
                    <a:pt x="863" y="316"/>
                  </a:lnTo>
                  <a:lnTo>
                    <a:pt x="868" y="316"/>
                  </a:lnTo>
                  <a:lnTo>
                    <a:pt x="874" y="316"/>
                  </a:lnTo>
                  <a:lnTo>
                    <a:pt x="874" y="321"/>
                  </a:lnTo>
                  <a:lnTo>
                    <a:pt x="874" y="327"/>
                  </a:lnTo>
                  <a:lnTo>
                    <a:pt x="874" y="332"/>
                  </a:lnTo>
                  <a:lnTo>
                    <a:pt x="868" y="332"/>
                  </a:lnTo>
                  <a:lnTo>
                    <a:pt x="868" y="327"/>
                  </a:lnTo>
                  <a:lnTo>
                    <a:pt x="868" y="332"/>
                  </a:lnTo>
                  <a:lnTo>
                    <a:pt x="868" y="337"/>
                  </a:lnTo>
                  <a:lnTo>
                    <a:pt x="868" y="343"/>
                  </a:lnTo>
                  <a:lnTo>
                    <a:pt x="863" y="343"/>
                  </a:lnTo>
                  <a:lnTo>
                    <a:pt x="868" y="343"/>
                  </a:lnTo>
                  <a:lnTo>
                    <a:pt x="868" y="348"/>
                  </a:lnTo>
                  <a:lnTo>
                    <a:pt x="863" y="348"/>
                  </a:lnTo>
                  <a:lnTo>
                    <a:pt x="868" y="348"/>
                  </a:lnTo>
                  <a:lnTo>
                    <a:pt x="868" y="343"/>
                  </a:lnTo>
                  <a:lnTo>
                    <a:pt x="868" y="337"/>
                  </a:lnTo>
                  <a:lnTo>
                    <a:pt x="874" y="337"/>
                  </a:lnTo>
                  <a:lnTo>
                    <a:pt x="879" y="332"/>
                  </a:lnTo>
                  <a:lnTo>
                    <a:pt x="884" y="337"/>
                  </a:lnTo>
                  <a:lnTo>
                    <a:pt x="884" y="343"/>
                  </a:lnTo>
                  <a:lnTo>
                    <a:pt x="884" y="348"/>
                  </a:lnTo>
                  <a:lnTo>
                    <a:pt x="879" y="348"/>
                  </a:lnTo>
                  <a:lnTo>
                    <a:pt x="879" y="353"/>
                  </a:lnTo>
                  <a:lnTo>
                    <a:pt x="884" y="353"/>
                  </a:lnTo>
                  <a:lnTo>
                    <a:pt x="884" y="359"/>
                  </a:lnTo>
                  <a:lnTo>
                    <a:pt x="884" y="364"/>
                  </a:lnTo>
                  <a:lnTo>
                    <a:pt x="879" y="370"/>
                  </a:lnTo>
                  <a:lnTo>
                    <a:pt x="884" y="370"/>
                  </a:lnTo>
                  <a:lnTo>
                    <a:pt x="879" y="370"/>
                  </a:lnTo>
                  <a:lnTo>
                    <a:pt x="879" y="375"/>
                  </a:lnTo>
                  <a:lnTo>
                    <a:pt x="874" y="375"/>
                  </a:lnTo>
                  <a:lnTo>
                    <a:pt x="868" y="375"/>
                  </a:lnTo>
                  <a:lnTo>
                    <a:pt x="868" y="370"/>
                  </a:lnTo>
                  <a:lnTo>
                    <a:pt x="863" y="370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8" y="380"/>
                  </a:lnTo>
                  <a:lnTo>
                    <a:pt x="874" y="380"/>
                  </a:lnTo>
                  <a:lnTo>
                    <a:pt x="879" y="386"/>
                  </a:lnTo>
                  <a:lnTo>
                    <a:pt x="874" y="386"/>
                  </a:lnTo>
                  <a:lnTo>
                    <a:pt x="874" y="380"/>
                  </a:lnTo>
                  <a:lnTo>
                    <a:pt x="874" y="386"/>
                  </a:lnTo>
                  <a:lnTo>
                    <a:pt x="868" y="386"/>
                  </a:lnTo>
                  <a:lnTo>
                    <a:pt x="868" y="391"/>
                  </a:lnTo>
                  <a:lnTo>
                    <a:pt x="874" y="391"/>
                  </a:lnTo>
                  <a:lnTo>
                    <a:pt x="868" y="391"/>
                  </a:lnTo>
                  <a:lnTo>
                    <a:pt x="863" y="391"/>
                  </a:lnTo>
                  <a:lnTo>
                    <a:pt x="863" y="396"/>
                  </a:lnTo>
                  <a:lnTo>
                    <a:pt x="857" y="396"/>
                  </a:lnTo>
                  <a:lnTo>
                    <a:pt x="857" y="402"/>
                  </a:lnTo>
                  <a:lnTo>
                    <a:pt x="852" y="402"/>
                  </a:lnTo>
                  <a:lnTo>
                    <a:pt x="857" y="402"/>
                  </a:lnTo>
                  <a:lnTo>
                    <a:pt x="863" y="402"/>
                  </a:lnTo>
                  <a:lnTo>
                    <a:pt x="863" y="396"/>
                  </a:lnTo>
                  <a:lnTo>
                    <a:pt x="868" y="396"/>
                  </a:lnTo>
                  <a:lnTo>
                    <a:pt x="868" y="402"/>
                  </a:lnTo>
                  <a:lnTo>
                    <a:pt x="868" y="407"/>
                  </a:lnTo>
                  <a:lnTo>
                    <a:pt x="868" y="412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57" y="418"/>
                  </a:lnTo>
                  <a:lnTo>
                    <a:pt x="863" y="418"/>
                  </a:lnTo>
                  <a:lnTo>
                    <a:pt x="857" y="423"/>
                  </a:lnTo>
                  <a:lnTo>
                    <a:pt x="857" y="428"/>
                  </a:lnTo>
                  <a:lnTo>
                    <a:pt x="852" y="428"/>
                  </a:lnTo>
                  <a:lnTo>
                    <a:pt x="852" y="434"/>
                  </a:lnTo>
                  <a:lnTo>
                    <a:pt x="847" y="434"/>
                  </a:lnTo>
                  <a:lnTo>
                    <a:pt x="841" y="445"/>
                  </a:lnTo>
                  <a:lnTo>
                    <a:pt x="831" y="455"/>
                  </a:lnTo>
                  <a:lnTo>
                    <a:pt x="831" y="461"/>
                  </a:lnTo>
                  <a:lnTo>
                    <a:pt x="825" y="466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7"/>
                  </a:lnTo>
                  <a:lnTo>
                    <a:pt x="820" y="477"/>
                  </a:lnTo>
                  <a:lnTo>
                    <a:pt x="820" y="471"/>
                  </a:lnTo>
                  <a:lnTo>
                    <a:pt x="825" y="466"/>
                  </a:lnTo>
                  <a:lnTo>
                    <a:pt x="825" y="471"/>
                  </a:lnTo>
                  <a:lnTo>
                    <a:pt x="820" y="471"/>
                  </a:lnTo>
                  <a:lnTo>
                    <a:pt x="820" y="477"/>
                  </a:lnTo>
                  <a:lnTo>
                    <a:pt x="815" y="482"/>
                  </a:lnTo>
                  <a:lnTo>
                    <a:pt x="809" y="487"/>
                  </a:lnTo>
                  <a:lnTo>
                    <a:pt x="809" y="493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804" y="487"/>
                  </a:lnTo>
                  <a:lnTo>
                    <a:pt x="804" y="482"/>
                  </a:lnTo>
                  <a:lnTo>
                    <a:pt x="804" y="487"/>
                  </a:lnTo>
                  <a:lnTo>
                    <a:pt x="799" y="487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804" y="493"/>
                  </a:lnTo>
                  <a:lnTo>
                    <a:pt x="799" y="493"/>
                  </a:lnTo>
                  <a:lnTo>
                    <a:pt x="793" y="493"/>
                  </a:lnTo>
                  <a:lnTo>
                    <a:pt x="799" y="493"/>
                  </a:lnTo>
                  <a:lnTo>
                    <a:pt x="793" y="498"/>
                  </a:lnTo>
                  <a:lnTo>
                    <a:pt x="799" y="504"/>
                  </a:lnTo>
                  <a:lnTo>
                    <a:pt x="793" y="504"/>
                  </a:lnTo>
                  <a:lnTo>
                    <a:pt x="793" y="509"/>
                  </a:lnTo>
                  <a:lnTo>
                    <a:pt x="793" y="504"/>
                  </a:lnTo>
                  <a:lnTo>
                    <a:pt x="799" y="504"/>
                  </a:lnTo>
                  <a:lnTo>
                    <a:pt x="799" y="509"/>
                  </a:lnTo>
                  <a:lnTo>
                    <a:pt x="804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3" y="514"/>
                  </a:lnTo>
                  <a:lnTo>
                    <a:pt x="788" y="514"/>
                  </a:lnTo>
                  <a:lnTo>
                    <a:pt x="782" y="520"/>
                  </a:lnTo>
                  <a:lnTo>
                    <a:pt x="777" y="525"/>
                  </a:lnTo>
                  <a:lnTo>
                    <a:pt x="772" y="525"/>
                  </a:lnTo>
                  <a:lnTo>
                    <a:pt x="756" y="536"/>
                  </a:lnTo>
                  <a:lnTo>
                    <a:pt x="750" y="536"/>
                  </a:lnTo>
                  <a:lnTo>
                    <a:pt x="750" y="541"/>
                  </a:lnTo>
                  <a:lnTo>
                    <a:pt x="740" y="546"/>
                  </a:lnTo>
                  <a:lnTo>
                    <a:pt x="734" y="546"/>
                  </a:lnTo>
                  <a:lnTo>
                    <a:pt x="734" y="552"/>
                  </a:lnTo>
                  <a:lnTo>
                    <a:pt x="740" y="552"/>
                  </a:lnTo>
                  <a:lnTo>
                    <a:pt x="740" y="546"/>
                  </a:lnTo>
                  <a:lnTo>
                    <a:pt x="740" y="552"/>
                  </a:lnTo>
                  <a:lnTo>
                    <a:pt x="734" y="557"/>
                  </a:lnTo>
                  <a:lnTo>
                    <a:pt x="729" y="557"/>
                  </a:lnTo>
                  <a:lnTo>
                    <a:pt x="723" y="557"/>
                  </a:lnTo>
                  <a:lnTo>
                    <a:pt x="718" y="557"/>
                  </a:lnTo>
                  <a:lnTo>
                    <a:pt x="713" y="557"/>
                  </a:lnTo>
                  <a:lnTo>
                    <a:pt x="707" y="562"/>
                  </a:lnTo>
                  <a:lnTo>
                    <a:pt x="702" y="562"/>
                  </a:lnTo>
                  <a:lnTo>
                    <a:pt x="702" y="557"/>
                  </a:lnTo>
                  <a:lnTo>
                    <a:pt x="702" y="562"/>
                  </a:lnTo>
                  <a:lnTo>
                    <a:pt x="697" y="562"/>
                  </a:lnTo>
                  <a:lnTo>
                    <a:pt x="691" y="562"/>
                  </a:lnTo>
                  <a:lnTo>
                    <a:pt x="686" y="562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81" y="562"/>
                  </a:lnTo>
                  <a:lnTo>
                    <a:pt x="681" y="568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70" y="573"/>
                  </a:lnTo>
                  <a:lnTo>
                    <a:pt x="664" y="573"/>
                  </a:lnTo>
                  <a:lnTo>
                    <a:pt x="664" y="579"/>
                  </a:lnTo>
                  <a:lnTo>
                    <a:pt x="659" y="579"/>
                  </a:lnTo>
                  <a:lnTo>
                    <a:pt x="659" y="573"/>
                  </a:lnTo>
                  <a:lnTo>
                    <a:pt x="654" y="573"/>
                  </a:lnTo>
                  <a:lnTo>
                    <a:pt x="654" y="568"/>
                  </a:lnTo>
                  <a:lnTo>
                    <a:pt x="654" y="573"/>
                  </a:lnTo>
                  <a:lnTo>
                    <a:pt x="659" y="573"/>
                  </a:lnTo>
                  <a:lnTo>
                    <a:pt x="659" y="579"/>
                  </a:lnTo>
                  <a:lnTo>
                    <a:pt x="654" y="579"/>
                  </a:lnTo>
                  <a:lnTo>
                    <a:pt x="654" y="584"/>
                  </a:lnTo>
                  <a:lnTo>
                    <a:pt x="648" y="579"/>
                  </a:lnTo>
                  <a:lnTo>
                    <a:pt x="654" y="584"/>
                  </a:lnTo>
                  <a:lnTo>
                    <a:pt x="648" y="584"/>
                  </a:lnTo>
                  <a:lnTo>
                    <a:pt x="643" y="584"/>
                  </a:lnTo>
                  <a:lnTo>
                    <a:pt x="638" y="584"/>
                  </a:lnTo>
                  <a:lnTo>
                    <a:pt x="632" y="589"/>
                  </a:lnTo>
                  <a:lnTo>
                    <a:pt x="622" y="595"/>
                  </a:lnTo>
                  <a:lnTo>
                    <a:pt x="627" y="595"/>
                  </a:lnTo>
                  <a:lnTo>
                    <a:pt x="627" y="589"/>
                  </a:lnTo>
                  <a:lnTo>
                    <a:pt x="627" y="595"/>
                  </a:lnTo>
                  <a:lnTo>
                    <a:pt x="622" y="595"/>
                  </a:lnTo>
                  <a:lnTo>
                    <a:pt x="616" y="600"/>
                  </a:lnTo>
                  <a:lnTo>
                    <a:pt x="611" y="600"/>
                  </a:lnTo>
                  <a:lnTo>
                    <a:pt x="606" y="600"/>
                  </a:lnTo>
                  <a:lnTo>
                    <a:pt x="611" y="600"/>
                  </a:lnTo>
                  <a:lnTo>
                    <a:pt x="606" y="605"/>
                  </a:lnTo>
                  <a:lnTo>
                    <a:pt x="600" y="605"/>
                  </a:lnTo>
                  <a:lnTo>
                    <a:pt x="595" y="611"/>
                  </a:lnTo>
                  <a:lnTo>
                    <a:pt x="589" y="611"/>
                  </a:lnTo>
                  <a:lnTo>
                    <a:pt x="589" y="616"/>
                  </a:lnTo>
                  <a:lnTo>
                    <a:pt x="584" y="616"/>
                  </a:lnTo>
                  <a:lnTo>
                    <a:pt x="584" y="621"/>
                  </a:lnTo>
                  <a:lnTo>
                    <a:pt x="579" y="621"/>
                  </a:lnTo>
                  <a:lnTo>
                    <a:pt x="573" y="627"/>
                  </a:lnTo>
                  <a:lnTo>
                    <a:pt x="568" y="638"/>
                  </a:lnTo>
                  <a:lnTo>
                    <a:pt x="563" y="643"/>
                  </a:lnTo>
                  <a:lnTo>
                    <a:pt x="563" y="638"/>
                  </a:lnTo>
                  <a:lnTo>
                    <a:pt x="557" y="638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8"/>
                  </a:lnTo>
                  <a:lnTo>
                    <a:pt x="557" y="654"/>
                  </a:lnTo>
                  <a:lnTo>
                    <a:pt x="552" y="654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52" y="654"/>
                  </a:lnTo>
                  <a:lnTo>
                    <a:pt x="552" y="659"/>
                  </a:lnTo>
                  <a:lnTo>
                    <a:pt x="547" y="664"/>
                  </a:lnTo>
                  <a:lnTo>
                    <a:pt x="536" y="670"/>
                  </a:lnTo>
                  <a:lnTo>
                    <a:pt x="536" y="675"/>
                  </a:lnTo>
                  <a:lnTo>
                    <a:pt x="530" y="675"/>
                  </a:lnTo>
                  <a:lnTo>
                    <a:pt x="53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5" y="680"/>
                  </a:lnTo>
                  <a:lnTo>
                    <a:pt x="52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14" y="686"/>
                  </a:lnTo>
                  <a:lnTo>
                    <a:pt x="520" y="691"/>
                  </a:lnTo>
                  <a:lnTo>
                    <a:pt x="514" y="697"/>
                  </a:lnTo>
                  <a:lnTo>
                    <a:pt x="514" y="702"/>
                  </a:lnTo>
                  <a:lnTo>
                    <a:pt x="509" y="702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09" y="707"/>
                  </a:lnTo>
                  <a:lnTo>
                    <a:pt x="514" y="707"/>
                  </a:lnTo>
                  <a:lnTo>
                    <a:pt x="509" y="713"/>
                  </a:lnTo>
                  <a:lnTo>
                    <a:pt x="504" y="713"/>
                  </a:lnTo>
                  <a:lnTo>
                    <a:pt x="504" y="707"/>
                  </a:lnTo>
                  <a:lnTo>
                    <a:pt x="504" y="713"/>
                  </a:lnTo>
                  <a:lnTo>
                    <a:pt x="498" y="713"/>
                  </a:lnTo>
                  <a:lnTo>
                    <a:pt x="493" y="718"/>
                  </a:lnTo>
                  <a:lnTo>
                    <a:pt x="493" y="713"/>
                  </a:lnTo>
                  <a:lnTo>
                    <a:pt x="488" y="718"/>
                  </a:lnTo>
                  <a:lnTo>
                    <a:pt x="488" y="713"/>
                  </a:lnTo>
                  <a:lnTo>
                    <a:pt x="488" y="718"/>
                  </a:lnTo>
                  <a:lnTo>
                    <a:pt x="482" y="718"/>
                  </a:lnTo>
                  <a:lnTo>
                    <a:pt x="477" y="718"/>
                  </a:lnTo>
                  <a:lnTo>
                    <a:pt x="477" y="723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61" y="729"/>
                  </a:lnTo>
                  <a:lnTo>
                    <a:pt x="461" y="734"/>
                  </a:lnTo>
                  <a:lnTo>
                    <a:pt x="455" y="729"/>
                  </a:lnTo>
                  <a:lnTo>
                    <a:pt x="455" y="734"/>
                  </a:lnTo>
                  <a:lnTo>
                    <a:pt x="450" y="734"/>
                  </a:lnTo>
                  <a:lnTo>
                    <a:pt x="450" y="739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0" y="739"/>
                  </a:lnTo>
                  <a:lnTo>
                    <a:pt x="450" y="745"/>
                  </a:lnTo>
                  <a:lnTo>
                    <a:pt x="445" y="745"/>
                  </a:lnTo>
                  <a:lnTo>
                    <a:pt x="450" y="745"/>
                  </a:lnTo>
                  <a:lnTo>
                    <a:pt x="445" y="750"/>
                  </a:lnTo>
                  <a:lnTo>
                    <a:pt x="439" y="750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3" y="766"/>
                  </a:lnTo>
                  <a:lnTo>
                    <a:pt x="423" y="772"/>
                  </a:lnTo>
                  <a:lnTo>
                    <a:pt x="429" y="766"/>
                  </a:lnTo>
                  <a:lnTo>
                    <a:pt x="423" y="772"/>
                  </a:lnTo>
                  <a:lnTo>
                    <a:pt x="418" y="772"/>
                  </a:lnTo>
                  <a:lnTo>
                    <a:pt x="418" y="777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2" y="788"/>
                  </a:lnTo>
                  <a:lnTo>
                    <a:pt x="396" y="793"/>
                  </a:lnTo>
                  <a:lnTo>
                    <a:pt x="391" y="793"/>
                  </a:lnTo>
                  <a:lnTo>
                    <a:pt x="391" y="798"/>
                  </a:lnTo>
                  <a:lnTo>
                    <a:pt x="386" y="798"/>
                  </a:lnTo>
                  <a:lnTo>
                    <a:pt x="386" y="793"/>
                  </a:lnTo>
                  <a:lnTo>
                    <a:pt x="380" y="793"/>
                  </a:lnTo>
                  <a:lnTo>
                    <a:pt x="375" y="788"/>
                  </a:lnTo>
                  <a:lnTo>
                    <a:pt x="370" y="782"/>
                  </a:lnTo>
                  <a:lnTo>
                    <a:pt x="370" y="788"/>
                  </a:lnTo>
                  <a:lnTo>
                    <a:pt x="375" y="788"/>
                  </a:lnTo>
                  <a:lnTo>
                    <a:pt x="375" y="793"/>
                  </a:lnTo>
                  <a:lnTo>
                    <a:pt x="380" y="793"/>
                  </a:lnTo>
                  <a:lnTo>
                    <a:pt x="380" y="798"/>
                  </a:lnTo>
                  <a:lnTo>
                    <a:pt x="375" y="798"/>
                  </a:lnTo>
                  <a:lnTo>
                    <a:pt x="380" y="798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75" y="814"/>
                  </a:lnTo>
                  <a:lnTo>
                    <a:pt x="380" y="820"/>
                  </a:lnTo>
                  <a:lnTo>
                    <a:pt x="38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0" y="820"/>
                  </a:lnTo>
                  <a:lnTo>
                    <a:pt x="364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5" y="831"/>
                  </a:lnTo>
                  <a:lnTo>
                    <a:pt x="375" y="836"/>
                  </a:lnTo>
                  <a:lnTo>
                    <a:pt x="370" y="836"/>
                  </a:lnTo>
                  <a:lnTo>
                    <a:pt x="370" y="841"/>
                  </a:lnTo>
                  <a:lnTo>
                    <a:pt x="375" y="841"/>
                  </a:lnTo>
                  <a:lnTo>
                    <a:pt x="370" y="841"/>
                  </a:lnTo>
                  <a:lnTo>
                    <a:pt x="370" y="847"/>
                  </a:lnTo>
                  <a:lnTo>
                    <a:pt x="375" y="847"/>
                  </a:lnTo>
                  <a:lnTo>
                    <a:pt x="375" y="852"/>
                  </a:lnTo>
                  <a:lnTo>
                    <a:pt x="370" y="852"/>
                  </a:lnTo>
                  <a:lnTo>
                    <a:pt x="364" y="852"/>
                  </a:lnTo>
                  <a:lnTo>
                    <a:pt x="370" y="852"/>
                  </a:lnTo>
                  <a:lnTo>
                    <a:pt x="370" y="857"/>
                  </a:lnTo>
                  <a:lnTo>
                    <a:pt x="370" y="863"/>
                  </a:lnTo>
                  <a:lnTo>
                    <a:pt x="370" y="857"/>
                  </a:lnTo>
                  <a:lnTo>
                    <a:pt x="370" y="852"/>
                  </a:lnTo>
                  <a:lnTo>
                    <a:pt x="375" y="857"/>
                  </a:lnTo>
                  <a:lnTo>
                    <a:pt x="380" y="857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6" y="868"/>
                  </a:lnTo>
                  <a:lnTo>
                    <a:pt x="380" y="863"/>
                  </a:lnTo>
                  <a:lnTo>
                    <a:pt x="380" y="868"/>
                  </a:lnTo>
                  <a:lnTo>
                    <a:pt x="386" y="868"/>
                  </a:lnTo>
                  <a:lnTo>
                    <a:pt x="386" y="863"/>
                  </a:lnTo>
                  <a:lnTo>
                    <a:pt x="391" y="863"/>
                  </a:lnTo>
                  <a:lnTo>
                    <a:pt x="391" y="868"/>
                  </a:lnTo>
                  <a:lnTo>
                    <a:pt x="386" y="868"/>
                  </a:lnTo>
                  <a:lnTo>
                    <a:pt x="386" y="873"/>
                  </a:lnTo>
                  <a:lnTo>
                    <a:pt x="391" y="873"/>
                  </a:lnTo>
                  <a:lnTo>
                    <a:pt x="386" y="868"/>
                  </a:lnTo>
                  <a:lnTo>
                    <a:pt x="391" y="868"/>
                  </a:lnTo>
                  <a:lnTo>
                    <a:pt x="391" y="873"/>
                  </a:lnTo>
                  <a:lnTo>
                    <a:pt x="391" y="868"/>
                  </a:lnTo>
                  <a:lnTo>
                    <a:pt x="396" y="868"/>
                  </a:lnTo>
                  <a:lnTo>
                    <a:pt x="396" y="873"/>
                  </a:lnTo>
                  <a:lnTo>
                    <a:pt x="402" y="879"/>
                  </a:lnTo>
                  <a:lnTo>
                    <a:pt x="396" y="879"/>
                  </a:lnTo>
                  <a:lnTo>
                    <a:pt x="396" y="884"/>
                  </a:lnTo>
                  <a:lnTo>
                    <a:pt x="402" y="879"/>
                  </a:lnTo>
                  <a:lnTo>
                    <a:pt x="402" y="884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7" y="895"/>
                  </a:lnTo>
                  <a:lnTo>
                    <a:pt x="402" y="895"/>
                  </a:lnTo>
                  <a:lnTo>
                    <a:pt x="402" y="900"/>
                  </a:lnTo>
                  <a:lnTo>
                    <a:pt x="407" y="900"/>
                  </a:lnTo>
                  <a:lnTo>
                    <a:pt x="402" y="900"/>
                  </a:lnTo>
                  <a:lnTo>
                    <a:pt x="396" y="900"/>
                  </a:lnTo>
                  <a:lnTo>
                    <a:pt x="402" y="900"/>
                  </a:lnTo>
                  <a:lnTo>
                    <a:pt x="396" y="906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2" y="916"/>
                  </a:lnTo>
                  <a:lnTo>
                    <a:pt x="402" y="911"/>
                  </a:lnTo>
                  <a:lnTo>
                    <a:pt x="402" y="916"/>
                  </a:lnTo>
                  <a:lnTo>
                    <a:pt x="402" y="922"/>
                  </a:lnTo>
                  <a:lnTo>
                    <a:pt x="407" y="922"/>
                  </a:lnTo>
                  <a:lnTo>
                    <a:pt x="407" y="916"/>
                  </a:lnTo>
                  <a:lnTo>
                    <a:pt x="407" y="911"/>
                  </a:lnTo>
                  <a:lnTo>
                    <a:pt x="407" y="906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7" y="927"/>
                  </a:lnTo>
                  <a:lnTo>
                    <a:pt x="413" y="938"/>
                  </a:lnTo>
                  <a:lnTo>
                    <a:pt x="418" y="938"/>
                  </a:lnTo>
                  <a:lnTo>
                    <a:pt x="418" y="943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18" y="954"/>
                  </a:lnTo>
                  <a:lnTo>
                    <a:pt x="423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23" y="965"/>
                  </a:lnTo>
                  <a:lnTo>
                    <a:pt x="423" y="970"/>
                  </a:lnTo>
                  <a:lnTo>
                    <a:pt x="423" y="975"/>
                  </a:lnTo>
                  <a:lnTo>
                    <a:pt x="423" y="981"/>
                  </a:lnTo>
                  <a:lnTo>
                    <a:pt x="423" y="986"/>
                  </a:lnTo>
                  <a:lnTo>
                    <a:pt x="429" y="986"/>
                  </a:lnTo>
                  <a:lnTo>
                    <a:pt x="423" y="986"/>
                  </a:lnTo>
                  <a:lnTo>
                    <a:pt x="429" y="991"/>
                  </a:lnTo>
                  <a:lnTo>
                    <a:pt x="423" y="991"/>
                  </a:lnTo>
                  <a:lnTo>
                    <a:pt x="429" y="991"/>
                  </a:lnTo>
                  <a:lnTo>
                    <a:pt x="429" y="997"/>
                  </a:lnTo>
                  <a:lnTo>
                    <a:pt x="434" y="997"/>
                  </a:lnTo>
                  <a:lnTo>
                    <a:pt x="434" y="991"/>
                  </a:lnTo>
                  <a:lnTo>
                    <a:pt x="439" y="991"/>
                  </a:lnTo>
                  <a:lnTo>
                    <a:pt x="439" y="986"/>
                  </a:lnTo>
                  <a:lnTo>
                    <a:pt x="439" y="991"/>
                  </a:lnTo>
                  <a:lnTo>
                    <a:pt x="439" y="997"/>
                  </a:lnTo>
                  <a:lnTo>
                    <a:pt x="439" y="1002"/>
                  </a:lnTo>
                  <a:lnTo>
                    <a:pt x="439" y="1007"/>
                  </a:lnTo>
                  <a:lnTo>
                    <a:pt x="439" y="1002"/>
                  </a:lnTo>
                  <a:lnTo>
                    <a:pt x="445" y="997"/>
                  </a:lnTo>
                  <a:lnTo>
                    <a:pt x="445" y="1002"/>
                  </a:lnTo>
                  <a:lnTo>
                    <a:pt x="445" y="1007"/>
                  </a:lnTo>
                  <a:lnTo>
                    <a:pt x="445" y="1018"/>
                  </a:lnTo>
                  <a:lnTo>
                    <a:pt x="439" y="1023"/>
                  </a:lnTo>
                  <a:lnTo>
                    <a:pt x="439" y="1029"/>
                  </a:lnTo>
                  <a:lnTo>
                    <a:pt x="439" y="1040"/>
                  </a:lnTo>
                  <a:lnTo>
                    <a:pt x="439" y="1045"/>
                  </a:lnTo>
                  <a:lnTo>
                    <a:pt x="439" y="1050"/>
                  </a:lnTo>
                  <a:lnTo>
                    <a:pt x="445" y="1056"/>
                  </a:lnTo>
                  <a:lnTo>
                    <a:pt x="445" y="1061"/>
                  </a:lnTo>
                  <a:lnTo>
                    <a:pt x="450" y="1061"/>
                  </a:lnTo>
                  <a:lnTo>
                    <a:pt x="445" y="1056"/>
                  </a:lnTo>
                  <a:lnTo>
                    <a:pt x="450" y="1056"/>
                  </a:lnTo>
                  <a:lnTo>
                    <a:pt x="450" y="1061"/>
                  </a:lnTo>
                  <a:lnTo>
                    <a:pt x="445" y="1061"/>
                  </a:lnTo>
                  <a:lnTo>
                    <a:pt x="439" y="1072"/>
                  </a:lnTo>
                  <a:lnTo>
                    <a:pt x="439" y="1077"/>
                  </a:lnTo>
                  <a:lnTo>
                    <a:pt x="439" y="1082"/>
                  </a:lnTo>
                  <a:lnTo>
                    <a:pt x="439" y="1088"/>
                  </a:lnTo>
                  <a:lnTo>
                    <a:pt x="439" y="1093"/>
                  </a:lnTo>
                  <a:lnTo>
                    <a:pt x="434" y="1099"/>
                  </a:lnTo>
                  <a:lnTo>
                    <a:pt x="434" y="1104"/>
                  </a:lnTo>
                  <a:lnTo>
                    <a:pt x="434" y="1109"/>
                  </a:lnTo>
                  <a:lnTo>
                    <a:pt x="434" y="1125"/>
                  </a:lnTo>
                  <a:lnTo>
                    <a:pt x="429" y="1125"/>
                  </a:lnTo>
                  <a:lnTo>
                    <a:pt x="429" y="1120"/>
                  </a:lnTo>
                  <a:lnTo>
                    <a:pt x="423" y="1120"/>
                  </a:lnTo>
                  <a:lnTo>
                    <a:pt x="423" y="1125"/>
                  </a:lnTo>
                  <a:lnTo>
                    <a:pt x="429" y="1125"/>
                  </a:lnTo>
                  <a:lnTo>
                    <a:pt x="429" y="1131"/>
                  </a:lnTo>
                  <a:lnTo>
                    <a:pt x="429" y="1136"/>
                  </a:lnTo>
                  <a:lnTo>
                    <a:pt x="429" y="1141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9" y="1141"/>
                  </a:lnTo>
                  <a:lnTo>
                    <a:pt x="429" y="1136"/>
                  </a:lnTo>
                  <a:lnTo>
                    <a:pt x="434" y="1136"/>
                  </a:lnTo>
                  <a:lnTo>
                    <a:pt x="434" y="1141"/>
                  </a:lnTo>
                  <a:lnTo>
                    <a:pt x="439" y="1141"/>
                  </a:lnTo>
                  <a:lnTo>
                    <a:pt x="439" y="1136"/>
                  </a:lnTo>
                  <a:lnTo>
                    <a:pt x="439" y="1131"/>
                  </a:lnTo>
                  <a:lnTo>
                    <a:pt x="445" y="1131"/>
                  </a:lnTo>
                  <a:lnTo>
                    <a:pt x="445" y="1136"/>
                  </a:lnTo>
                  <a:lnTo>
                    <a:pt x="445" y="1141"/>
                  </a:lnTo>
                  <a:lnTo>
                    <a:pt x="439" y="1147"/>
                  </a:lnTo>
                  <a:lnTo>
                    <a:pt x="439" y="1152"/>
                  </a:lnTo>
                  <a:lnTo>
                    <a:pt x="439" y="1158"/>
                  </a:lnTo>
                  <a:lnTo>
                    <a:pt x="439" y="1163"/>
                  </a:lnTo>
                  <a:lnTo>
                    <a:pt x="434" y="1168"/>
                  </a:lnTo>
                  <a:lnTo>
                    <a:pt x="434" y="1174"/>
                  </a:lnTo>
                  <a:lnTo>
                    <a:pt x="423" y="1184"/>
                  </a:lnTo>
                  <a:lnTo>
                    <a:pt x="418" y="1190"/>
                  </a:lnTo>
                  <a:lnTo>
                    <a:pt x="413" y="1190"/>
                  </a:lnTo>
                  <a:lnTo>
                    <a:pt x="413" y="1195"/>
                  </a:lnTo>
                  <a:lnTo>
                    <a:pt x="413" y="1200"/>
                  </a:lnTo>
                  <a:lnTo>
                    <a:pt x="407" y="1200"/>
                  </a:lnTo>
                  <a:lnTo>
                    <a:pt x="396" y="1206"/>
                  </a:lnTo>
                  <a:lnTo>
                    <a:pt x="380" y="1216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48" y="1227"/>
                  </a:lnTo>
                  <a:lnTo>
                    <a:pt x="343" y="1227"/>
                  </a:lnTo>
                  <a:lnTo>
                    <a:pt x="332" y="1233"/>
                  </a:lnTo>
                  <a:lnTo>
                    <a:pt x="316" y="1238"/>
                  </a:lnTo>
                  <a:lnTo>
                    <a:pt x="311" y="1238"/>
                  </a:lnTo>
                  <a:lnTo>
                    <a:pt x="305" y="1238"/>
                  </a:lnTo>
                  <a:lnTo>
                    <a:pt x="305" y="1243"/>
                  </a:lnTo>
                  <a:lnTo>
                    <a:pt x="300" y="1243"/>
                  </a:lnTo>
                  <a:lnTo>
                    <a:pt x="289" y="1243"/>
                  </a:lnTo>
                  <a:lnTo>
                    <a:pt x="284" y="1249"/>
                  </a:lnTo>
                  <a:lnTo>
                    <a:pt x="273" y="1254"/>
                  </a:lnTo>
                  <a:lnTo>
                    <a:pt x="268" y="1254"/>
                  </a:lnTo>
                  <a:lnTo>
                    <a:pt x="252" y="1265"/>
                  </a:lnTo>
                  <a:lnTo>
                    <a:pt x="241" y="1270"/>
                  </a:lnTo>
                  <a:lnTo>
                    <a:pt x="236" y="1270"/>
                  </a:lnTo>
                  <a:lnTo>
                    <a:pt x="225" y="1281"/>
                  </a:lnTo>
                  <a:lnTo>
                    <a:pt x="220" y="1281"/>
                  </a:lnTo>
                  <a:lnTo>
                    <a:pt x="220" y="1286"/>
                  </a:lnTo>
                  <a:lnTo>
                    <a:pt x="214" y="1292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297"/>
                  </a:lnTo>
                  <a:lnTo>
                    <a:pt x="203" y="1297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3" y="1308"/>
                  </a:lnTo>
                  <a:lnTo>
                    <a:pt x="203" y="1313"/>
                  </a:lnTo>
                  <a:lnTo>
                    <a:pt x="198" y="1318"/>
                  </a:lnTo>
                  <a:lnTo>
                    <a:pt x="193" y="1313"/>
                  </a:lnTo>
                  <a:lnTo>
                    <a:pt x="187" y="1318"/>
                  </a:lnTo>
                  <a:lnTo>
                    <a:pt x="187" y="1324"/>
                  </a:lnTo>
                  <a:lnTo>
                    <a:pt x="193" y="1318"/>
                  </a:lnTo>
                  <a:lnTo>
                    <a:pt x="187" y="1318"/>
                  </a:lnTo>
                  <a:lnTo>
                    <a:pt x="193" y="1318"/>
                  </a:lnTo>
                  <a:lnTo>
                    <a:pt x="198" y="1318"/>
                  </a:lnTo>
                  <a:lnTo>
                    <a:pt x="198" y="1324"/>
                  </a:lnTo>
                  <a:lnTo>
                    <a:pt x="203" y="1329"/>
                  </a:lnTo>
                  <a:lnTo>
                    <a:pt x="203" y="1334"/>
                  </a:lnTo>
                  <a:lnTo>
                    <a:pt x="203" y="1340"/>
                  </a:lnTo>
                  <a:lnTo>
                    <a:pt x="209" y="1345"/>
                  </a:lnTo>
                  <a:lnTo>
                    <a:pt x="209" y="1350"/>
                  </a:lnTo>
                  <a:lnTo>
                    <a:pt x="203" y="1350"/>
                  </a:lnTo>
                  <a:lnTo>
                    <a:pt x="209" y="1345"/>
                  </a:lnTo>
                  <a:lnTo>
                    <a:pt x="203" y="1334"/>
                  </a:lnTo>
                  <a:lnTo>
                    <a:pt x="209" y="1334"/>
                  </a:lnTo>
                  <a:lnTo>
                    <a:pt x="214" y="1340"/>
                  </a:lnTo>
                  <a:lnTo>
                    <a:pt x="214" y="1345"/>
                  </a:lnTo>
                  <a:lnTo>
                    <a:pt x="220" y="1345"/>
                  </a:lnTo>
                  <a:lnTo>
                    <a:pt x="225" y="1345"/>
                  </a:lnTo>
                  <a:lnTo>
                    <a:pt x="220" y="1340"/>
                  </a:lnTo>
                  <a:lnTo>
                    <a:pt x="220" y="1334"/>
                  </a:lnTo>
                  <a:lnTo>
                    <a:pt x="225" y="1329"/>
                  </a:lnTo>
                  <a:lnTo>
                    <a:pt x="230" y="1329"/>
                  </a:lnTo>
                  <a:lnTo>
                    <a:pt x="225" y="1345"/>
                  </a:lnTo>
                  <a:lnTo>
                    <a:pt x="225" y="1350"/>
                  </a:lnTo>
                  <a:lnTo>
                    <a:pt x="225" y="1356"/>
                  </a:lnTo>
                  <a:lnTo>
                    <a:pt x="225" y="1361"/>
                  </a:lnTo>
                  <a:lnTo>
                    <a:pt x="225" y="1372"/>
                  </a:lnTo>
                  <a:lnTo>
                    <a:pt x="225" y="1377"/>
                  </a:lnTo>
                  <a:lnTo>
                    <a:pt x="225" y="1383"/>
                  </a:lnTo>
                  <a:lnTo>
                    <a:pt x="225" y="1388"/>
                  </a:lnTo>
                  <a:lnTo>
                    <a:pt x="225" y="1393"/>
                  </a:lnTo>
                  <a:lnTo>
                    <a:pt x="220" y="1393"/>
                  </a:lnTo>
                  <a:lnTo>
                    <a:pt x="214" y="1393"/>
                  </a:lnTo>
                  <a:lnTo>
                    <a:pt x="182" y="1393"/>
                  </a:lnTo>
                  <a:lnTo>
                    <a:pt x="177" y="1393"/>
                  </a:lnTo>
                  <a:lnTo>
                    <a:pt x="171" y="1393"/>
                  </a:lnTo>
                  <a:lnTo>
                    <a:pt x="166" y="1388"/>
                  </a:lnTo>
                  <a:lnTo>
                    <a:pt x="166" y="1393"/>
                  </a:lnTo>
                  <a:lnTo>
                    <a:pt x="161" y="1393"/>
                  </a:lnTo>
                  <a:lnTo>
                    <a:pt x="161" y="1388"/>
                  </a:lnTo>
                  <a:lnTo>
                    <a:pt x="161" y="1367"/>
                  </a:lnTo>
                  <a:lnTo>
                    <a:pt x="155" y="1356"/>
                  </a:lnTo>
                  <a:lnTo>
                    <a:pt x="155" y="1350"/>
                  </a:lnTo>
                  <a:lnTo>
                    <a:pt x="155" y="1345"/>
                  </a:lnTo>
                  <a:lnTo>
                    <a:pt x="155" y="1334"/>
                  </a:lnTo>
                  <a:lnTo>
                    <a:pt x="155" y="1318"/>
                  </a:lnTo>
                  <a:lnTo>
                    <a:pt x="150" y="1318"/>
                  </a:lnTo>
                  <a:lnTo>
                    <a:pt x="150" y="1313"/>
                  </a:lnTo>
                  <a:lnTo>
                    <a:pt x="144" y="1308"/>
                  </a:lnTo>
                  <a:lnTo>
                    <a:pt x="144" y="1297"/>
                  </a:lnTo>
                  <a:lnTo>
                    <a:pt x="150" y="1292"/>
                  </a:lnTo>
                  <a:lnTo>
                    <a:pt x="150" y="1286"/>
                  </a:lnTo>
                  <a:lnTo>
                    <a:pt x="150" y="1281"/>
                  </a:lnTo>
                  <a:lnTo>
                    <a:pt x="144" y="1281"/>
                  </a:lnTo>
                  <a:lnTo>
                    <a:pt x="150" y="1275"/>
                  </a:lnTo>
                  <a:lnTo>
                    <a:pt x="150" y="1270"/>
                  </a:lnTo>
                  <a:lnTo>
                    <a:pt x="150" y="1265"/>
                  </a:lnTo>
                  <a:lnTo>
                    <a:pt x="150" y="1259"/>
                  </a:lnTo>
                  <a:lnTo>
                    <a:pt x="150" y="1243"/>
                  </a:lnTo>
                  <a:lnTo>
                    <a:pt x="150" y="1238"/>
                  </a:lnTo>
                  <a:lnTo>
                    <a:pt x="150" y="1233"/>
                  </a:lnTo>
                  <a:lnTo>
                    <a:pt x="150" y="1206"/>
                  </a:lnTo>
                  <a:lnTo>
                    <a:pt x="150" y="1190"/>
                  </a:lnTo>
                  <a:lnTo>
                    <a:pt x="150" y="1184"/>
                  </a:lnTo>
                  <a:lnTo>
                    <a:pt x="150" y="1174"/>
                  </a:lnTo>
                  <a:lnTo>
                    <a:pt x="139" y="1168"/>
                  </a:lnTo>
                  <a:lnTo>
                    <a:pt x="139" y="1152"/>
                  </a:lnTo>
                  <a:lnTo>
                    <a:pt x="139" y="1147"/>
                  </a:lnTo>
                  <a:lnTo>
                    <a:pt x="128" y="1141"/>
                  </a:lnTo>
                  <a:lnTo>
                    <a:pt x="123" y="1125"/>
                  </a:lnTo>
                  <a:lnTo>
                    <a:pt x="123" y="1115"/>
                  </a:lnTo>
                  <a:lnTo>
                    <a:pt x="112" y="1104"/>
                  </a:lnTo>
                  <a:lnTo>
                    <a:pt x="112" y="1099"/>
                  </a:lnTo>
                  <a:lnTo>
                    <a:pt x="112" y="1077"/>
                  </a:lnTo>
                  <a:lnTo>
                    <a:pt x="91" y="1018"/>
                  </a:lnTo>
                  <a:lnTo>
                    <a:pt x="91" y="1013"/>
                  </a:lnTo>
                  <a:lnTo>
                    <a:pt x="96" y="1013"/>
                  </a:lnTo>
                  <a:lnTo>
                    <a:pt x="107" y="1002"/>
                  </a:lnTo>
                  <a:lnTo>
                    <a:pt x="107" y="997"/>
                  </a:lnTo>
                  <a:lnTo>
                    <a:pt x="139" y="970"/>
                  </a:lnTo>
                  <a:lnTo>
                    <a:pt x="182" y="922"/>
                  </a:lnTo>
                  <a:lnTo>
                    <a:pt x="187" y="922"/>
                  </a:lnTo>
                  <a:lnTo>
                    <a:pt x="182" y="916"/>
                  </a:lnTo>
                  <a:lnTo>
                    <a:pt x="182" y="911"/>
                  </a:lnTo>
                  <a:lnTo>
                    <a:pt x="177" y="906"/>
                  </a:lnTo>
                  <a:lnTo>
                    <a:pt x="182" y="906"/>
                  </a:lnTo>
                  <a:lnTo>
                    <a:pt x="187" y="900"/>
                  </a:lnTo>
                  <a:lnTo>
                    <a:pt x="187" y="895"/>
                  </a:lnTo>
                  <a:lnTo>
                    <a:pt x="193" y="889"/>
                  </a:lnTo>
                  <a:lnTo>
                    <a:pt x="193" y="884"/>
                  </a:lnTo>
                  <a:lnTo>
                    <a:pt x="193" y="879"/>
                  </a:lnTo>
                  <a:lnTo>
                    <a:pt x="187" y="868"/>
                  </a:lnTo>
                  <a:lnTo>
                    <a:pt x="187" y="863"/>
                  </a:lnTo>
                  <a:lnTo>
                    <a:pt x="193" y="863"/>
                  </a:lnTo>
                  <a:lnTo>
                    <a:pt x="198" y="857"/>
                  </a:lnTo>
                  <a:lnTo>
                    <a:pt x="203" y="857"/>
                  </a:lnTo>
                  <a:lnTo>
                    <a:pt x="209" y="847"/>
                  </a:lnTo>
                  <a:lnTo>
                    <a:pt x="214" y="841"/>
                  </a:lnTo>
                  <a:lnTo>
                    <a:pt x="214" y="836"/>
                  </a:lnTo>
                  <a:lnTo>
                    <a:pt x="220" y="836"/>
                  </a:lnTo>
                  <a:lnTo>
                    <a:pt x="220" y="831"/>
                  </a:lnTo>
                  <a:lnTo>
                    <a:pt x="220" y="825"/>
                  </a:lnTo>
                  <a:lnTo>
                    <a:pt x="220" y="820"/>
                  </a:lnTo>
                  <a:lnTo>
                    <a:pt x="225" y="820"/>
                  </a:lnTo>
                  <a:lnTo>
                    <a:pt x="225" y="814"/>
                  </a:lnTo>
                  <a:lnTo>
                    <a:pt x="230" y="814"/>
                  </a:lnTo>
                  <a:lnTo>
                    <a:pt x="230" y="809"/>
                  </a:lnTo>
                  <a:lnTo>
                    <a:pt x="236" y="793"/>
                  </a:lnTo>
                  <a:lnTo>
                    <a:pt x="236" y="788"/>
                  </a:lnTo>
                  <a:lnTo>
                    <a:pt x="230" y="788"/>
                  </a:lnTo>
                  <a:lnTo>
                    <a:pt x="230" y="782"/>
                  </a:lnTo>
                  <a:lnTo>
                    <a:pt x="225" y="782"/>
                  </a:lnTo>
                  <a:lnTo>
                    <a:pt x="220" y="782"/>
                  </a:lnTo>
                  <a:lnTo>
                    <a:pt x="220" y="777"/>
                  </a:lnTo>
                  <a:lnTo>
                    <a:pt x="220" y="772"/>
                  </a:lnTo>
                  <a:lnTo>
                    <a:pt x="220" y="766"/>
                  </a:lnTo>
                  <a:lnTo>
                    <a:pt x="214" y="766"/>
                  </a:lnTo>
                  <a:lnTo>
                    <a:pt x="214" y="761"/>
                  </a:lnTo>
                  <a:lnTo>
                    <a:pt x="214" y="755"/>
                  </a:lnTo>
                  <a:lnTo>
                    <a:pt x="220" y="750"/>
                  </a:lnTo>
                  <a:lnTo>
                    <a:pt x="220" y="745"/>
                  </a:lnTo>
                  <a:lnTo>
                    <a:pt x="220" y="734"/>
                  </a:lnTo>
                  <a:lnTo>
                    <a:pt x="220" y="729"/>
                  </a:lnTo>
                  <a:lnTo>
                    <a:pt x="220" y="723"/>
                  </a:lnTo>
                  <a:lnTo>
                    <a:pt x="214" y="723"/>
                  </a:lnTo>
                  <a:lnTo>
                    <a:pt x="214" y="729"/>
                  </a:lnTo>
                  <a:lnTo>
                    <a:pt x="209" y="729"/>
                  </a:lnTo>
                  <a:lnTo>
                    <a:pt x="209" y="723"/>
                  </a:lnTo>
                  <a:lnTo>
                    <a:pt x="209" y="718"/>
                  </a:lnTo>
                  <a:lnTo>
                    <a:pt x="209" y="713"/>
                  </a:lnTo>
                  <a:lnTo>
                    <a:pt x="209" y="707"/>
                  </a:lnTo>
                  <a:lnTo>
                    <a:pt x="214" y="707"/>
                  </a:lnTo>
                  <a:lnTo>
                    <a:pt x="220" y="707"/>
                  </a:lnTo>
                  <a:lnTo>
                    <a:pt x="225" y="707"/>
                  </a:lnTo>
                  <a:lnTo>
                    <a:pt x="225" y="702"/>
                  </a:lnTo>
                  <a:lnTo>
                    <a:pt x="230" y="697"/>
                  </a:lnTo>
                  <a:lnTo>
                    <a:pt x="225" y="691"/>
                  </a:lnTo>
                  <a:lnTo>
                    <a:pt x="225" y="686"/>
                  </a:lnTo>
                  <a:lnTo>
                    <a:pt x="220" y="686"/>
                  </a:lnTo>
                  <a:lnTo>
                    <a:pt x="225" y="680"/>
                  </a:lnTo>
                  <a:lnTo>
                    <a:pt x="230" y="680"/>
                  </a:lnTo>
                  <a:lnTo>
                    <a:pt x="236" y="680"/>
                  </a:lnTo>
                  <a:lnTo>
                    <a:pt x="236" y="675"/>
                  </a:lnTo>
                  <a:lnTo>
                    <a:pt x="236" y="670"/>
                  </a:lnTo>
                  <a:lnTo>
                    <a:pt x="230" y="664"/>
                  </a:lnTo>
                  <a:lnTo>
                    <a:pt x="230" y="659"/>
                  </a:lnTo>
                  <a:lnTo>
                    <a:pt x="230" y="654"/>
                  </a:lnTo>
                  <a:lnTo>
                    <a:pt x="230" y="648"/>
                  </a:lnTo>
                  <a:lnTo>
                    <a:pt x="230" y="643"/>
                  </a:lnTo>
                  <a:lnTo>
                    <a:pt x="225" y="643"/>
                  </a:lnTo>
                  <a:lnTo>
                    <a:pt x="225" y="638"/>
                  </a:lnTo>
                  <a:lnTo>
                    <a:pt x="230" y="638"/>
                  </a:lnTo>
                  <a:lnTo>
                    <a:pt x="230" y="632"/>
                  </a:lnTo>
                  <a:lnTo>
                    <a:pt x="230" y="627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16"/>
                  </a:lnTo>
                  <a:lnTo>
                    <a:pt x="236" y="616"/>
                  </a:lnTo>
                  <a:lnTo>
                    <a:pt x="230" y="616"/>
                  </a:lnTo>
                  <a:lnTo>
                    <a:pt x="236" y="611"/>
                  </a:lnTo>
                  <a:lnTo>
                    <a:pt x="236" y="605"/>
                  </a:lnTo>
                  <a:lnTo>
                    <a:pt x="230" y="605"/>
                  </a:lnTo>
                  <a:lnTo>
                    <a:pt x="230" y="600"/>
                  </a:lnTo>
                  <a:lnTo>
                    <a:pt x="230" y="595"/>
                  </a:lnTo>
                  <a:lnTo>
                    <a:pt x="230" y="589"/>
                  </a:lnTo>
                  <a:lnTo>
                    <a:pt x="236" y="584"/>
                  </a:lnTo>
                  <a:lnTo>
                    <a:pt x="230" y="579"/>
                  </a:lnTo>
                  <a:lnTo>
                    <a:pt x="230" y="568"/>
                  </a:lnTo>
                  <a:lnTo>
                    <a:pt x="225" y="562"/>
                  </a:lnTo>
                  <a:lnTo>
                    <a:pt x="220" y="552"/>
                  </a:lnTo>
                  <a:lnTo>
                    <a:pt x="220" y="546"/>
                  </a:lnTo>
                  <a:lnTo>
                    <a:pt x="225" y="546"/>
                  </a:lnTo>
                  <a:lnTo>
                    <a:pt x="230" y="536"/>
                  </a:lnTo>
                  <a:lnTo>
                    <a:pt x="230" y="530"/>
                  </a:lnTo>
                  <a:lnTo>
                    <a:pt x="225" y="530"/>
                  </a:lnTo>
                  <a:lnTo>
                    <a:pt x="220" y="530"/>
                  </a:lnTo>
                  <a:lnTo>
                    <a:pt x="214" y="530"/>
                  </a:lnTo>
                  <a:lnTo>
                    <a:pt x="209" y="530"/>
                  </a:lnTo>
                  <a:lnTo>
                    <a:pt x="209" y="525"/>
                  </a:lnTo>
                  <a:lnTo>
                    <a:pt x="209" y="520"/>
                  </a:lnTo>
                  <a:lnTo>
                    <a:pt x="187" y="514"/>
                  </a:lnTo>
                  <a:lnTo>
                    <a:pt x="182" y="509"/>
                  </a:lnTo>
                  <a:lnTo>
                    <a:pt x="177" y="509"/>
                  </a:lnTo>
                  <a:lnTo>
                    <a:pt x="171" y="509"/>
                  </a:lnTo>
                  <a:lnTo>
                    <a:pt x="150" y="509"/>
                  </a:lnTo>
                  <a:lnTo>
                    <a:pt x="139" y="504"/>
                  </a:lnTo>
                  <a:lnTo>
                    <a:pt x="139" y="498"/>
                  </a:lnTo>
                  <a:lnTo>
                    <a:pt x="134" y="498"/>
                  </a:lnTo>
                  <a:lnTo>
                    <a:pt x="134" y="493"/>
                  </a:lnTo>
                  <a:lnTo>
                    <a:pt x="128" y="493"/>
                  </a:lnTo>
                  <a:lnTo>
                    <a:pt x="128" y="487"/>
                  </a:lnTo>
                  <a:lnTo>
                    <a:pt x="123" y="487"/>
                  </a:lnTo>
                  <a:lnTo>
                    <a:pt x="118" y="487"/>
                  </a:lnTo>
                  <a:lnTo>
                    <a:pt x="112" y="487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77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80" y="466"/>
                  </a:lnTo>
                  <a:lnTo>
                    <a:pt x="75" y="466"/>
                  </a:lnTo>
                  <a:lnTo>
                    <a:pt x="75" y="471"/>
                  </a:lnTo>
                  <a:lnTo>
                    <a:pt x="69" y="471"/>
                  </a:lnTo>
                  <a:lnTo>
                    <a:pt x="64" y="477"/>
                  </a:lnTo>
                  <a:lnTo>
                    <a:pt x="64" y="471"/>
                  </a:lnTo>
                  <a:lnTo>
                    <a:pt x="59" y="471"/>
                  </a:lnTo>
                  <a:lnTo>
                    <a:pt x="16" y="471"/>
                  </a:lnTo>
                  <a:lnTo>
                    <a:pt x="16" y="439"/>
                  </a:lnTo>
                  <a:lnTo>
                    <a:pt x="16" y="434"/>
                  </a:lnTo>
                  <a:lnTo>
                    <a:pt x="10" y="434"/>
                  </a:lnTo>
                  <a:lnTo>
                    <a:pt x="16" y="428"/>
                  </a:lnTo>
                  <a:lnTo>
                    <a:pt x="16" y="423"/>
                  </a:lnTo>
                  <a:lnTo>
                    <a:pt x="16" y="418"/>
                  </a:lnTo>
                  <a:lnTo>
                    <a:pt x="16" y="412"/>
                  </a:lnTo>
                  <a:lnTo>
                    <a:pt x="10" y="412"/>
                  </a:lnTo>
                  <a:lnTo>
                    <a:pt x="10" y="407"/>
                  </a:lnTo>
                  <a:lnTo>
                    <a:pt x="5" y="407"/>
                  </a:lnTo>
                  <a:lnTo>
                    <a:pt x="5" y="402"/>
                  </a:lnTo>
                  <a:lnTo>
                    <a:pt x="5" y="396"/>
                  </a:lnTo>
                  <a:lnTo>
                    <a:pt x="0" y="396"/>
                  </a:lnTo>
                  <a:lnTo>
                    <a:pt x="0" y="391"/>
                  </a:lnTo>
                  <a:lnTo>
                    <a:pt x="0" y="386"/>
                  </a:lnTo>
                  <a:lnTo>
                    <a:pt x="10" y="380"/>
                  </a:lnTo>
                  <a:lnTo>
                    <a:pt x="27" y="375"/>
                  </a:lnTo>
                  <a:lnTo>
                    <a:pt x="37" y="370"/>
                  </a:lnTo>
                  <a:lnTo>
                    <a:pt x="48" y="364"/>
                  </a:lnTo>
                  <a:lnTo>
                    <a:pt x="69" y="359"/>
                  </a:lnTo>
                  <a:lnTo>
                    <a:pt x="75" y="359"/>
                  </a:lnTo>
                  <a:lnTo>
                    <a:pt x="80" y="359"/>
                  </a:lnTo>
                  <a:lnTo>
                    <a:pt x="85" y="353"/>
                  </a:lnTo>
                  <a:lnTo>
                    <a:pt x="107" y="353"/>
                  </a:lnTo>
                  <a:lnTo>
                    <a:pt x="123" y="343"/>
                  </a:lnTo>
                  <a:lnTo>
                    <a:pt x="134" y="343"/>
                  </a:lnTo>
                  <a:lnTo>
                    <a:pt x="144" y="332"/>
                  </a:lnTo>
                  <a:lnTo>
                    <a:pt x="155" y="332"/>
                  </a:lnTo>
                  <a:lnTo>
                    <a:pt x="171" y="327"/>
                  </a:lnTo>
                  <a:lnTo>
                    <a:pt x="187" y="321"/>
                  </a:lnTo>
                  <a:lnTo>
                    <a:pt x="198" y="316"/>
                  </a:lnTo>
                  <a:lnTo>
                    <a:pt x="252" y="30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4611" name="Group 58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4128" y="1936"/>
              <a:ext cx="378" cy="440"/>
              <a:chOff x="2555" y="2549"/>
              <a:chExt cx="520" cy="577"/>
            </a:xfrm>
          </p:grpSpPr>
          <p:sp>
            <p:nvSpPr>
              <p:cNvPr id="24684" name="Freeform 59"/>
              <p:cNvSpPr>
                <a:spLocks noChangeAspect="1"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55" y="2611"/>
                <a:ext cx="520" cy="515"/>
              </a:xfrm>
              <a:custGeom>
                <a:avLst/>
                <a:gdLst>
                  <a:gd name="T0" fmla="*/ 54 w 612"/>
                  <a:gd name="T1" fmla="*/ 0 h 606"/>
                  <a:gd name="T2" fmla="*/ 75 w 612"/>
                  <a:gd name="T3" fmla="*/ 0 h 606"/>
                  <a:gd name="T4" fmla="*/ 119 w 612"/>
                  <a:gd name="T5" fmla="*/ 0 h 606"/>
                  <a:gd name="T6" fmla="*/ 128 w 612"/>
                  <a:gd name="T7" fmla="*/ 12 h 606"/>
                  <a:gd name="T8" fmla="*/ 134 w 612"/>
                  <a:gd name="T9" fmla="*/ 28 h 606"/>
                  <a:gd name="T10" fmla="*/ 141 w 612"/>
                  <a:gd name="T11" fmla="*/ 43 h 606"/>
                  <a:gd name="T12" fmla="*/ 150 w 612"/>
                  <a:gd name="T13" fmla="*/ 56 h 606"/>
                  <a:gd name="T14" fmla="*/ 162 w 612"/>
                  <a:gd name="T15" fmla="*/ 56 h 606"/>
                  <a:gd name="T16" fmla="*/ 182 w 612"/>
                  <a:gd name="T17" fmla="*/ 56 h 606"/>
                  <a:gd name="T18" fmla="*/ 200 w 612"/>
                  <a:gd name="T19" fmla="*/ 41 h 606"/>
                  <a:gd name="T20" fmla="*/ 223 w 612"/>
                  <a:gd name="T21" fmla="*/ 28 h 606"/>
                  <a:gd name="T22" fmla="*/ 259 w 612"/>
                  <a:gd name="T23" fmla="*/ 41 h 606"/>
                  <a:gd name="T24" fmla="*/ 259 w 612"/>
                  <a:gd name="T25" fmla="*/ 47 h 606"/>
                  <a:gd name="T26" fmla="*/ 263 w 612"/>
                  <a:gd name="T27" fmla="*/ 69 h 606"/>
                  <a:gd name="T28" fmla="*/ 263 w 612"/>
                  <a:gd name="T29" fmla="*/ 88 h 606"/>
                  <a:gd name="T30" fmla="*/ 266 w 612"/>
                  <a:gd name="T31" fmla="*/ 100 h 606"/>
                  <a:gd name="T32" fmla="*/ 272 w 612"/>
                  <a:gd name="T33" fmla="*/ 119 h 606"/>
                  <a:gd name="T34" fmla="*/ 268 w 612"/>
                  <a:gd name="T35" fmla="*/ 132 h 606"/>
                  <a:gd name="T36" fmla="*/ 279 w 612"/>
                  <a:gd name="T37" fmla="*/ 134 h 606"/>
                  <a:gd name="T38" fmla="*/ 294 w 612"/>
                  <a:gd name="T39" fmla="*/ 137 h 606"/>
                  <a:gd name="T40" fmla="*/ 307 w 612"/>
                  <a:gd name="T41" fmla="*/ 134 h 606"/>
                  <a:gd name="T42" fmla="*/ 319 w 612"/>
                  <a:gd name="T43" fmla="*/ 137 h 606"/>
                  <a:gd name="T44" fmla="*/ 319 w 612"/>
                  <a:gd name="T45" fmla="*/ 153 h 606"/>
                  <a:gd name="T46" fmla="*/ 319 w 612"/>
                  <a:gd name="T47" fmla="*/ 172 h 606"/>
                  <a:gd name="T48" fmla="*/ 266 w 612"/>
                  <a:gd name="T49" fmla="*/ 269 h 606"/>
                  <a:gd name="T50" fmla="*/ 281 w 612"/>
                  <a:gd name="T51" fmla="*/ 288 h 606"/>
                  <a:gd name="T52" fmla="*/ 294 w 612"/>
                  <a:gd name="T53" fmla="*/ 301 h 606"/>
                  <a:gd name="T54" fmla="*/ 251 w 612"/>
                  <a:gd name="T55" fmla="*/ 316 h 606"/>
                  <a:gd name="T56" fmla="*/ 231 w 612"/>
                  <a:gd name="T57" fmla="*/ 316 h 606"/>
                  <a:gd name="T58" fmla="*/ 218 w 612"/>
                  <a:gd name="T59" fmla="*/ 313 h 606"/>
                  <a:gd name="T60" fmla="*/ 203 w 612"/>
                  <a:gd name="T61" fmla="*/ 310 h 606"/>
                  <a:gd name="T62" fmla="*/ 200 w 612"/>
                  <a:gd name="T63" fmla="*/ 310 h 606"/>
                  <a:gd name="T64" fmla="*/ 185 w 612"/>
                  <a:gd name="T65" fmla="*/ 310 h 606"/>
                  <a:gd name="T66" fmla="*/ 172 w 612"/>
                  <a:gd name="T67" fmla="*/ 301 h 606"/>
                  <a:gd name="T68" fmla="*/ 56 w 612"/>
                  <a:gd name="T69" fmla="*/ 301 h 606"/>
                  <a:gd name="T70" fmla="*/ 43 w 612"/>
                  <a:gd name="T71" fmla="*/ 291 h 606"/>
                  <a:gd name="T72" fmla="*/ 31 w 612"/>
                  <a:gd name="T73" fmla="*/ 288 h 606"/>
                  <a:gd name="T74" fmla="*/ 19 w 612"/>
                  <a:gd name="T75" fmla="*/ 294 h 606"/>
                  <a:gd name="T76" fmla="*/ 0 w 612"/>
                  <a:gd name="T77" fmla="*/ 297 h 606"/>
                  <a:gd name="T78" fmla="*/ 0 w 612"/>
                  <a:gd name="T79" fmla="*/ 272 h 606"/>
                  <a:gd name="T80" fmla="*/ 3 w 612"/>
                  <a:gd name="T81" fmla="*/ 257 h 606"/>
                  <a:gd name="T82" fmla="*/ 9 w 612"/>
                  <a:gd name="T83" fmla="*/ 238 h 606"/>
                  <a:gd name="T84" fmla="*/ 15 w 612"/>
                  <a:gd name="T85" fmla="*/ 223 h 606"/>
                  <a:gd name="T86" fmla="*/ 15 w 612"/>
                  <a:gd name="T87" fmla="*/ 207 h 606"/>
                  <a:gd name="T88" fmla="*/ 19 w 612"/>
                  <a:gd name="T89" fmla="*/ 200 h 606"/>
                  <a:gd name="T90" fmla="*/ 22 w 612"/>
                  <a:gd name="T91" fmla="*/ 195 h 606"/>
                  <a:gd name="T92" fmla="*/ 35 w 612"/>
                  <a:gd name="T93" fmla="*/ 178 h 606"/>
                  <a:gd name="T94" fmla="*/ 43 w 612"/>
                  <a:gd name="T95" fmla="*/ 172 h 606"/>
                  <a:gd name="T96" fmla="*/ 50 w 612"/>
                  <a:gd name="T97" fmla="*/ 162 h 606"/>
                  <a:gd name="T98" fmla="*/ 54 w 612"/>
                  <a:gd name="T99" fmla="*/ 144 h 606"/>
                  <a:gd name="T100" fmla="*/ 50 w 612"/>
                  <a:gd name="T101" fmla="*/ 125 h 606"/>
                  <a:gd name="T102" fmla="*/ 47 w 612"/>
                  <a:gd name="T103" fmla="*/ 113 h 606"/>
                  <a:gd name="T104" fmla="*/ 37 w 612"/>
                  <a:gd name="T105" fmla="*/ 100 h 606"/>
                  <a:gd name="T106" fmla="*/ 31 w 612"/>
                  <a:gd name="T107" fmla="*/ 82 h 606"/>
                  <a:gd name="T108" fmla="*/ 31 w 612"/>
                  <a:gd name="T109" fmla="*/ 84 h 606"/>
                  <a:gd name="T110" fmla="*/ 43 w 612"/>
                  <a:gd name="T111" fmla="*/ 71 h 606"/>
                  <a:gd name="T112" fmla="*/ 41 w 612"/>
                  <a:gd name="T113" fmla="*/ 63 h 606"/>
                  <a:gd name="T114" fmla="*/ 35 w 612"/>
                  <a:gd name="T115" fmla="*/ 47 h 606"/>
                  <a:gd name="T116" fmla="*/ 28 w 612"/>
                  <a:gd name="T117" fmla="*/ 31 h 606"/>
                  <a:gd name="T118" fmla="*/ 19 w 612"/>
                  <a:gd name="T119" fmla="*/ 15 h 606"/>
                  <a:gd name="T120" fmla="*/ 12 w 612"/>
                  <a:gd name="T121" fmla="*/ 6 h 606"/>
                  <a:gd name="T122" fmla="*/ 28 w 612"/>
                  <a:gd name="T123" fmla="*/ 6 h 60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12" h="606">
                    <a:moveTo>
                      <a:pt x="60" y="0"/>
                    </a:move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8" y="0"/>
                    </a:lnTo>
                    <a:lnTo>
                      <a:pt x="186" y="0"/>
                    </a:lnTo>
                    <a:lnTo>
                      <a:pt x="192" y="0"/>
                    </a:lnTo>
                    <a:lnTo>
                      <a:pt x="20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40" y="6"/>
                    </a:lnTo>
                    <a:lnTo>
                      <a:pt x="240" y="12"/>
                    </a:lnTo>
                    <a:lnTo>
                      <a:pt x="246" y="12"/>
                    </a:lnTo>
                    <a:lnTo>
                      <a:pt x="246" y="18"/>
                    </a:lnTo>
                    <a:lnTo>
                      <a:pt x="246" y="24"/>
                    </a:lnTo>
                    <a:lnTo>
                      <a:pt x="246" y="30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2" y="42"/>
                    </a:lnTo>
                    <a:lnTo>
                      <a:pt x="252" y="48"/>
                    </a:lnTo>
                    <a:lnTo>
                      <a:pt x="258" y="48"/>
                    </a:lnTo>
                    <a:lnTo>
                      <a:pt x="258" y="54"/>
                    </a:lnTo>
                    <a:lnTo>
                      <a:pt x="258" y="60"/>
                    </a:lnTo>
                    <a:lnTo>
                      <a:pt x="258" y="66"/>
                    </a:lnTo>
                    <a:lnTo>
                      <a:pt x="258" y="72"/>
                    </a:lnTo>
                    <a:lnTo>
                      <a:pt x="264" y="72"/>
                    </a:lnTo>
                    <a:lnTo>
                      <a:pt x="264" y="78"/>
                    </a:lnTo>
                    <a:lnTo>
                      <a:pt x="270" y="78"/>
                    </a:lnTo>
                    <a:lnTo>
                      <a:pt x="270" y="84"/>
                    </a:lnTo>
                    <a:lnTo>
                      <a:pt x="270" y="90"/>
                    </a:lnTo>
                    <a:lnTo>
                      <a:pt x="276" y="90"/>
                    </a:lnTo>
                    <a:lnTo>
                      <a:pt x="276" y="96"/>
                    </a:lnTo>
                    <a:lnTo>
                      <a:pt x="282" y="96"/>
                    </a:lnTo>
                    <a:lnTo>
                      <a:pt x="282" y="102"/>
                    </a:lnTo>
                    <a:lnTo>
                      <a:pt x="282" y="108"/>
                    </a:lnTo>
                    <a:lnTo>
                      <a:pt x="288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300" y="114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18" y="108"/>
                    </a:lnTo>
                    <a:lnTo>
                      <a:pt x="324" y="108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02"/>
                    </a:lnTo>
                    <a:lnTo>
                      <a:pt x="348" y="102"/>
                    </a:lnTo>
                    <a:lnTo>
                      <a:pt x="348" y="108"/>
                    </a:lnTo>
                    <a:lnTo>
                      <a:pt x="378" y="108"/>
                    </a:lnTo>
                    <a:lnTo>
                      <a:pt x="378" y="102"/>
                    </a:lnTo>
                    <a:lnTo>
                      <a:pt x="378" y="96"/>
                    </a:lnTo>
                    <a:lnTo>
                      <a:pt x="378" y="90"/>
                    </a:lnTo>
                    <a:lnTo>
                      <a:pt x="378" y="84"/>
                    </a:lnTo>
                    <a:lnTo>
                      <a:pt x="384" y="84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84" y="66"/>
                    </a:lnTo>
                    <a:lnTo>
                      <a:pt x="384" y="60"/>
                    </a:lnTo>
                    <a:lnTo>
                      <a:pt x="390" y="60"/>
                    </a:lnTo>
                    <a:lnTo>
                      <a:pt x="384" y="60"/>
                    </a:lnTo>
                    <a:lnTo>
                      <a:pt x="426" y="60"/>
                    </a:lnTo>
                    <a:lnTo>
                      <a:pt x="426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8" y="66"/>
                    </a:lnTo>
                    <a:lnTo>
                      <a:pt x="438" y="72"/>
                    </a:lnTo>
                    <a:lnTo>
                      <a:pt x="456" y="72"/>
                    </a:lnTo>
                    <a:lnTo>
                      <a:pt x="498" y="72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84"/>
                    </a:lnTo>
                    <a:lnTo>
                      <a:pt x="504" y="84"/>
                    </a:lnTo>
                    <a:lnTo>
                      <a:pt x="498" y="84"/>
                    </a:lnTo>
                    <a:lnTo>
                      <a:pt x="498" y="90"/>
                    </a:lnTo>
                    <a:lnTo>
                      <a:pt x="498" y="96"/>
                    </a:lnTo>
                    <a:lnTo>
                      <a:pt x="498" y="102"/>
                    </a:lnTo>
                    <a:lnTo>
                      <a:pt x="498" y="108"/>
                    </a:lnTo>
                    <a:lnTo>
                      <a:pt x="504" y="114"/>
                    </a:lnTo>
                    <a:lnTo>
                      <a:pt x="504" y="120"/>
                    </a:lnTo>
                    <a:lnTo>
                      <a:pt x="504" y="126"/>
                    </a:lnTo>
                    <a:lnTo>
                      <a:pt x="504" y="132"/>
                    </a:lnTo>
                    <a:lnTo>
                      <a:pt x="504" y="138"/>
                    </a:lnTo>
                    <a:lnTo>
                      <a:pt x="504" y="144"/>
                    </a:lnTo>
                    <a:lnTo>
                      <a:pt x="504" y="150"/>
                    </a:lnTo>
                    <a:lnTo>
                      <a:pt x="504" y="156"/>
                    </a:lnTo>
                    <a:lnTo>
                      <a:pt x="504" y="162"/>
                    </a:lnTo>
                    <a:lnTo>
                      <a:pt x="498" y="162"/>
                    </a:lnTo>
                    <a:lnTo>
                      <a:pt x="504" y="168"/>
                    </a:lnTo>
                    <a:lnTo>
                      <a:pt x="498" y="168"/>
                    </a:lnTo>
                    <a:lnTo>
                      <a:pt x="498" y="174"/>
                    </a:lnTo>
                    <a:lnTo>
                      <a:pt x="498" y="180"/>
                    </a:lnTo>
                    <a:lnTo>
                      <a:pt x="498" y="186"/>
                    </a:lnTo>
                    <a:lnTo>
                      <a:pt x="504" y="186"/>
                    </a:lnTo>
                    <a:lnTo>
                      <a:pt x="504" y="192"/>
                    </a:lnTo>
                    <a:lnTo>
                      <a:pt x="510" y="192"/>
                    </a:lnTo>
                    <a:lnTo>
                      <a:pt x="510" y="198"/>
                    </a:lnTo>
                    <a:lnTo>
                      <a:pt x="516" y="198"/>
                    </a:lnTo>
                    <a:lnTo>
                      <a:pt x="516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22" y="222"/>
                    </a:lnTo>
                    <a:lnTo>
                      <a:pt x="522" y="228"/>
                    </a:lnTo>
                    <a:lnTo>
                      <a:pt x="522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28" y="246"/>
                    </a:lnTo>
                    <a:lnTo>
                      <a:pt x="522" y="246"/>
                    </a:lnTo>
                    <a:lnTo>
                      <a:pt x="516" y="246"/>
                    </a:lnTo>
                    <a:lnTo>
                      <a:pt x="516" y="252"/>
                    </a:lnTo>
                    <a:lnTo>
                      <a:pt x="516" y="258"/>
                    </a:lnTo>
                    <a:lnTo>
                      <a:pt x="522" y="258"/>
                    </a:lnTo>
                    <a:lnTo>
                      <a:pt x="522" y="264"/>
                    </a:lnTo>
                    <a:lnTo>
                      <a:pt x="522" y="270"/>
                    </a:lnTo>
                    <a:lnTo>
                      <a:pt x="528" y="264"/>
                    </a:lnTo>
                    <a:lnTo>
                      <a:pt x="534" y="264"/>
                    </a:lnTo>
                    <a:lnTo>
                      <a:pt x="534" y="258"/>
                    </a:lnTo>
                    <a:lnTo>
                      <a:pt x="540" y="258"/>
                    </a:lnTo>
                    <a:lnTo>
                      <a:pt x="546" y="264"/>
                    </a:lnTo>
                    <a:lnTo>
                      <a:pt x="546" y="258"/>
                    </a:lnTo>
                    <a:lnTo>
                      <a:pt x="552" y="258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64" y="264"/>
                    </a:lnTo>
                    <a:lnTo>
                      <a:pt x="564" y="258"/>
                    </a:lnTo>
                    <a:lnTo>
                      <a:pt x="570" y="258"/>
                    </a:lnTo>
                    <a:lnTo>
                      <a:pt x="576" y="258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88" y="252"/>
                    </a:lnTo>
                    <a:lnTo>
                      <a:pt x="588" y="258"/>
                    </a:lnTo>
                    <a:lnTo>
                      <a:pt x="594" y="258"/>
                    </a:lnTo>
                    <a:lnTo>
                      <a:pt x="600" y="258"/>
                    </a:lnTo>
                    <a:lnTo>
                      <a:pt x="606" y="252"/>
                    </a:lnTo>
                    <a:lnTo>
                      <a:pt x="612" y="252"/>
                    </a:lnTo>
                    <a:lnTo>
                      <a:pt x="606" y="258"/>
                    </a:lnTo>
                    <a:lnTo>
                      <a:pt x="606" y="264"/>
                    </a:lnTo>
                    <a:lnTo>
                      <a:pt x="612" y="264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12" y="282"/>
                    </a:lnTo>
                    <a:lnTo>
                      <a:pt x="606" y="282"/>
                    </a:lnTo>
                    <a:lnTo>
                      <a:pt x="606" y="288"/>
                    </a:lnTo>
                    <a:lnTo>
                      <a:pt x="606" y="294"/>
                    </a:lnTo>
                    <a:lnTo>
                      <a:pt x="612" y="294"/>
                    </a:lnTo>
                    <a:lnTo>
                      <a:pt x="606" y="300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18"/>
                    </a:lnTo>
                    <a:lnTo>
                      <a:pt x="612" y="324"/>
                    </a:lnTo>
                    <a:lnTo>
                      <a:pt x="612" y="330"/>
                    </a:lnTo>
                    <a:lnTo>
                      <a:pt x="606" y="330"/>
                    </a:lnTo>
                    <a:lnTo>
                      <a:pt x="606" y="336"/>
                    </a:lnTo>
                    <a:lnTo>
                      <a:pt x="606" y="342"/>
                    </a:lnTo>
                    <a:lnTo>
                      <a:pt x="606" y="348"/>
                    </a:lnTo>
                    <a:lnTo>
                      <a:pt x="612" y="354"/>
                    </a:lnTo>
                    <a:lnTo>
                      <a:pt x="510" y="354"/>
                    </a:lnTo>
                    <a:lnTo>
                      <a:pt x="510" y="516"/>
                    </a:lnTo>
                    <a:lnTo>
                      <a:pt x="516" y="522"/>
                    </a:lnTo>
                    <a:lnTo>
                      <a:pt x="516" y="528"/>
                    </a:lnTo>
                    <a:lnTo>
                      <a:pt x="516" y="534"/>
                    </a:lnTo>
                    <a:lnTo>
                      <a:pt x="522" y="534"/>
                    </a:lnTo>
                    <a:lnTo>
                      <a:pt x="528" y="540"/>
                    </a:lnTo>
                    <a:lnTo>
                      <a:pt x="534" y="546"/>
                    </a:lnTo>
                    <a:lnTo>
                      <a:pt x="540" y="552"/>
                    </a:lnTo>
                    <a:lnTo>
                      <a:pt x="540" y="558"/>
                    </a:lnTo>
                    <a:lnTo>
                      <a:pt x="546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70"/>
                    </a:lnTo>
                    <a:lnTo>
                      <a:pt x="564" y="570"/>
                    </a:lnTo>
                    <a:lnTo>
                      <a:pt x="564" y="576"/>
                    </a:lnTo>
                    <a:lnTo>
                      <a:pt x="570" y="576"/>
                    </a:lnTo>
                    <a:lnTo>
                      <a:pt x="570" y="582"/>
                    </a:lnTo>
                    <a:lnTo>
                      <a:pt x="576" y="582"/>
                    </a:lnTo>
                    <a:lnTo>
                      <a:pt x="582" y="582"/>
                    </a:lnTo>
                    <a:lnTo>
                      <a:pt x="582" y="588"/>
                    </a:lnTo>
                    <a:lnTo>
                      <a:pt x="552" y="588"/>
                    </a:lnTo>
                    <a:lnTo>
                      <a:pt x="480" y="606"/>
                    </a:lnTo>
                    <a:lnTo>
                      <a:pt x="474" y="600"/>
                    </a:lnTo>
                    <a:lnTo>
                      <a:pt x="468" y="600"/>
                    </a:lnTo>
                    <a:lnTo>
                      <a:pt x="462" y="600"/>
                    </a:lnTo>
                    <a:lnTo>
                      <a:pt x="456" y="600"/>
                    </a:lnTo>
                    <a:lnTo>
                      <a:pt x="456" y="606"/>
                    </a:lnTo>
                    <a:lnTo>
                      <a:pt x="450" y="606"/>
                    </a:lnTo>
                    <a:lnTo>
                      <a:pt x="444" y="606"/>
                    </a:lnTo>
                    <a:lnTo>
                      <a:pt x="444" y="600"/>
                    </a:lnTo>
                    <a:lnTo>
                      <a:pt x="438" y="600"/>
                    </a:lnTo>
                    <a:lnTo>
                      <a:pt x="432" y="600"/>
                    </a:lnTo>
                    <a:lnTo>
                      <a:pt x="426" y="600"/>
                    </a:lnTo>
                    <a:lnTo>
                      <a:pt x="426" y="594"/>
                    </a:lnTo>
                    <a:lnTo>
                      <a:pt x="426" y="600"/>
                    </a:lnTo>
                    <a:lnTo>
                      <a:pt x="420" y="600"/>
                    </a:lnTo>
                    <a:lnTo>
                      <a:pt x="414" y="600"/>
                    </a:lnTo>
                    <a:lnTo>
                      <a:pt x="408" y="600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396" y="600"/>
                    </a:lnTo>
                    <a:lnTo>
                      <a:pt x="396" y="594"/>
                    </a:lnTo>
                    <a:lnTo>
                      <a:pt x="390" y="594"/>
                    </a:lnTo>
                    <a:lnTo>
                      <a:pt x="390" y="600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78" y="600"/>
                    </a:lnTo>
                    <a:lnTo>
                      <a:pt x="378" y="594"/>
                    </a:lnTo>
                    <a:lnTo>
                      <a:pt x="372" y="594"/>
                    </a:lnTo>
                    <a:lnTo>
                      <a:pt x="366" y="594"/>
                    </a:lnTo>
                    <a:lnTo>
                      <a:pt x="360" y="594"/>
                    </a:lnTo>
                    <a:lnTo>
                      <a:pt x="354" y="594"/>
                    </a:lnTo>
                    <a:lnTo>
                      <a:pt x="348" y="594"/>
                    </a:lnTo>
                    <a:lnTo>
                      <a:pt x="348" y="588"/>
                    </a:lnTo>
                    <a:lnTo>
                      <a:pt x="342" y="588"/>
                    </a:lnTo>
                    <a:lnTo>
                      <a:pt x="342" y="582"/>
                    </a:lnTo>
                    <a:lnTo>
                      <a:pt x="336" y="582"/>
                    </a:lnTo>
                    <a:lnTo>
                      <a:pt x="336" y="576"/>
                    </a:lnTo>
                    <a:lnTo>
                      <a:pt x="330" y="576"/>
                    </a:lnTo>
                    <a:lnTo>
                      <a:pt x="264" y="576"/>
                    </a:lnTo>
                    <a:lnTo>
                      <a:pt x="258" y="576"/>
                    </a:lnTo>
                    <a:lnTo>
                      <a:pt x="144" y="576"/>
                    </a:lnTo>
                    <a:lnTo>
                      <a:pt x="120" y="570"/>
                    </a:lnTo>
                    <a:lnTo>
                      <a:pt x="120" y="576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08" y="570"/>
                    </a:lnTo>
                    <a:lnTo>
                      <a:pt x="102" y="570"/>
                    </a:lnTo>
                    <a:lnTo>
                      <a:pt x="96" y="570"/>
                    </a:lnTo>
                    <a:lnTo>
                      <a:pt x="96" y="564"/>
                    </a:lnTo>
                    <a:lnTo>
                      <a:pt x="90" y="564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84" y="552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66" y="552"/>
                    </a:lnTo>
                    <a:lnTo>
                      <a:pt x="60" y="552"/>
                    </a:lnTo>
                    <a:lnTo>
                      <a:pt x="54" y="558"/>
                    </a:lnTo>
                    <a:lnTo>
                      <a:pt x="48" y="558"/>
                    </a:lnTo>
                    <a:lnTo>
                      <a:pt x="48" y="564"/>
                    </a:lnTo>
                    <a:lnTo>
                      <a:pt x="42" y="564"/>
                    </a:lnTo>
                    <a:lnTo>
                      <a:pt x="36" y="564"/>
                    </a:lnTo>
                    <a:lnTo>
                      <a:pt x="36" y="570"/>
                    </a:lnTo>
                    <a:lnTo>
                      <a:pt x="36" y="564"/>
                    </a:lnTo>
                    <a:lnTo>
                      <a:pt x="30" y="564"/>
                    </a:lnTo>
                    <a:lnTo>
                      <a:pt x="24" y="564"/>
                    </a:lnTo>
                    <a:lnTo>
                      <a:pt x="18" y="564"/>
                    </a:lnTo>
                    <a:lnTo>
                      <a:pt x="12" y="564"/>
                    </a:lnTo>
                    <a:lnTo>
                      <a:pt x="6" y="564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0" y="564"/>
                    </a:lnTo>
                    <a:lnTo>
                      <a:pt x="0" y="552"/>
                    </a:lnTo>
                    <a:lnTo>
                      <a:pt x="0" y="546"/>
                    </a:lnTo>
                    <a:lnTo>
                      <a:pt x="6" y="540"/>
                    </a:lnTo>
                    <a:lnTo>
                      <a:pt x="6" y="534"/>
                    </a:lnTo>
                    <a:lnTo>
                      <a:pt x="6" y="528"/>
                    </a:lnTo>
                    <a:lnTo>
                      <a:pt x="0" y="522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0" y="498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6" y="486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8" y="462"/>
                    </a:lnTo>
                    <a:lnTo>
                      <a:pt x="18" y="456"/>
                    </a:lnTo>
                    <a:lnTo>
                      <a:pt x="18" y="450"/>
                    </a:lnTo>
                    <a:lnTo>
                      <a:pt x="24" y="450"/>
                    </a:lnTo>
                    <a:lnTo>
                      <a:pt x="24" y="444"/>
                    </a:lnTo>
                    <a:lnTo>
                      <a:pt x="24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0" y="426"/>
                    </a:lnTo>
                    <a:lnTo>
                      <a:pt x="30" y="420"/>
                    </a:lnTo>
                    <a:lnTo>
                      <a:pt x="30" y="414"/>
                    </a:lnTo>
                    <a:lnTo>
                      <a:pt x="30" y="408"/>
                    </a:lnTo>
                    <a:lnTo>
                      <a:pt x="30" y="402"/>
                    </a:lnTo>
                    <a:lnTo>
                      <a:pt x="36" y="402"/>
                    </a:lnTo>
                    <a:lnTo>
                      <a:pt x="30" y="402"/>
                    </a:lnTo>
                    <a:lnTo>
                      <a:pt x="30" y="396"/>
                    </a:lnTo>
                    <a:lnTo>
                      <a:pt x="36" y="396"/>
                    </a:lnTo>
                    <a:lnTo>
                      <a:pt x="36" y="390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78"/>
                    </a:lnTo>
                    <a:lnTo>
                      <a:pt x="42" y="378"/>
                    </a:lnTo>
                    <a:lnTo>
                      <a:pt x="36" y="378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72"/>
                    </a:lnTo>
                    <a:lnTo>
                      <a:pt x="42" y="366"/>
                    </a:lnTo>
                    <a:lnTo>
                      <a:pt x="48" y="366"/>
                    </a:lnTo>
                    <a:lnTo>
                      <a:pt x="54" y="360"/>
                    </a:lnTo>
                    <a:lnTo>
                      <a:pt x="60" y="354"/>
                    </a:lnTo>
                    <a:lnTo>
                      <a:pt x="60" y="348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72" y="336"/>
                    </a:lnTo>
                    <a:lnTo>
                      <a:pt x="78" y="336"/>
                    </a:lnTo>
                    <a:lnTo>
                      <a:pt x="84" y="336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6" y="318"/>
                    </a:lnTo>
                    <a:lnTo>
                      <a:pt x="96" y="312"/>
                    </a:lnTo>
                    <a:lnTo>
                      <a:pt x="96" y="306"/>
                    </a:lnTo>
                    <a:lnTo>
                      <a:pt x="102" y="306"/>
                    </a:lnTo>
                    <a:lnTo>
                      <a:pt x="102" y="300"/>
                    </a:lnTo>
                    <a:lnTo>
                      <a:pt x="102" y="294"/>
                    </a:lnTo>
                    <a:lnTo>
                      <a:pt x="102" y="288"/>
                    </a:lnTo>
                    <a:lnTo>
                      <a:pt x="102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2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34"/>
                    </a:lnTo>
                    <a:lnTo>
                      <a:pt x="90" y="228"/>
                    </a:lnTo>
                    <a:lnTo>
                      <a:pt x="90" y="222"/>
                    </a:lnTo>
                    <a:lnTo>
                      <a:pt x="84" y="216"/>
                    </a:lnTo>
                    <a:lnTo>
                      <a:pt x="90" y="222"/>
                    </a:lnTo>
                    <a:lnTo>
                      <a:pt x="90" y="216"/>
                    </a:lnTo>
                    <a:lnTo>
                      <a:pt x="84" y="216"/>
                    </a:lnTo>
                    <a:lnTo>
                      <a:pt x="84" y="210"/>
                    </a:lnTo>
                    <a:lnTo>
                      <a:pt x="78" y="210"/>
                    </a:lnTo>
                    <a:lnTo>
                      <a:pt x="78" y="204"/>
                    </a:lnTo>
                    <a:lnTo>
                      <a:pt x="78" y="198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72" y="174"/>
                    </a:lnTo>
                    <a:lnTo>
                      <a:pt x="66" y="174"/>
                    </a:lnTo>
                    <a:lnTo>
                      <a:pt x="66" y="168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6" y="156"/>
                    </a:lnTo>
                    <a:lnTo>
                      <a:pt x="72" y="156"/>
                    </a:lnTo>
                    <a:lnTo>
                      <a:pt x="72" y="150"/>
                    </a:lnTo>
                    <a:lnTo>
                      <a:pt x="72" y="144"/>
                    </a:lnTo>
                    <a:lnTo>
                      <a:pt x="78" y="144"/>
                    </a:lnTo>
                    <a:lnTo>
                      <a:pt x="84" y="144"/>
                    </a:lnTo>
                    <a:lnTo>
                      <a:pt x="84" y="138"/>
                    </a:lnTo>
                    <a:lnTo>
                      <a:pt x="78" y="138"/>
                    </a:lnTo>
                    <a:lnTo>
                      <a:pt x="78" y="132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78" y="120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72" y="102"/>
                    </a:lnTo>
                    <a:lnTo>
                      <a:pt x="66" y="102"/>
                    </a:lnTo>
                    <a:lnTo>
                      <a:pt x="66" y="96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85" name="Freeform 60"/>
              <p:cNvSpPr>
                <a:spLocks noChangeAspect="1"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565" y="2549"/>
                <a:ext cx="46" cy="57"/>
              </a:xfrm>
              <a:custGeom>
                <a:avLst/>
                <a:gdLst>
                  <a:gd name="T0" fmla="*/ 0 w 54"/>
                  <a:gd name="T1" fmla="*/ 16 h 66"/>
                  <a:gd name="T2" fmla="*/ 3 w 54"/>
                  <a:gd name="T3" fmla="*/ 14 h 66"/>
                  <a:gd name="T4" fmla="*/ 7 w 54"/>
                  <a:gd name="T5" fmla="*/ 10 h 66"/>
                  <a:gd name="T6" fmla="*/ 9 w 54"/>
                  <a:gd name="T7" fmla="*/ 10 h 66"/>
                  <a:gd name="T8" fmla="*/ 9 w 54"/>
                  <a:gd name="T9" fmla="*/ 7 h 66"/>
                  <a:gd name="T10" fmla="*/ 12 w 54"/>
                  <a:gd name="T11" fmla="*/ 7 h 66"/>
                  <a:gd name="T12" fmla="*/ 16 w 54"/>
                  <a:gd name="T13" fmla="*/ 3 h 66"/>
                  <a:gd name="T14" fmla="*/ 19 w 54"/>
                  <a:gd name="T15" fmla="*/ 3 h 66"/>
                  <a:gd name="T16" fmla="*/ 19 w 54"/>
                  <a:gd name="T17" fmla="*/ 0 h 66"/>
                  <a:gd name="T18" fmla="*/ 22 w 54"/>
                  <a:gd name="T19" fmla="*/ 0 h 66"/>
                  <a:gd name="T20" fmla="*/ 22 w 54"/>
                  <a:gd name="T21" fmla="*/ 3 h 66"/>
                  <a:gd name="T22" fmla="*/ 26 w 54"/>
                  <a:gd name="T23" fmla="*/ 3 h 66"/>
                  <a:gd name="T24" fmla="*/ 26 w 54"/>
                  <a:gd name="T25" fmla="*/ 7 h 66"/>
                  <a:gd name="T26" fmla="*/ 28 w 54"/>
                  <a:gd name="T27" fmla="*/ 7 h 66"/>
                  <a:gd name="T28" fmla="*/ 26 w 54"/>
                  <a:gd name="T29" fmla="*/ 7 h 66"/>
                  <a:gd name="T30" fmla="*/ 26 w 54"/>
                  <a:gd name="T31" fmla="*/ 10 h 66"/>
                  <a:gd name="T32" fmla="*/ 22 w 54"/>
                  <a:gd name="T33" fmla="*/ 10 h 66"/>
                  <a:gd name="T34" fmla="*/ 22 w 54"/>
                  <a:gd name="T35" fmla="*/ 14 h 66"/>
                  <a:gd name="T36" fmla="*/ 19 w 54"/>
                  <a:gd name="T37" fmla="*/ 14 h 66"/>
                  <a:gd name="T38" fmla="*/ 19 w 54"/>
                  <a:gd name="T39" fmla="*/ 16 h 66"/>
                  <a:gd name="T40" fmla="*/ 19 w 54"/>
                  <a:gd name="T41" fmla="*/ 14 h 66"/>
                  <a:gd name="T42" fmla="*/ 19 w 54"/>
                  <a:gd name="T43" fmla="*/ 16 h 66"/>
                  <a:gd name="T44" fmla="*/ 16 w 54"/>
                  <a:gd name="T45" fmla="*/ 16 h 66"/>
                  <a:gd name="T46" fmla="*/ 12 w 54"/>
                  <a:gd name="T47" fmla="*/ 16 h 66"/>
                  <a:gd name="T48" fmla="*/ 12 w 54"/>
                  <a:gd name="T49" fmla="*/ 20 h 66"/>
                  <a:gd name="T50" fmla="*/ 12 w 54"/>
                  <a:gd name="T51" fmla="*/ 23 h 66"/>
                  <a:gd name="T52" fmla="*/ 12 w 54"/>
                  <a:gd name="T53" fmla="*/ 36 h 66"/>
                  <a:gd name="T54" fmla="*/ 7 w 54"/>
                  <a:gd name="T55" fmla="*/ 36 h 66"/>
                  <a:gd name="T56" fmla="*/ 3 w 54"/>
                  <a:gd name="T57" fmla="*/ 36 h 66"/>
                  <a:gd name="T58" fmla="*/ 3 w 54"/>
                  <a:gd name="T59" fmla="*/ 34 h 66"/>
                  <a:gd name="T60" fmla="*/ 3 w 54"/>
                  <a:gd name="T61" fmla="*/ 30 h 66"/>
                  <a:gd name="T62" fmla="*/ 7 w 54"/>
                  <a:gd name="T63" fmla="*/ 30 h 66"/>
                  <a:gd name="T64" fmla="*/ 7 w 54"/>
                  <a:gd name="T65" fmla="*/ 26 h 66"/>
                  <a:gd name="T66" fmla="*/ 3 w 54"/>
                  <a:gd name="T67" fmla="*/ 26 h 66"/>
                  <a:gd name="T68" fmla="*/ 3 w 54"/>
                  <a:gd name="T69" fmla="*/ 23 h 66"/>
                  <a:gd name="T70" fmla="*/ 3 w 54"/>
                  <a:gd name="T71" fmla="*/ 20 h 66"/>
                  <a:gd name="T72" fmla="*/ 0 w 54"/>
                  <a:gd name="T73" fmla="*/ 16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54" h="66">
                    <a:moveTo>
                      <a:pt x="0" y="30"/>
                    </a:move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4612" name="Freeform 61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4443" y="2061"/>
              <a:ext cx="359" cy="315"/>
            </a:xfrm>
            <a:custGeom>
              <a:avLst/>
              <a:gdLst>
                <a:gd name="T0" fmla="*/ 17 w 582"/>
                <a:gd name="T1" fmla="*/ 25 h 486"/>
                <a:gd name="T2" fmla="*/ 19 w 582"/>
                <a:gd name="T3" fmla="*/ 27 h 486"/>
                <a:gd name="T4" fmla="*/ 23 w 582"/>
                <a:gd name="T5" fmla="*/ 25 h 486"/>
                <a:gd name="T6" fmla="*/ 25 w 582"/>
                <a:gd name="T7" fmla="*/ 30 h 486"/>
                <a:gd name="T8" fmla="*/ 30 w 582"/>
                <a:gd name="T9" fmla="*/ 32 h 486"/>
                <a:gd name="T10" fmla="*/ 34 w 582"/>
                <a:gd name="T11" fmla="*/ 33 h 486"/>
                <a:gd name="T12" fmla="*/ 37 w 582"/>
                <a:gd name="T13" fmla="*/ 29 h 486"/>
                <a:gd name="T14" fmla="*/ 39 w 582"/>
                <a:gd name="T15" fmla="*/ 34 h 486"/>
                <a:gd name="T16" fmla="*/ 43 w 582"/>
                <a:gd name="T17" fmla="*/ 37 h 486"/>
                <a:gd name="T18" fmla="*/ 46 w 582"/>
                <a:gd name="T19" fmla="*/ 39 h 486"/>
                <a:gd name="T20" fmla="*/ 49 w 582"/>
                <a:gd name="T21" fmla="*/ 43 h 486"/>
                <a:gd name="T22" fmla="*/ 52 w 582"/>
                <a:gd name="T23" fmla="*/ 45 h 486"/>
                <a:gd name="T24" fmla="*/ 56 w 582"/>
                <a:gd name="T25" fmla="*/ 45 h 486"/>
                <a:gd name="T26" fmla="*/ 53 w 582"/>
                <a:gd name="T27" fmla="*/ 36 h 486"/>
                <a:gd name="T28" fmla="*/ 49 w 582"/>
                <a:gd name="T29" fmla="*/ 34 h 486"/>
                <a:gd name="T30" fmla="*/ 46 w 582"/>
                <a:gd name="T31" fmla="*/ 30 h 486"/>
                <a:gd name="T32" fmla="*/ 46 w 582"/>
                <a:gd name="T33" fmla="*/ 25 h 486"/>
                <a:gd name="T34" fmla="*/ 48 w 582"/>
                <a:gd name="T35" fmla="*/ 20 h 486"/>
                <a:gd name="T36" fmla="*/ 48 w 582"/>
                <a:gd name="T37" fmla="*/ 15 h 486"/>
                <a:gd name="T38" fmla="*/ 47 w 582"/>
                <a:gd name="T39" fmla="*/ 12 h 486"/>
                <a:gd name="T40" fmla="*/ 46 w 582"/>
                <a:gd name="T41" fmla="*/ 8 h 486"/>
                <a:gd name="T42" fmla="*/ 49 w 582"/>
                <a:gd name="T43" fmla="*/ 2 h 486"/>
                <a:gd name="T44" fmla="*/ 62 w 582"/>
                <a:gd name="T45" fmla="*/ 0 h 486"/>
                <a:gd name="T46" fmla="*/ 68 w 582"/>
                <a:gd name="T47" fmla="*/ 3 h 486"/>
                <a:gd name="T48" fmla="*/ 71 w 582"/>
                <a:gd name="T49" fmla="*/ 6 h 486"/>
                <a:gd name="T50" fmla="*/ 76 w 582"/>
                <a:gd name="T51" fmla="*/ 8 h 486"/>
                <a:gd name="T52" fmla="*/ 79 w 582"/>
                <a:gd name="T53" fmla="*/ 12 h 486"/>
                <a:gd name="T54" fmla="*/ 82 w 582"/>
                <a:gd name="T55" fmla="*/ 14 h 486"/>
                <a:gd name="T56" fmla="*/ 83 w 582"/>
                <a:gd name="T57" fmla="*/ 20 h 486"/>
                <a:gd name="T58" fmla="*/ 81 w 582"/>
                <a:gd name="T59" fmla="*/ 23 h 486"/>
                <a:gd name="T60" fmla="*/ 81 w 582"/>
                <a:gd name="T61" fmla="*/ 29 h 486"/>
                <a:gd name="T62" fmla="*/ 81 w 582"/>
                <a:gd name="T63" fmla="*/ 33 h 486"/>
                <a:gd name="T64" fmla="*/ 82 w 582"/>
                <a:gd name="T65" fmla="*/ 37 h 486"/>
                <a:gd name="T66" fmla="*/ 78 w 582"/>
                <a:gd name="T67" fmla="*/ 40 h 486"/>
                <a:gd name="T68" fmla="*/ 78 w 582"/>
                <a:gd name="T69" fmla="*/ 45 h 486"/>
                <a:gd name="T70" fmla="*/ 78 w 582"/>
                <a:gd name="T71" fmla="*/ 47 h 486"/>
                <a:gd name="T72" fmla="*/ 79 w 582"/>
                <a:gd name="T73" fmla="*/ 50 h 486"/>
                <a:gd name="T74" fmla="*/ 71 w 582"/>
                <a:gd name="T75" fmla="*/ 54 h 486"/>
                <a:gd name="T76" fmla="*/ 62 w 582"/>
                <a:gd name="T77" fmla="*/ 57 h 486"/>
                <a:gd name="T78" fmla="*/ 60 w 582"/>
                <a:gd name="T79" fmla="*/ 62 h 486"/>
                <a:gd name="T80" fmla="*/ 56 w 582"/>
                <a:gd name="T81" fmla="*/ 65 h 486"/>
                <a:gd name="T82" fmla="*/ 51 w 582"/>
                <a:gd name="T83" fmla="*/ 67 h 486"/>
                <a:gd name="T84" fmla="*/ 49 w 582"/>
                <a:gd name="T85" fmla="*/ 69 h 486"/>
                <a:gd name="T86" fmla="*/ 48 w 582"/>
                <a:gd name="T87" fmla="*/ 73 h 486"/>
                <a:gd name="T88" fmla="*/ 38 w 582"/>
                <a:gd name="T89" fmla="*/ 82 h 486"/>
                <a:gd name="T90" fmla="*/ 35 w 582"/>
                <a:gd name="T91" fmla="*/ 85 h 486"/>
                <a:gd name="T92" fmla="*/ 30 w 582"/>
                <a:gd name="T93" fmla="*/ 85 h 486"/>
                <a:gd name="T94" fmla="*/ 27 w 582"/>
                <a:gd name="T95" fmla="*/ 84 h 486"/>
                <a:gd name="T96" fmla="*/ 22 w 582"/>
                <a:gd name="T97" fmla="*/ 84 h 486"/>
                <a:gd name="T98" fmla="*/ 19 w 582"/>
                <a:gd name="T99" fmla="*/ 80 h 486"/>
                <a:gd name="T100" fmla="*/ 10 w 582"/>
                <a:gd name="T101" fmla="*/ 82 h 486"/>
                <a:gd name="T102" fmla="*/ 7 w 582"/>
                <a:gd name="T103" fmla="*/ 80 h 486"/>
                <a:gd name="T104" fmla="*/ 2 w 582"/>
                <a:gd name="T105" fmla="*/ 74 h 486"/>
                <a:gd name="T106" fmla="*/ 15 w 582"/>
                <a:gd name="T107" fmla="*/ 41 h 486"/>
                <a:gd name="T108" fmla="*/ 15 w 582"/>
                <a:gd name="T109" fmla="*/ 35 h 486"/>
                <a:gd name="T110" fmla="*/ 14 w 582"/>
                <a:gd name="T111" fmla="*/ 30 h 486"/>
                <a:gd name="T112" fmla="*/ 14 w 582"/>
                <a:gd name="T113" fmla="*/ 25 h 4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582" h="486">
                  <a:moveTo>
                    <a:pt x="96" y="132"/>
                  </a:moveTo>
                  <a:lnTo>
                    <a:pt x="102" y="132"/>
                  </a:lnTo>
                  <a:lnTo>
                    <a:pt x="108" y="132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44" y="150"/>
                  </a:lnTo>
                  <a:lnTo>
                    <a:pt x="150" y="150"/>
                  </a:lnTo>
                  <a:lnTo>
                    <a:pt x="156" y="150"/>
                  </a:lnTo>
                  <a:lnTo>
                    <a:pt x="162" y="144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62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80"/>
                  </a:lnTo>
                  <a:lnTo>
                    <a:pt x="210" y="180"/>
                  </a:lnTo>
                  <a:lnTo>
                    <a:pt x="210" y="186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22" y="180"/>
                  </a:lnTo>
                  <a:lnTo>
                    <a:pt x="222" y="186"/>
                  </a:lnTo>
                  <a:lnTo>
                    <a:pt x="228" y="186"/>
                  </a:lnTo>
                  <a:lnTo>
                    <a:pt x="234" y="186"/>
                  </a:lnTo>
                  <a:lnTo>
                    <a:pt x="240" y="186"/>
                  </a:lnTo>
                  <a:lnTo>
                    <a:pt x="246" y="180"/>
                  </a:lnTo>
                  <a:lnTo>
                    <a:pt x="246" y="174"/>
                  </a:lnTo>
                  <a:lnTo>
                    <a:pt x="252" y="168"/>
                  </a:lnTo>
                  <a:lnTo>
                    <a:pt x="246" y="168"/>
                  </a:lnTo>
                  <a:lnTo>
                    <a:pt x="252" y="168"/>
                  </a:lnTo>
                  <a:lnTo>
                    <a:pt x="258" y="162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64" y="174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0" y="186"/>
                  </a:lnTo>
                  <a:lnTo>
                    <a:pt x="270" y="192"/>
                  </a:lnTo>
                  <a:lnTo>
                    <a:pt x="276" y="198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0" y="210"/>
                  </a:lnTo>
                  <a:lnTo>
                    <a:pt x="306" y="204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18" y="222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48" y="258"/>
                  </a:lnTo>
                  <a:lnTo>
                    <a:pt x="348" y="252"/>
                  </a:lnTo>
                  <a:lnTo>
                    <a:pt x="354" y="252"/>
                  </a:lnTo>
                  <a:lnTo>
                    <a:pt x="354" y="258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84" y="258"/>
                  </a:lnTo>
                  <a:lnTo>
                    <a:pt x="384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66" y="204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66" y="204"/>
                  </a:lnTo>
                  <a:lnTo>
                    <a:pt x="360" y="204"/>
                  </a:lnTo>
                  <a:lnTo>
                    <a:pt x="354" y="204"/>
                  </a:lnTo>
                  <a:lnTo>
                    <a:pt x="348" y="204"/>
                  </a:lnTo>
                  <a:lnTo>
                    <a:pt x="348" y="198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80"/>
                  </a:lnTo>
                  <a:lnTo>
                    <a:pt x="324" y="180"/>
                  </a:lnTo>
                  <a:lnTo>
                    <a:pt x="318" y="174"/>
                  </a:lnTo>
                  <a:lnTo>
                    <a:pt x="318" y="180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18" y="156"/>
                  </a:lnTo>
                  <a:lnTo>
                    <a:pt x="318" y="150"/>
                  </a:lnTo>
                  <a:lnTo>
                    <a:pt x="318" y="144"/>
                  </a:lnTo>
                  <a:lnTo>
                    <a:pt x="324" y="144"/>
                  </a:lnTo>
                  <a:lnTo>
                    <a:pt x="318" y="144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24" y="132"/>
                  </a:lnTo>
                  <a:lnTo>
                    <a:pt x="324" y="126"/>
                  </a:lnTo>
                  <a:lnTo>
                    <a:pt x="324" y="120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30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30" y="96"/>
                  </a:lnTo>
                  <a:lnTo>
                    <a:pt x="330" y="90"/>
                  </a:lnTo>
                  <a:lnTo>
                    <a:pt x="330" y="84"/>
                  </a:lnTo>
                  <a:lnTo>
                    <a:pt x="330" y="78"/>
                  </a:lnTo>
                  <a:lnTo>
                    <a:pt x="330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24" y="54"/>
                  </a:lnTo>
                  <a:lnTo>
                    <a:pt x="318" y="54"/>
                  </a:lnTo>
                  <a:lnTo>
                    <a:pt x="318" y="60"/>
                  </a:lnTo>
                  <a:lnTo>
                    <a:pt x="318" y="54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6"/>
                  </a:lnTo>
                  <a:lnTo>
                    <a:pt x="342" y="24"/>
                  </a:lnTo>
                  <a:lnTo>
                    <a:pt x="342" y="18"/>
                  </a:lnTo>
                  <a:lnTo>
                    <a:pt x="342" y="12"/>
                  </a:lnTo>
                  <a:lnTo>
                    <a:pt x="378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14" y="0"/>
                  </a:lnTo>
                  <a:lnTo>
                    <a:pt x="426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38" y="6"/>
                  </a:lnTo>
                  <a:lnTo>
                    <a:pt x="444" y="18"/>
                  </a:lnTo>
                  <a:lnTo>
                    <a:pt x="450" y="18"/>
                  </a:lnTo>
                  <a:lnTo>
                    <a:pt x="456" y="18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74" y="30"/>
                  </a:lnTo>
                  <a:lnTo>
                    <a:pt x="480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36"/>
                  </a:lnTo>
                  <a:lnTo>
                    <a:pt x="492" y="42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2" y="48"/>
                  </a:lnTo>
                  <a:lnTo>
                    <a:pt x="528" y="48"/>
                  </a:lnTo>
                  <a:lnTo>
                    <a:pt x="534" y="48"/>
                  </a:lnTo>
                  <a:lnTo>
                    <a:pt x="534" y="54"/>
                  </a:lnTo>
                  <a:lnTo>
                    <a:pt x="540" y="54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6" y="66"/>
                  </a:lnTo>
                  <a:lnTo>
                    <a:pt x="546" y="72"/>
                  </a:lnTo>
                  <a:lnTo>
                    <a:pt x="552" y="72"/>
                  </a:lnTo>
                  <a:lnTo>
                    <a:pt x="552" y="66"/>
                  </a:lnTo>
                  <a:lnTo>
                    <a:pt x="558" y="66"/>
                  </a:lnTo>
                  <a:lnTo>
                    <a:pt x="558" y="72"/>
                  </a:lnTo>
                  <a:lnTo>
                    <a:pt x="558" y="78"/>
                  </a:lnTo>
                  <a:lnTo>
                    <a:pt x="564" y="78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64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6" y="108"/>
                  </a:lnTo>
                  <a:lnTo>
                    <a:pt x="576" y="114"/>
                  </a:lnTo>
                  <a:lnTo>
                    <a:pt x="582" y="114"/>
                  </a:lnTo>
                  <a:lnTo>
                    <a:pt x="576" y="114"/>
                  </a:lnTo>
                  <a:lnTo>
                    <a:pt x="576" y="120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32"/>
                  </a:lnTo>
                  <a:lnTo>
                    <a:pt x="558" y="138"/>
                  </a:lnTo>
                  <a:lnTo>
                    <a:pt x="564" y="138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58" y="150"/>
                  </a:lnTo>
                  <a:lnTo>
                    <a:pt x="558" y="156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74"/>
                  </a:lnTo>
                  <a:lnTo>
                    <a:pt x="564" y="174"/>
                  </a:lnTo>
                  <a:lnTo>
                    <a:pt x="558" y="180"/>
                  </a:lnTo>
                  <a:lnTo>
                    <a:pt x="558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64" y="198"/>
                  </a:lnTo>
                  <a:lnTo>
                    <a:pt x="564" y="204"/>
                  </a:lnTo>
                  <a:lnTo>
                    <a:pt x="570" y="204"/>
                  </a:lnTo>
                  <a:lnTo>
                    <a:pt x="570" y="210"/>
                  </a:lnTo>
                  <a:lnTo>
                    <a:pt x="564" y="210"/>
                  </a:lnTo>
                  <a:lnTo>
                    <a:pt x="558" y="210"/>
                  </a:lnTo>
                  <a:lnTo>
                    <a:pt x="558" y="216"/>
                  </a:lnTo>
                  <a:lnTo>
                    <a:pt x="552" y="216"/>
                  </a:lnTo>
                  <a:lnTo>
                    <a:pt x="546" y="216"/>
                  </a:lnTo>
                  <a:lnTo>
                    <a:pt x="546" y="222"/>
                  </a:lnTo>
                  <a:lnTo>
                    <a:pt x="540" y="222"/>
                  </a:lnTo>
                  <a:lnTo>
                    <a:pt x="540" y="228"/>
                  </a:lnTo>
                  <a:lnTo>
                    <a:pt x="546" y="228"/>
                  </a:lnTo>
                  <a:lnTo>
                    <a:pt x="546" y="234"/>
                  </a:lnTo>
                  <a:lnTo>
                    <a:pt x="546" y="240"/>
                  </a:lnTo>
                  <a:lnTo>
                    <a:pt x="546" y="246"/>
                  </a:lnTo>
                  <a:lnTo>
                    <a:pt x="540" y="246"/>
                  </a:lnTo>
                  <a:lnTo>
                    <a:pt x="540" y="252"/>
                  </a:lnTo>
                  <a:lnTo>
                    <a:pt x="540" y="258"/>
                  </a:lnTo>
                  <a:lnTo>
                    <a:pt x="534" y="264"/>
                  </a:lnTo>
                  <a:lnTo>
                    <a:pt x="528" y="264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40" y="270"/>
                  </a:lnTo>
                  <a:lnTo>
                    <a:pt x="534" y="270"/>
                  </a:lnTo>
                  <a:lnTo>
                    <a:pt x="534" y="276"/>
                  </a:lnTo>
                  <a:lnTo>
                    <a:pt x="540" y="276"/>
                  </a:lnTo>
                  <a:lnTo>
                    <a:pt x="540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52" y="282"/>
                  </a:lnTo>
                  <a:lnTo>
                    <a:pt x="558" y="288"/>
                  </a:lnTo>
                  <a:lnTo>
                    <a:pt x="528" y="294"/>
                  </a:lnTo>
                  <a:lnTo>
                    <a:pt x="516" y="300"/>
                  </a:lnTo>
                  <a:lnTo>
                    <a:pt x="510" y="300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0" y="312"/>
                  </a:lnTo>
                  <a:lnTo>
                    <a:pt x="468" y="318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38" y="324"/>
                  </a:lnTo>
                  <a:lnTo>
                    <a:pt x="426" y="324"/>
                  </a:lnTo>
                  <a:lnTo>
                    <a:pt x="420" y="330"/>
                  </a:lnTo>
                  <a:lnTo>
                    <a:pt x="414" y="330"/>
                  </a:lnTo>
                  <a:lnTo>
                    <a:pt x="408" y="336"/>
                  </a:lnTo>
                  <a:lnTo>
                    <a:pt x="408" y="342"/>
                  </a:lnTo>
                  <a:lnTo>
                    <a:pt x="408" y="348"/>
                  </a:lnTo>
                  <a:lnTo>
                    <a:pt x="414" y="348"/>
                  </a:lnTo>
                  <a:lnTo>
                    <a:pt x="414" y="354"/>
                  </a:lnTo>
                  <a:lnTo>
                    <a:pt x="414" y="360"/>
                  </a:lnTo>
                  <a:lnTo>
                    <a:pt x="414" y="366"/>
                  </a:lnTo>
                  <a:lnTo>
                    <a:pt x="408" y="366"/>
                  </a:lnTo>
                  <a:lnTo>
                    <a:pt x="402" y="366"/>
                  </a:lnTo>
                  <a:lnTo>
                    <a:pt x="396" y="366"/>
                  </a:lnTo>
                  <a:lnTo>
                    <a:pt x="390" y="366"/>
                  </a:lnTo>
                  <a:lnTo>
                    <a:pt x="384" y="366"/>
                  </a:lnTo>
                  <a:lnTo>
                    <a:pt x="378" y="366"/>
                  </a:lnTo>
                  <a:lnTo>
                    <a:pt x="372" y="366"/>
                  </a:lnTo>
                  <a:lnTo>
                    <a:pt x="366" y="366"/>
                  </a:lnTo>
                  <a:lnTo>
                    <a:pt x="366" y="372"/>
                  </a:lnTo>
                  <a:lnTo>
                    <a:pt x="360" y="372"/>
                  </a:lnTo>
                  <a:lnTo>
                    <a:pt x="354" y="372"/>
                  </a:lnTo>
                  <a:lnTo>
                    <a:pt x="348" y="378"/>
                  </a:lnTo>
                  <a:lnTo>
                    <a:pt x="348" y="384"/>
                  </a:lnTo>
                  <a:lnTo>
                    <a:pt x="342" y="384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36" y="396"/>
                  </a:lnTo>
                  <a:lnTo>
                    <a:pt x="342" y="396"/>
                  </a:lnTo>
                  <a:lnTo>
                    <a:pt x="336" y="396"/>
                  </a:lnTo>
                  <a:lnTo>
                    <a:pt x="336" y="402"/>
                  </a:lnTo>
                  <a:lnTo>
                    <a:pt x="336" y="408"/>
                  </a:lnTo>
                  <a:lnTo>
                    <a:pt x="336" y="414"/>
                  </a:lnTo>
                  <a:lnTo>
                    <a:pt x="330" y="414"/>
                  </a:lnTo>
                  <a:lnTo>
                    <a:pt x="312" y="420"/>
                  </a:lnTo>
                  <a:lnTo>
                    <a:pt x="306" y="426"/>
                  </a:lnTo>
                  <a:lnTo>
                    <a:pt x="288" y="432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76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74"/>
                  </a:lnTo>
                  <a:lnTo>
                    <a:pt x="252" y="480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2" y="486"/>
                  </a:lnTo>
                  <a:lnTo>
                    <a:pt x="222" y="480"/>
                  </a:lnTo>
                  <a:lnTo>
                    <a:pt x="216" y="480"/>
                  </a:lnTo>
                  <a:lnTo>
                    <a:pt x="210" y="480"/>
                  </a:lnTo>
                  <a:lnTo>
                    <a:pt x="204" y="480"/>
                  </a:lnTo>
                  <a:lnTo>
                    <a:pt x="198" y="480"/>
                  </a:lnTo>
                  <a:lnTo>
                    <a:pt x="198" y="486"/>
                  </a:lnTo>
                  <a:lnTo>
                    <a:pt x="192" y="486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74" y="480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62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32" y="462"/>
                  </a:lnTo>
                  <a:lnTo>
                    <a:pt x="126" y="462"/>
                  </a:lnTo>
                  <a:lnTo>
                    <a:pt x="120" y="462"/>
                  </a:lnTo>
                  <a:lnTo>
                    <a:pt x="120" y="456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72" y="468"/>
                  </a:lnTo>
                  <a:lnTo>
                    <a:pt x="72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396"/>
                  </a:lnTo>
                  <a:lnTo>
                    <a:pt x="0" y="234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102" y="210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2" y="150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96" y="138"/>
                  </a:lnTo>
                  <a:lnTo>
                    <a:pt x="102" y="132"/>
                  </a:lnTo>
                  <a:lnTo>
                    <a:pt x="96" y="132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13" name="Freeform 62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4543" y="2298"/>
              <a:ext cx="237" cy="217"/>
            </a:xfrm>
            <a:custGeom>
              <a:avLst/>
              <a:gdLst>
                <a:gd name="T0" fmla="*/ 1 w 384"/>
                <a:gd name="T1" fmla="*/ 20 h 336"/>
                <a:gd name="T2" fmla="*/ 4 w 384"/>
                <a:gd name="T3" fmla="*/ 20 h 336"/>
                <a:gd name="T4" fmla="*/ 6 w 384"/>
                <a:gd name="T5" fmla="*/ 20 h 336"/>
                <a:gd name="T6" fmla="*/ 9 w 384"/>
                <a:gd name="T7" fmla="*/ 20 h 336"/>
                <a:gd name="T8" fmla="*/ 12 w 384"/>
                <a:gd name="T9" fmla="*/ 21 h 336"/>
                <a:gd name="T10" fmla="*/ 12 w 384"/>
                <a:gd name="T11" fmla="*/ 20 h 336"/>
                <a:gd name="T12" fmla="*/ 15 w 384"/>
                <a:gd name="T13" fmla="*/ 17 h 336"/>
                <a:gd name="T14" fmla="*/ 19 w 384"/>
                <a:gd name="T15" fmla="*/ 12 h 336"/>
                <a:gd name="T16" fmla="*/ 25 w 384"/>
                <a:gd name="T17" fmla="*/ 8 h 336"/>
                <a:gd name="T18" fmla="*/ 27 w 384"/>
                <a:gd name="T19" fmla="*/ 5 h 336"/>
                <a:gd name="T20" fmla="*/ 25 w 384"/>
                <a:gd name="T21" fmla="*/ 4 h 336"/>
                <a:gd name="T22" fmla="*/ 27 w 384"/>
                <a:gd name="T23" fmla="*/ 3 h 336"/>
                <a:gd name="T24" fmla="*/ 30 w 384"/>
                <a:gd name="T25" fmla="*/ 1 h 336"/>
                <a:gd name="T26" fmla="*/ 32 w 384"/>
                <a:gd name="T27" fmla="*/ 0 h 336"/>
                <a:gd name="T28" fmla="*/ 36 w 384"/>
                <a:gd name="T29" fmla="*/ 0 h 336"/>
                <a:gd name="T30" fmla="*/ 41 w 384"/>
                <a:gd name="T31" fmla="*/ 4 h 336"/>
                <a:gd name="T32" fmla="*/ 43 w 384"/>
                <a:gd name="T33" fmla="*/ 3 h 336"/>
                <a:gd name="T34" fmla="*/ 46 w 384"/>
                <a:gd name="T35" fmla="*/ 5 h 336"/>
                <a:gd name="T36" fmla="*/ 49 w 384"/>
                <a:gd name="T37" fmla="*/ 7 h 336"/>
                <a:gd name="T38" fmla="*/ 53 w 384"/>
                <a:gd name="T39" fmla="*/ 8 h 336"/>
                <a:gd name="T40" fmla="*/ 56 w 384"/>
                <a:gd name="T41" fmla="*/ 10 h 336"/>
                <a:gd name="T42" fmla="*/ 55 w 384"/>
                <a:gd name="T43" fmla="*/ 12 h 336"/>
                <a:gd name="T44" fmla="*/ 56 w 384"/>
                <a:gd name="T45" fmla="*/ 16 h 336"/>
                <a:gd name="T46" fmla="*/ 56 w 384"/>
                <a:gd name="T47" fmla="*/ 18 h 336"/>
                <a:gd name="T48" fmla="*/ 56 w 384"/>
                <a:gd name="T49" fmla="*/ 20 h 336"/>
                <a:gd name="T50" fmla="*/ 56 w 384"/>
                <a:gd name="T51" fmla="*/ 22 h 336"/>
                <a:gd name="T52" fmla="*/ 55 w 384"/>
                <a:gd name="T53" fmla="*/ 25 h 336"/>
                <a:gd name="T54" fmla="*/ 53 w 384"/>
                <a:gd name="T55" fmla="*/ 27 h 336"/>
                <a:gd name="T56" fmla="*/ 53 w 384"/>
                <a:gd name="T57" fmla="*/ 29 h 336"/>
                <a:gd name="T58" fmla="*/ 55 w 384"/>
                <a:gd name="T59" fmla="*/ 31 h 336"/>
                <a:gd name="T60" fmla="*/ 54 w 384"/>
                <a:gd name="T61" fmla="*/ 34 h 336"/>
                <a:gd name="T62" fmla="*/ 55 w 384"/>
                <a:gd name="T63" fmla="*/ 36 h 336"/>
                <a:gd name="T64" fmla="*/ 55 w 384"/>
                <a:gd name="T65" fmla="*/ 36 h 336"/>
                <a:gd name="T66" fmla="*/ 55 w 384"/>
                <a:gd name="T67" fmla="*/ 38 h 336"/>
                <a:gd name="T68" fmla="*/ 55 w 384"/>
                <a:gd name="T69" fmla="*/ 41 h 336"/>
                <a:gd name="T70" fmla="*/ 52 w 384"/>
                <a:gd name="T71" fmla="*/ 43 h 336"/>
                <a:gd name="T72" fmla="*/ 51 w 384"/>
                <a:gd name="T73" fmla="*/ 47 h 336"/>
                <a:gd name="T74" fmla="*/ 51 w 384"/>
                <a:gd name="T75" fmla="*/ 49 h 336"/>
                <a:gd name="T76" fmla="*/ 43 w 384"/>
                <a:gd name="T77" fmla="*/ 58 h 336"/>
                <a:gd name="T78" fmla="*/ 42 w 384"/>
                <a:gd name="T79" fmla="*/ 58 h 336"/>
                <a:gd name="T80" fmla="*/ 38 w 384"/>
                <a:gd name="T81" fmla="*/ 57 h 336"/>
                <a:gd name="T82" fmla="*/ 36 w 384"/>
                <a:gd name="T83" fmla="*/ 57 h 336"/>
                <a:gd name="T84" fmla="*/ 32 w 384"/>
                <a:gd name="T85" fmla="*/ 56 h 336"/>
                <a:gd name="T86" fmla="*/ 28 w 384"/>
                <a:gd name="T87" fmla="*/ 56 h 336"/>
                <a:gd name="T88" fmla="*/ 27 w 384"/>
                <a:gd name="T89" fmla="*/ 54 h 336"/>
                <a:gd name="T90" fmla="*/ 25 w 384"/>
                <a:gd name="T91" fmla="*/ 52 h 336"/>
                <a:gd name="T92" fmla="*/ 22 w 384"/>
                <a:gd name="T93" fmla="*/ 51 h 336"/>
                <a:gd name="T94" fmla="*/ 20 w 384"/>
                <a:gd name="T95" fmla="*/ 51 h 336"/>
                <a:gd name="T96" fmla="*/ 19 w 384"/>
                <a:gd name="T97" fmla="*/ 49 h 336"/>
                <a:gd name="T98" fmla="*/ 17 w 384"/>
                <a:gd name="T99" fmla="*/ 46 h 336"/>
                <a:gd name="T100" fmla="*/ 17 w 384"/>
                <a:gd name="T101" fmla="*/ 42 h 336"/>
                <a:gd name="T102" fmla="*/ 14 w 384"/>
                <a:gd name="T103" fmla="*/ 42 h 336"/>
                <a:gd name="T104" fmla="*/ 14 w 384"/>
                <a:gd name="T105" fmla="*/ 38 h 336"/>
                <a:gd name="T106" fmla="*/ 12 w 384"/>
                <a:gd name="T107" fmla="*/ 37 h 336"/>
                <a:gd name="T108" fmla="*/ 9 w 384"/>
                <a:gd name="T109" fmla="*/ 36 h 336"/>
                <a:gd name="T110" fmla="*/ 6 w 384"/>
                <a:gd name="T111" fmla="*/ 35 h 336"/>
                <a:gd name="T112" fmla="*/ 6 w 384"/>
                <a:gd name="T113" fmla="*/ 30 h 336"/>
                <a:gd name="T114" fmla="*/ 4 w 384"/>
                <a:gd name="T115" fmla="*/ 27 h 336"/>
                <a:gd name="T116" fmla="*/ 1 w 384"/>
                <a:gd name="T117" fmla="*/ 24 h 336"/>
                <a:gd name="T118" fmla="*/ 1 w 384"/>
                <a:gd name="T119" fmla="*/ 21 h 3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84" h="336">
                  <a:moveTo>
                    <a:pt x="0" y="108"/>
                  </a:moveTo>
                  <a:lnTo>
                    <a:pt x="6" y="108"/>
                  </a:lnTo>
                  <a:lnTo>
                    <a:pt x="12" y="108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14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96" y="102"/>
                  </a:lnTo>
                  <a:lnTo>
                    <a:pt x="102" y="96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6" y="66"/>
                  </a:lnTo>
                  <a:lnTo>
                    <a:pt x="144" y="60"/>
                  </a:lnTo>
                  <a:lnTo>
                    <a:pt x="150" y="54"/>
                  </a:lnTo>
                  <a:lnTo>
                    <a:pt x="168" y="48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2" y="18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24" y="36"/>
                  </a:lnTo>
                  <a:lnTo>
                    <a:pt x="330" y="36"/>
                  </a:lnTo>
                  <a:lnTo>
                    <a:pt x="336" y="42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8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72" y="66"/>
                  </a:lnTo>
                  <a:lnTo>
                    <a:pt x="378" y="66"/>
                  </a:lnTo>
                  <a:lnTo>
                    <a:pt x="378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84" y="90"/>
                  </a:lnTo>
                  <a:lnTo>
                    <a:pt x="378" y="90"/>
                  </a:lnTo>
                  <a:lnTo>
                    <a:pt x="378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84" y="108"/>
                  </a:lnTo>
                  <a:lnTo>
                    <a:pt x="378" y="108"/>
                  </a:lnTo>
                  <a:lnTo>
                    <a:pt x="378" y="114"/>
                  </a:lnTo>
                  <a:lnTo>
                    <a:pt x="384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78" y="144"/>
                  </a:lnTo>
                  <a:lnTo>
                    <a:pt x="378" y="150"/>
                  </a:lnTo>
                  <a:lnTo>
                    <a:pt x="378" y="156"/>
                  </a:lnTo>
                  <a:lnTo>
                    <a:pt x="372" y="156"/>
                  </a:lnTo>
                  <a:lnTo>
                    <a:pt x="366" y="156"/>
                  </a:lnTo>
                  <a:lnTo>
                    <a:pt x="366" y="162"/>
                  </a:lnTo>
                  <a:lnTo>
                    <a:pt x="372" y="162"/>
                  </a:lnTo>
                  <a:lnTo>
                    <a:pt x="366" y="162"/>
                  </a:lnTo>
                  <a:lnTo>
                    <a:pt x="366" y="168"/>
                  </a:lnTo>
                  <a:lnTo>
                    <a:pt x="372" y="168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78" y="204"/>
                  </a:lnTo>
                  <a:lnTo>
                    <a:pt x="378" y="198"/>
                  </a:lnTo>
                  <a:lnTo>
                    <a:pt x="384" y="198"/>
                  </a:lnTo>
                  <a:lnTo>
                    <a:pt x="384" y="204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8" y="228"/>
                  </a:lnTo>
                  <a:lnTo>
                    <a:pt x="378" y="234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66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54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24" y="312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288" y="330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58" y="330"/>
                  </a:lnTo>
                  <a:lnTo>
                    <a:pt x="252" y="336"/>
                  </a:lnTo>
                  <a:lnTo>
                    <a:pt x="246" y="336"/>
                  </a:lnTo>
                  <a:lnTo>
                    <a:pt x="246" y="330"/>
                  </a:lnTo>
                  <a:lnTo>
                    <a:pt x="240" y="330"/>
                  </a:lnTo>
                  <a:lnTo>
                    <a:pt x="234" y="330"/>
                  </a:lnTo>
                  <a:lnTo>
                    <a:pt x="228" y="324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0" y="324"/>
                  </a:lnTo>
                  <a:lnTo>
                    <a:pt x="204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192" y="318"/>
                  </a:lnTo>
                  <a:lnTo>
                    <a:pt x="186" y="318"/>
                  </a:lnTo>
                  <a:lnTo>
                    <a:pt x="186" y="312"/>
                  </a:lnTo>
                  <a:lnTo>
                    <a:pt x="186" y="306"/>
                  </a:lnTo>
                  <a:lnTo>
                    <a:pt x="180" y="306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68" y="300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0" y="294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32" y="288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76"/>
                  </a:lnTo>
                  <a:lnTo>
                    <a:pt x="120" y="276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20" y="240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90" y="216"/>
                  </a:lnTo>
                  <a:lnTo>
                    <a:pt x="84" y="216"/>
                  </a:lnTo>
                  <a:lnTo>
                    <a:pt x="78" y="216"/>
                  </a:lnTo>
                  <a:lnTo>
                    <a:pt x="72" y="216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14" name="Freeform 63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4379" y="2367"/>
              <a:ext cx="290" cy="292"/>
            </a:xfrm>
            <a:custGeom>
              <a:avLst/>
              <a:gdLst>
                <a:gd name="T0" fmla="*/ 40 w 468"/>
                <a:gd name="T1" fmla="*/ 3 h 450"/>
                <a:gd name="T2" fmla="*/ 42 w 468"/>
                <a:gd name="T3" fmla="*/ 8 h 450"/>
                <a:gd name="T4" fmla="*/ 44 w 468"/>
                <a:gd name="T5" fmla="*/ 10 h 450"/>
                <a:gd name="T6" fmla="*/ 45 w 468"/>
                <a:gd name="T7" fmla="*/ 16 h 450"/>
                <a:gd name="T8" fmla="*/ 48 w 468"/>
                <a:gd name="T9" fmla="*/ 18 h 450"/>
                <a:gd name="T10" fmla="*/ 52 w 468"/>
                <a:gd name="T11" fmla="*/ 19 h 450"/>
                <a:gd name="T12" fmla="*/ 54 w 468"/>
                <a:gd name="T13" fmla="*/ 23 h 450"/>
                <a:gd name="T14" fmla="*/ 56 w 468"/>
                <a:gd name="T15" fmla="*/ 23 h 450"/>
                <a:gd name="T16" fmla="*/ 56 w 468"/>
                <a:gd name="T17" fmla="*/ 29 h 450"/>
                <a:gd name="T18" fmla="*/ 58 w 468"/>
                <a:gd name="T19" fmla="*/ 32 h 450"/>
                <a:gd name="T20" fmla="*/ 61 w 468"/>
                <a:gd name="T21" fmla="*/ 34 h 450"/>
                <a:gd name="T22" fmla="*/ 64 w 468"/>
                <a:gd name="T23" fmla="*/ 34 h 450"/>
                <a:gd name="T24" fmla="*/ 66 w 468"/>
                <a:gd name="T25" fmla="*/ 37 h 450"/>
                <a:gd name="T26" fmla="*/ 68 w 468"/>
                <a:gd name="T27" fmla="*/ 38 h 450"/>
                <a:gd name="T28" fmla="*/ 65 w 468"/>
                <a:gd name="T29" fmla="*/ 40 h 450"/>
                <a:gd name="T30" fmla="*/ 63 w 468"/>
                <a:gd name="T31" fmla="*/ 42 h 450"/>
                <a:gd name="T32" fmla="*/ 60 w 468"/>
                <a:gd name="T33" fmla="*/ 43 h 450"/>
                <a:gd name="T34" fmla="*/ 58 w 468"/>
                <a:gd name="T35" fmla="*/ 47 h 450"/>
                <a:gd name="T36" fmla="*/ 56 w 468"/>
                <a:gd name="T37" fmla="*/ 48 h 450"/>
                <a:gd name="T38" fmla="*/ 54 w 468"/>
                <a:gd name="T39" fmla="*/ 49 h 450"/>
                <a:gd name="T40" fmla="*/ 54 w 468"/>
                <a:gd name="T41" fmla="*/ 50 h 450"/>
                <a:gd name="T42" fmla="*/ 51 w 468"/>
                <a:gd name="T43" fmla="*/ 52 h 450"/>
                <a:gd name="T44" fmla="*/ 50 w 468"/>
                <a:gd name="T45" fmla="*/ 55 h 450"/>
                <a:gd name="T46" fmla="*/ 48 w 468"/>
                <a:gd name="T47" fmla="*/ 57 h 450"/>
                <a:gd name="T48" fmla="*/ 48 w 468"/>
                <a:gd name="T49" fmla="*/ 59 h 450"/>
                <a:gd name="T50" fmla="*/ 43 w 468"/>
                <a:gd name="T51" fmla="*/ 60 h 450"/>
                <a:gd name="T52" fmla="*/ 42 w 468"/>
                <a:gd name="T53" fmla="*/ 67 h 450"/>
                <a:gd name="T54" fmla="*/ 39 w 468"/>
                <a:gd name="T55" fmla="*/ 70 h 450"/>
                <a:gd name="T56" fmla="*/ 35 w 468"/>
                <a:gd name="T57" fmla="*/ 70 h 450"/>
                <a:gd name="T58" fmla="*/ 32 w 468"/>
                <a:gd name="T59" fmla="*/ 70 h 450"/>
                <a:gd name="T60" fmla="*/ 29 w 468"/>
                <a:gd name="T61" fmla="*/ 68 h 450"/>
                <a:gd name="T62" fmla="*/ 25 w 468"/>
                <a:gd name="T63" fmla="*/ 66 h 450"/>
                <a:gd name="T64" fmla="*/ 22 w 468"/>
                <a:gd name="T65" fmla="*/ 66 h 450"/>
                <a:gd name="T66" fmla="*/ 20 w 468"/>
                <a:gd name="T67" fmla="*/ 69 h 450"/>
                <a:gd name="T68" fmla="*/ 20 w 468"/>
                <a:gd name="T69" fmla="*/ 73 h 450"/>
                <a:gd name="T70" fmla="*/ 17 w 468"/>
                <a:gd name="T71" fmla="*/ 75 h 450"/>
                <a:gd name="T72" fmla="*/ 14 w 468"/>
                <a:gd name="T73" fmla="*/ 77 h 450"/>
                <a:gd name="T74" fmla="*/ 12 w 468"/>
                <a:gd name="T75" fmla="*/ 80 h 450"/>
                <a:gd name="T76" fmla="*/ 7 w 468"/>
                <a:gd name="T77" fmla="*/ 80 h 450"/>
                <a:gd name="T78" fmla="*/ 4 w 468"/>
                <a:gd name="T79" fmla="*/ 77 h 450"/>
                <a:gd name="T80" fmla="*/ 6 w 468"/>
                <a:gd name="T81" fmla="*/ 75 h 450"/>
                <a:gd name="T82" fmla="*/ 6 w 468"/>
                <a:gd name="T83" fmla="*/ 70 h 450"/>
                <a:gd name="T84" fmla="*/ 4 w 468"/>
                <a:gd name="T85" fmla="*/ 67 h 450"/>
                <a:gd name="T86" fmla="*/ 4 w 468"/>
                <a:gd name="T87" fmla="*/ 65 h 450"/>
                <a:gd name="T88" fmla="*/ 1 w 468"/>
                <a:gd name="T89" fmla="*/ 63 h 450"/>
                <a:gd name="T90" fmla="*/ 7 w 468"/>
                <a:gd name="T91" fmla="*/ 28 h 450"/>
                <a:gd name="T92" fmla="*/ 25 w 468"/>
                <a:gd name="T93" fmla="*/ 2 h 450"/>
                <a:gd name="T94" fmla="*/ 27 w 468"/>
                <a:gd name="T95" fmla="*/ 5 h 450"/>
                <a:gd name="T96" fmla="*/ 29 w 468"/>
                <a:gd name="T97" fmla="*/ 4 h 450"/>
                <a:gd name="T98" fmla="*/ 32 w 468"/>
                <a:gd name="T99" fmla="*/ 2 h 450"/>
                <a:gd name="T100" fmla="*/ 35 w 468"/>
                <a:gd name="T101" fmla="*/ 1 h 450"/>
                <a:gd name="T102" fmla="*/ 38 w 468"/>
                <a:gd name="T103" fmla="*/ 0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68" h="450">
                  <a:moveTo>
                    <a:pt x="264" y="0"/>
                  </a:moveTo>
                  <a:lnTo>
                    <a:pt x="264" y="6"/>
                  </a:lnTo>
                  <a:lnTo>
                    <a:pt x="264" y="12"/>
                  </a:lnTo>
                  <a:lnTo>
                    <a:pt x="270" y="12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30"/>
                  </a:lnTo>
                  <a:lnTo>
                    <a:pt x="282" y="36"/>
                  </a:lnTo>
                  <a:lnTo>
                    <a:pt x="282" y="42"/>
                  </a:lnTo>
                  <a:lnTo>
                    <a:pt x="288" y="42"/>
                  </a:lnTo>
                  <a:lnTo>
                    <a:pt x="288" y="48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306" y="78"/>
                  </a:lnTo>
                  <a:lnTo>
                    <a:pt x="306" y="84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96"/>
                  </a:lnTo>
                  <a:lnTo>
                    <a:pt x="324" y="96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36" y="108"/>
                  </a:lnTo>
                  <a:lnTo>
                    <a:pt x="342" y="108"/>
                  </a:lnTo>
                  <a:lnTo>
                    <a:pt x="348" y="108"/>
                  </a:lnTo>
                  <a:lnTo>
                    <a:pt x="354" y="108"/>
                  </a:lnTo>
                  <a:lnTo>
                    <a:pt x="354" y="114"/>
                  </a:lnTo>
                  <a:lnTo>
                    <a:pt x="360" y="114"/>
                  </a:lnTo>
                  <a:lnTo>
                    <a:pt x="360" y="120"/>
                  </a:lnTo>
                  <a:lnTo>
                    <a:pt x="366" y="126"/>
                  </a:lnTo>
                  <a:lnTo>
                    <a:pt x="366" y="132"/>
                  </a:lnTo>
                  <a:lnTo>
                    <a:pt x="360" y="132"/>
                  </a:lnTo>
                  <a:lnTo>
                    <a:pt x="366" y="132"/>
                  </a:lnTo>
                  <a:lnTo>
                    <a:pt x="372" y="132"/>
                  </a:lnTo>
                  <a:lnTo>
                    <a:pt x="378" y="132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84" y="168"/>
                  </a:lnTo>
                  <a:lnTo>
                    <a:pt x="390" y="168"/>
                  </a:lnTo>
                  <a:lnTo>
                    <a:pt x="390" y="174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396" y="186"/>
                  </a:lnTo>
                  <a:lnTo>
                    <a:pt x="402" y="186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14" y="192"/>
                  </a:lnTo>
                  <a:lnTo>
                    <a:pt x="414" y="186"/>
                  </a:lnTo>
                  <a:lnTo>
                    <a:pt x="420" y="192"/>
                  </a:lnTo>
                  <a:lnTo>
                    <a:pt x="426" y="192"/>
                  </a:lnTo>
                  <a:lnTo>
                    <a:pt x="432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0" y="204"/>
                  </a:lnTo>
                  <a:lnTo>
                    <a:pt x="450" y="210"/>
                  </a:lnTo>
                  <a:lnTo>
                    <a:pt x="456" y="210"/>
                  </a:lnTo>
                  <a:lnTo>
                    <a:pt x="462" y="210"/>
                  </a:lnTo>
                  <a:lnTo>
                    <a:pt x="462" y="216"/>
                  </a:lnTo>
                  <a:lnTo>
                    <a:pt x="468" y="216"/>
                  </a:lnTo>
                  <a:lnTo>
                    <a:pt x="462" y="216"/>
                  </a:lnTo>
                  <a:lnTo>
                    <a:pt x="456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44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44" y="228"/>
                  </a:lnTo>
                  <a:lnTo>
                    <a:pt x="438" y="234"/>
                  </a:lnTo>
                  <a:lnTo>
                    <a:pt x="432" y="234"/>
                  </a:lnTo>
                  <a:lnTo>
                    <a:pt x="426" y="234"/>
                  </a:lnTo>
                  <a:lnTo>
                    <a:pt x="426" y="240"/>
                  </a:lnTo>
                  <a:lnTo>
                    <a:pt x="420" y="234"/>
                  </a:lnTo>
                  <a:lnTo>
                    <a:pt x="414" y="234"/>
                  </a:lnTo>
                  <a:lnTo>
                    <a:pt x="414" y="240"/>
                  </a:lnTo>
                  <a:lnTo>
                    <a:pt x="408" y="240"/>
                  </a:lnTo>
                  <a:lnTo>
                    <a:pt x="408" y="246"/>
                  </a:lnTo>
                  <a:lnTo>
                    <a:pt x="402" y="246"/>
                  </a:lnTo>
                  <a:lnTo>
                    <a:pt x="402" y="252"/>
                  </a:lnTo>
                  <a:lnTo>
                    <a:pt x="396" y="25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78" y="270"/>
                  </a:lnTo>
                  <a:lnTo>
                    <a:pt x="378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54" y="288"/>
                  </a:lnTo>
                  <a:lnTo>
                    <a:pt x="354" y="294"/>
                  </a:lnTo>
                  <a:lnTo>
                    <a:pt x="348" y="294"/>
                  </a:lnTo>
                  <a:lnTo>
                    <a:pt x="348" y="288"/>
                  </a:lnTo>
                  <a:lnTo>
                    <a:pt x="348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42" y="306"/>
                  </a:lnTo>
                  <a:lnTo>
                    <a:pt x="342" y="312"/>
                  </a:lnTo>
                  <a:lnTo>
                    <a:pt x="342" y="318"/>
                  </a:lnTo>
                  <a:lnTo>
                    <a:pt x="342" y="324"/>
                  </a:lnTo>
                  <a:lnTo>
                    <a:pt x="336" y="324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24" y="336"/>
                  </a:lnTo>
                  <a:lnTo>
                    <a:pt x="318" y="336"/>
                  </a:lnTo>
                  <a:lnTo>
                    <a:pt x="318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294" y="342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82" y="378"/>
                  </a:lnTo>
                  <a:lnTo>
                    <a:pt x="282" y="384"/>
                  </a:lnTo>
                  <a:lnTo>
                    <a:pt x="276" y="390"/>
                  </a:lnTo>
                  <a:lnTo>
                    <a:pt x="270" y="390"/>
                  </a:lnTo>
                  <a:lnTo>
                    <a:pt x="270" y="396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2" y="396"/>
                  </a:lnTo>
                  <a:lnTo>
                    <a:pt x="246" y="396"/>
                  </a:lnTo>
                  <a:lnTo>
                    <a:pt x="240" y="396"/>
                  </a:lnTo>
                  <a:lnTo>
                    <a:pt x="234" y="396"/>
                  </a:lnTo>
                  <a:lnTo>
                    <a:pt x="228" y="396"/>
                  </a:lnTo>
                  <a:lnTo>
                    <a:pt x="222" y="396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0" y="390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0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44" y="390"/>
                  </a:lnTo>
                  <a:lnTo>
                    <a:pt x="138" y="390"/>
                  </a:lnTo>
                  <a:lnTo>
                    <a:pt x="144" y="390"/>
                  </a:lnTo>
                  <a:lnTo>
                    <a:pt x="138" y="396"/>
                  </a:lnTo>
                  <a:lnTo>
                    <a:pt x="138" y="402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20" y="426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32"/>
                  </a:lnTo>
                  <a:lnTo>
                    <a:pt x="108" y="438"/>
                  </a:lnTo>
                  <a:lnTo>
                    <a:pt x="102" y="438"/>
                  </a:lnTo>
                  <a:lnTo>
                    <a:pt x="96" y="438"/>
                  </a:lnTo>
                  <a:lnTo>
                    <a:pt x="90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50"/>
                  </a:lnTo>
                  <a:lnTo>
                    <a:pt x="78" y="450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2" y="450"/>
                  </a:lnTo>
                  <a:lnTo>
                    <a:pt x="36" y="450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42" y="396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30" y="384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0" y="210"/>
                  </a:lnTo>
                  <a:lnTo>
                    <a:pt x="48" y="210"/>
                  </a:lnTo>
                  <a:lnTo>
                    <a:pt x="48" y="156"/>
                  </a:lnTo>
                  <a:lnTo>
                    <a:pt x="48" y="24"/>
                  </a:lnTo>
                  <a:lnTo>
                    <a:pt x="72" y="24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10" y="12"/>
                  </a:lnTo>
                  <a:lnTo>
                    <a:pt x="216" y="12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2" y="12"/>
                  </a:lnTo>
                  <a:lnTo>
                    <a:pt x="228" y="12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8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15" name="Freeform 64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4272" y="2508"/>
              <a:ext cx="504" cy="408"/>
            </a:xfrm>
            <a:custGeom>
              <a:avLst/>
              <a:gdLst>
                <a:gd name="T0" fmla="*/ 2 w 816"/>
                <a:gd name="T1" fmla="*/ 53 h 630"/>
                <a:gd name="T2" fmla="*/ 6 w 816"/>
                <a:gd name="T3" fmla="*/ 55 h 630"/>
                <a:gd name="T4" fmla="*/ 12 w 816"/>
                <a:gd name="T5" fmla="*/ 59 h 630"/>
                <a:gd name="T6" fmla="*/ 20 w 816"/>
                <a:gd name="T7" fmla="*/ 59 h 630"/>
                <a:gd name="T8" fmla="*/ 23 w 816"/>
                <a:gd name="T9" fmla="*/ 56 h 630"/>
                <a:gd name="T10" fmla="*/ 28 w 816"/>
                <a:gd name="T11" fmla="*/ 25 h 630"/>
                <a:gd name="T12" fmla="*/ 30 w 816"/>
                <a:gd name="T13" fmla="*/ 30 h 630"/>
                <a:gd name="T14" fmla="*/ 30 w 816"/>
                <a:gd name="T15" fmla="*/ 38 h 630"/>
                <a:gd name="T16" fmla="*/ 36 w 816"/>
                <a:gd name="T17" fmla="*/ 41 h 630"/>
                <a:gd name="T18" fmla="*/ 41 w 816"/>
                <a:gd name="T19" fmla="*/ 37 h 630"/>
                <a:gd name="T20" fmla="*/ 46 w 816"/>
                <a:gd name="T21" fmla="*/ 30 h 630"/>
                <a:gd name="T22" fmla="*/ 49 w 816"/>
                <a:gd name="T23" fmla="*/ 27 h 630"/>
                <a:gd name="T24" fmla="*/ 57 w 816"/>
                <a:gd name="T25" fmla="*/ 30 h 630"/>
                <a:gd name="T26" fmla="*/ 63 w 816"/>
                <a:gd name="T27" fmla="*/ 32 h 630"/>
                <a:gd name="T28" fmla="*/ 69 w 816"/>
                <a:gd name="T29" fmla="*/ 23 h 630"/>
                <a:gd name="T30" fmla="*/ 74 w 816"/>
                <a:gd name="T31" fmla="*/ 20 h 630"/>
                <a:gd name="T32" fmla="*/ 76 w 816"/>
                <a:gd name="T33" fmla="*/ 12 h 630"/>
                <a:gd name="T34" fmla="*/ 79 w 816"/>
                <a:gd name="T35" fmla="*/ 10 h 630"/>
                <a:gd name="T36" fmla="*/ 82 w 816"/>
                <a:gd name="T37" fmla="*/ 8 h 630"/>
                <a:gd name="T38" fmla="*/ 87 w 816"/>
                <a:gd name="T39" fmla="*/ 4 h 630"/>
                <a:gd name="T40" fmla="*/ 91 w 816"/>
                <a:gd name="T41" fmla="*/ 0 h 630"/>
                <a:gd name="T42" fmla="*/ 99 w 816"/>
                <a:gd name="T43" fmla="*/ 2 h 630"/>
                <a:gd name="T44" fmla="*/ 106 w 816"/>
                <a:gd name="T45" fmla="*/ 2 h 630"/>
                <a:gd name="T46" fmla="*/ 112 w 816"/>
                <a:gd name="T47" fmla="*/ 18 h 630"/>
                <a:gd name="T48" fmla="*/ 112 w 816"/>
                <a:gd name="T49" fmla="*/ 30 h 630"/>
                <a:gd name="T50" fmla="*/ 108 w 816"/>
                <a:gd name="T51" fmla="*/ 32 h 630"/>
                <a:gd name="T52" fmla="*/ 104 w 816"/>
                <a:gd name="T53" fmla="*/ 40 h 630"/>
                <a:gd name="T54" fmla="*/ 109 w 816"/>
                <a:gd name="T55" fmla="*/ 45 h 630"/>
                <a:gd name="T56" fmla="*/ 119 w 816"/>
                <a:gd name="T57" fmla="*/ 42 h 630"/>
                <a:gd name="T58" fmla="*/ 116 w 816"/>
                <a:gd name="T59" fmla="*/ 53 h 630"/>
                <a:gd name="T60" fmla="*/ 111 w 816"/>
                <a:gd name="T61" fmla="*/ 59 h 630"/>
                <a:gd name="T62" fmla="*/ 105 w 816"/>
                <a:gd name="T63" fmla="*/ 67 h 630"/>
                <a:gd name="T64" fmla="*/ 103 w 816"/>
                <a:gd name="T65" fmla="*/ 73 h 630"/>
                <a:gd name="T66" fmla="*/ 98 w 816"/>
                <a:gd name="T67" fmla="*/ 80 h 630"/>
                <a:gd name="T68" fmla="*/ 93 w 816"/>
                <a:gd name="T69" fmla="*/ 85 h 630"/>
                <a:gd name="T70" fmla="*/ 89 w 816"/>
                <a:gd name="T71" fmla="*/ 90 h 630"/>
                <a:gd name="T72" fmla="*/ 85 w 816"/>
                <a:gd name="T73" fmla="*/ 93 h 630"/>
                <a:gd name="T74" fmla="*/ 78 w 816"/>
                <a:gd name="T75" fmla="*/ 98 h 630"/>
                <a:gd name="T76" fmla="*/ 74 w 816"/>
                <a:gd name="T77" fmla="*/ 100 h 630"/>
                <a:gd name="T78" fmla="*/ 66 w 816"/>
                <a:gd name="T79" fmla="*/ 102 h 630"/>
                <a:gd name="T80" fmla="*/ 61 w 816"/>
                <a:gd name="T81" fmla="*/ 104 h 630"/>
                <a:gd name="T82" fmla="*/ 55 w 816"/>
                <a:gd name="T83" fmla="*/ 104 h 630"/>
                <a:gd name="T84" fmla="*/ 48 w 816"/>
                <a:gd name="T85" fmla="*/ 104 h 630"/>
                <a:gd name="T86" fmla="*/ 46 w 816"/>
                <a:gd name="T87" fmla="*/ 104 h 630"/>
                <a:gd name="T88" fmla="*/ 38 w 816"/>
                <a:gd name="T89" fmla="*/ 106 h 630"/>
                <a:gd name="T90" fmla="*/ 35 w 816"/>
                <a:gd name="T91" fmla="*/ 106 h 630"/>
                <a:gd name="T92" fmla="*/ 28 w 816"/>
                <a:gd name="T93" fmla="*/ 109 h 630"/>
                <a:gd name="T94" fmla="*/ 22 w 816"/>
                <a:gd name="T95" fmla="*/ 111 h 630"/>
                <a:gd name="T96" fmla="*/ 19 w 816"/>
                <a:gd name="T97" fmla="*/ 106 h 630"/>
                <a:gd name="T98" fmla="*/ 15 w 816"/>
                <a:gd name="T99" fmla="*/ 104 h 630"/>
                <a:gd name="T100" fmla="*/ 14 w 816"/>
                <a:gd name="T101" fmla="*/ 106 h 630"/>
                <a:gd name="T102" fmla="*/ 14 w 816"/>
                <a:gd name="T103" fmla="*/ 102 h 630"/>
                <a:gd name="T104" fmla="*/ 12 w 816"/>
                <a:gd name="T105" fmla="*/ 96 h 630"/>
                <a:gd name="T106" fmla="*/ 9 w 816"/>
                <a:gd name="T107" fmla="*/ 94 h 630"/>
                <a:gd name="T108" fmla="*/ 12 w 816"/>
                <a:gd name="T109" fmla="*/ 93 h 630"/>
                <a:gd name="T110" fmla="*/ 14 w 816"/>
                <a:gd name="T111" fmla="*/ 84 h 630"/>
                <a:gd name="T112" fmla="*/ 9 w 816"/>
                <a:gd name="T113" fmla="*/ 77 h 630"/>
                <a:gd name="T114" fmla="*/ 6 w 816"/>
                <a:gd name="T115" fmla="*/ 70 h 630"/>
                <a:gd name="T116" fmla="*/ 2 w 816"/>
                <a:gd name="T117" fmla="*/ 60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16" h="630">
                  <a:moveTo>
                    <a:pt x="0" y="318"/>
                  </a:moveTo>
                  <a:lnTo>
                    <a:pt x="6" y="318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6" y="294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48" y="324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6" y="330"/>
                  </a:lnTo>
                  <a:lnTo>
                    <a:pt x="72" y="330"/>
                  </a:lnTo>
                  <a:lnTo>
                    <a:pt x="78" y="330"/>
                  </a:lnTo>
                  <a:lnTo>
                    <a:pt x="78" y="336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6" y="336"/>
                  </a:lnTo>
                  <a:lnTo>
                    <a:pt x="102" y="336"/>
                  </a:lnTo>
                  <a:lnTo>
                    <a:pt x="108" y="330"/>
                  </a:lnTo>
                  <a:lnTo>
                    <a:pt x="114" y="330"/>
                  </a:lnTo>
                  <a:lnTo>
                    <a:pt x="120" y="330"/>
                  </a:lnTo>
                  <a:lnTo>
                    <a:pt x="120" y="336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62" y="318"/>
                  </a:lnTo>
                  <a:lnTo>
                    <a:pt x="168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74" y="132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92" y="138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210" y="162"/>
                  </a:lnTo>
                  <a:lnTo>
                    <a:pt x="204" y="168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0" y="180"/>
                  </a:lnTo>
                  <a:lnTo>
                    <a:pt x="216" y="180"/>
                  </a:lnTo>
                  <a:lnTo>
                    <a:pt x="216" y="186"/>
                  </a:lnTo>
                  <a:lnTo>
                    <a:pt x="216" y="192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04" y="210"/>
                  </a:lnTo>
                  <a:lnTo>
                    <a:pt x="204" y="216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10" y="234"/>
                  </a:lnTo>
                  <a:lnTo>
                    <a:pt x="216" y="234"/>
                  </a:lnTo>
                  <a:lnTo>
                    <a:pt x="222" y="228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34"/>
                  </a:lnTo>
                  <a:lnTo>
                    <a:pt x="240" y="234"/>
                  </a:lnTo>
                  <a:lnTo>
                    <a:pt x="246" y="234"/>
                  </a:lnTo>
                  <a:lnTo>
                    <a:pt x="252" y="234"/>
                  </a:lnTo>
                  <a:lnTo>
                    <a:pt x="258" y="234"/>
                  </a:lnTo>
                  <a:lnTo>
                    <a:pt x="264" y="234"/>
                  </a:lnTo>
                  <a:lnTo>
                    <a:pt x="264" y="228"/>
                  </a:lnTo>
                  <a:lnTo>
                    <a:pt x="264" y="222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82" y="222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8" y="210"/>
                  </a:lnTo>
                  <a:lnTo>
                    <a:pt x="294" y="210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12" y="192"/>
                  </a:lnTo>
                  <a:lnTo>
                    <a:pt x="312" y="186"/>
                  </a:lnTo>
                  <a:lnTo>
                    <a:pt x="312" y="180"/>
                  </a:lnTo>
                  <a:lnTo>
                    <a:pt x="318" y="174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24" y="162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8" y="156"/>
                  </a:lnTo>
                  <a:lnTo>
                    <a:pt x="354" y="162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8" y="174"/>
                  </a:lnTo>
                  <a:lnTo>
                    <a:pt x="384" y="174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6" y="180"/>
                  </a:lnTo>
                  <a:lnTo>
                    <a:pt x="402" y="180"/>
                  </a:lnTo>
                  <a:lnTo>
                    <a:pt x="408" y="180"/>
                  </a:lnTo>
                  <a:lnTo>
                    <a:pt x="414" y="180"/>
                  </a:lnTo>
                  <a:lnTo>
                    <a:pt x="420" y="180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56" y="156"/>
                  </a:lnTo>
                  <a:lnTo>
                    <a:pt x="462" y="156"/>
                  </a:lnTo>
                  <a:lnTo>
                    <a:pt x="468" y="138"/>
                  </a:lnTo>
                  <a:lnTo>
                    <a:pt x="468" y="132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6"/>
                  </a:lnTo>
                  <a:lnTo>
                    <a:pt x="492" y="126"/>
                  </a:lnTo>
                  <a:lnTo>
                    <a:pt x="492" y="120"/>
                  </a:lnTo>
                  <a:lnTo>
                    <a:pt x="498" y="120"/>
                  </a:lnTo>
                  <a:lnTo>
                    <a:pt x="498" y="114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16" y="108"/>
                  </a:lnTo>
                  <a:lnTo>
                    <a:pt x="516" y="102"/>
                  </a:lnTo>
                  <a:lnTo>
                    <a:pt x="516" y="96"/>
                  </a:lnTo>
                  <a:lnTo>
                    <a:pt x="516" y="90"/>
                  </a:lnTo>
                  <a:lnTo>
                    <a:pt x="522" y="90"/>
                  </a:lnTo>
                  <a:lnTo>
                    <a:pt x="522" y="84"/>
                  </a:lnTo>
                  <a:lnTo>
                    <a:pt x="522" y="78"/>
                  </a:lnTo>
                  <a:lnTo>
                    <a:pt x="522" y="72"/>
                  </a:lnTo>
                  <a:lnTo>
                    <a:pt x="522" y="78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34" y="66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6" y="66"/>
                  </a:lnTo>
                  <a:lnTo>
                    <a:pt x="546" y="60"/>
                  </a:lnTo>
                  <a:lnTo>
                    <a:pt x="552" y="60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48"/>
                  </a:lnTo>
                  <a:lnTo>
                    <a:pt x="558" y="48"/>
                  </a:lnTo>
                  <a:lnTo>
                    <a:pt x="564" y="48"/>
                  </a:lnTo>
                  <a:lnTo>
                    <a:pt x="570" y="48"/>
                  </a:lnTo>
                  <a:lnTo>
                    <a:pt x="570" y="42"/>
                  </a:lnTo>
                  <a:lnTo>
                    <a:pt x="576" y="36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2"/>
                  </a:lnTo>
                  <a:lnTo>
                    <a:pt x="618" y="18"/>
                  </a:lnTo>
                  <a:lnTo>
                    <a:pt x="618" y="12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0"/>
                  </a:lnTo>
                  <a:lnTo>
                    <a:pt x="648" y="0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90" y="12"/>
                  </a:lnTo>
                  <a:lnTo>
                    <a:pt x="696" y="6"/>
                  </a:lnTo>
                  <a:lnTo>
                    <a:pt x="702" y="6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6"/>
                  </a:lnTo>
                  <a:lnTo>
                    <a:pt x="726" y="12"/>
                  </a:lnTo>
                  <a:lnTo>
                    <a:pt x="726" y="6"/>
                  </a:lnTo>
                  <a:lnTo>
                    <a:pt x="732" y="6"/>
                  </a:lnTo>
                  <a:lnTo>
                    <a:pt x="732" y="12"/>
                  </a:lnTo>
                  <a:lnTo>
                    <a:pt x="738" y="12"/>
                  </a:lnTo>
                  <a:lnTo>
                    <a:pt x="750" y="48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6" y="72"/>
                  </a:lnTo>
                  <a:lnTo>
                    <a:pt x="756" y="78"/>
                  </a:lnTo>
                  <a:lnTo>
                    <a:pt x="762" y="84"/>
                  </a:lnTo>
                  <a:lnTo>
                    <a:pt x="762" y="90"/>
                  </a:lnTo>
                  <a:lnTo>
                    <a:pt x="768" y="90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74" y="150"/>
                  </a:lnTo>
                  <a:lnTo>
                    <a:pt x="774" y="156"/>
                  </a:lnTo>
                  <a:lnTo>
                    <a:pt x="774" y="162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74" y="174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68" y="192"/>
                  </a:lnTo>
                  <a:lnTo>
                    <a:pt x="762" y="192"/>
                  </a:lnTo>
                  <a:lnTo>
                    <a:pt x="750" y="186"/>
                  </a:lnTo>
                  <a:lnTo>
                    <a:pt x="750" y="180"/>
                  </a:lnTo>
                  <a:lnTo>
                    <a:pt x="744" y="180"/>
                  </a:lnTo>
                  <a:lnTo>
                    <a:pt x="738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26" y="192"/>
                  </a:lnTo>
                  <a:lnTo>
                    <a:pt x="720" y="204"/>
                  </a:lnTo>
                  <a:lnTo>
                    <a:pt x="714" y="204"/>
                  </a:lnTo>
                  <a:lnTo>
                    <a:pt x="714" y="210"/>
                  </a:lnTo>
                  <a:lnTo>
                    <a:pt x="714" y="216"/>
                  </a:lnTo>
                  <a:lnTo>
                    <a:pt x="714" y="222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0" y="240"/>
                  </a:lnTo>
                  <a:lnTo>
                    <a:pt x="726" y="246"/>
                  </a:lnTo>
                  <a:lnTo>
                    <a:pt x="732" y="252"/>
                  </a:lnTo>
                  <a:lnTo>
                    <a:pt x="738" y="252"/>
                  </a:lnTo>
                  <a:lnTo>
                    <a:pt x="744" y="258"/>
                  </a:lnTo>
                  <a:lnTo>
                    <a:pt x="750" y="258"/>
                  </a:lnTo>
                  <a:lnTo>
                    <a:pt x="768" y="258"/>
                  </a:lnTo>
                  <a:lnTo>
                    <a:pt x="768" y="246"/>
                  </a:lnTo>
                  <a:lnTo>
                    <a:pt x="768" y="240"/>
                  </a:lnTo>
                  <a:lnTo>
                    <a:pt x="774" y="234"/>
                  </a:lnTo>
                  <a:lnTo>
                    <a:pt x="780" y="234"/>
                  </a:lnTo>
                  <a:lnTo>
                    <a:pt x="786" y="234"/>
                  </a:lnTo>
                  <a:lnTo>
                    <a:pt x="792" y="234"/>
                  </a:lnTo>
                  <a:lnTo>
                    <a:pt x="810" y="234"/>
                  </a:lnTo>
                  <a:lnTo>
                    <a:pt x="816" y="234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10" y="252"/>
                  </a:lnTo>
                  <a:lnTo>
                    <a:pt x="810" y="258"/>
                  </a:lnTo>
                  <a:lnTo>
                    <a:pt x="804" y="264"/>
                  </a:lnTo>
                  <a:lnTo>
                    <a:pt x="804" y="270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8"/>
                  </a:lnTo>
                  <a:lnTo>
                    <a:pt x="798" y="294"/>
                  </a:lnTo>
                  <a:lnTo>
                    <a:pt x="798" y="300"/>
                  </a:lnTo>
                  <a:lnTo>
                    <a:pt x="798" y="306"/>
                  </a:lnTo>
                  <a:lnTo>
                    <a:pt x="792" y="312"/>
                  </a:lnTo>
                  <a:lnTo>
                    <a:pt x="792" y="318"/>
                  </a:lnTo>
                  <a:lnTo>
                    <a:pt x="786" y="318"/>
                  </a:lnTo>
                  <a:lnTo>
                    <a:pt x="786" y="324"/>
                  </a:lnTo>
                  <a:lnTo>
                    <a:pt x="780" y="324"/>
                  </a:lnTo>
                  <a:lnTo>
                    <a:pt x="774" y="330"/>
                  </a:lnTo>
                  <a:lnTo>
                    <a:pt x="774" y="336"/>
                  </a:lnTo>
                  <a:lnTo>
                    <a:pt x="768" y="336"/>
                  </a:lnTo>
                  <a:lnTo>
                    <a:pt x="762" y="336"/>
                  </a:lnTo>
                  <a:lnTo>
                    <a:pt x="756" y="342"/>
                  </a:lnTo>
                  <a:lnTo>
                    <a:pt x="750" y="348"/>
                  </a:lnTo>
                  <a:lnTo>
                    <a:pt x="744" y="348"/>
                  </a:lnTo>
                  <a:lnTo>
                    <a:pt x="744" y="354"/>
                  </a:lnTo>
                  <a:lnTo>
                    <a:pt x="738" y="354"/>
                  </a:lnTo>
                  <a:lnTo>
                    <a:pt x="738" y="360"/>
                  </a:lnTo>
                  <a:lnTo>
                    <a:pt x="732" y="366"/>
                  </a:lnTo>
                  <a:lnTo>
                    <a:pt x="726" y="372"/>
                  </a:lnTo>
                  <a:lnTo>
                    <a:pt x="726" y="378"/>
                  </a:lnTo>
                  <a:lnTo>
                    <a:pt x="720" y="378"/>
                  </a:lnTo>
                  <a:lnTo>
                    <a:pt x="726" y="378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14" y="390"/>
                  </a:lnTo>
                  <a:lnTo>
                    <a:pt x="708" y="408"/>
                  </a:lnTo>
                  <a:lnTo>
                    <a:pt x="702" y="414"/>
                  </a:lnTo>
                  <a:lnTo>
                    <a:pt x="702" y="420"/>
                  </a:lnTo>
                  <a:lnTo>
                    <a:pt x="696" y="426"/>
                  </a:lnTo>
                  <a:lnTo>
                    <a:pt x="690" y="432"/>
                  </a:lnTo>
                  <a:lnTo>
                    <a:pt x="690" y="438"/>
                  </a:lnTo>
                  <a:lnTo>
                    <a:pt x="684" y="438"/>
                  </a:lnTo>
                  <a:lnTo>
                    <a:pt x="684" y="444"/>
                  </a:lnTo>
                  <a:lnTo>
                    <a:pt x="678" y="444"/>
                  </a:lnTo>
                  <a:lnTo>
                    <a:pt x="678" y="450"/>
                  </a:lnTo>
                  <a:lnTo>
                    <a:pt x="672" y="450"/>
                  </a:lnTo>
                  <a:lnTo>
                    <a:pt x="672" y="456"/>
                  </a:lnTo>
                  <a:lnTo>
                    <a:pt x="666" y="456"/>
                  </a:lnTo>
                  <a:lnTo>
                    <a:pt x="666" y="462"/>
                  </a:lnTo>
                  <a:lnTo>
                    <a:pt x="660" y="462"/>
                  </a:lnTo>
                  <a:lnTo>
                    <a:pt x="654" y="468"/>
                  </a:lnTo>
                  <a:lnTo>
                    <a:pt x="648" y="468"/>
                  </a:lnTo>
                  <a:lnTo>
                    <a:pt x="648" y="474"/>
                  </a:lnTo>
                  <a:lnTo>
                    <a:pt x="642" y="474"/>
                  </a:lnTo>
                  <a:lnTo>
                    <a:pt x="642" y="480"/>
                  </a:lnTo>
                  <a:lnTo>
                    <a:pt x="636" y="480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0" y="492"/>
                  </a:lnTo>
                  <a:lnTo>
                    <a:pt x="624" y="492"/>
                  </a:lnTo>
                  <a:lnTo>
                    <a:pt x="624" y="498"/>
                  </a:lnTo>
                  <a:lnTo>
                    <a:pt x="618" y="498"/>
                  </a:lnTo>
                  <a:lnTo>
                    <a:pt x="618" y="504"/>
                  </a:lnTo>
                  <a:lnTo>
                    <a:pt x="612" y="504"/>
                  </a:lnTo>
                  <a:lnTo>
                    <a:pt x="612" y="510"/>
                  </a:lnTo>
                  <a:lnTo>
                    <a:pt x="606" y="510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600" y="522"/>
                  </a:lnTo>
                  <a:lnTo>
                    <a:pt x="594" y="522"/>
                  </a:lnTo>
                  <a:lnTo>
                    <a:pt x="594" y="516"/>
                  </a:lnTo>
                  <a:lnTo>
                    <a:pt x="594" y="522"/>
                  </a:lnTo>
                  <a:lnTo>
                    <a:pt x="588" y="522"/>
                  </a:lnTo>
                  <a:lnTo>
                    <a:pt x="588" y="528"/>
                  </a:lnTo>
                  <a:lnTo>
                    <a:pt x="582" y="528"/>
                  </a:lnTo>
                  <a:lnTo>
                    <a:pt x="576" y="528"/>
                  </a:lnTo>
                  <a:lnTo>
                    <a:pt x="576" y="534"/>
                  </a:lnTo>
                  <a:lnTo>
                    <a:pt x="570" y="540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58" y="546"/>
                  </a:lnTo>
                  <a:lnTo>
                    <a:pt x="552" y="552"/>
                  </a:lnTo>
                  <a:lnTo>
                    <a:pt x="546" y="552"/>
                  </a:lnTo>
                  <a:lnTo>
                    <a:pt x="546" y="558"/>
                  </a:lnTo>
                  <a:lnTo>
                    <a:pt x="540" y="558"/>
                  </a:lnTo>
                  <a:lnTo>
                    <a:pt x="534" y="558"/>
                  </a:lnTo>
                  <a:lnTo>
                    <a:pt x="534" y="564"/>
                  </a:lnTo>
                  <a:lnTo>
                    <a:pt x="528" y="564"/>
                  </a:lnTo>
                  <a:lnTo>
                    <a:pt x="522" y="564"/>
                  </a:lnTo>
                  <a:lnTo>
                    <a:pt x="522" y="570"/>
                  </a:lnTo>
                  <a:lnTo>
                    <a:pt x="516" y="570"/>
                  </a:lnTo>
                  <a:lnTo>
                    <a:pt x="510" y="570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498" y="576"/>
                  </a:lnTo>
                  <a:lnTo>
                    <a:pt x="492" y="576"/>
                  </a:lnTo>
                  <a:lnTo>
                    <a:pt x="486" y="576"/>
                  </a:lnTo>
                  <a:lnTo>
                    <a:pt x="480" y="576"/>
                  </a:lnTo>
                  <a:lnTo>
                    <a:pt x="474" y="576"/>
                  </a:lnTo>
                  <a:lnTo>
                    <a:pt x="468" y="576"/>
                  </a:lnTo>
                  <a:lnTo>
                    <a:pt x="462" y="576"/>
                  </a:lnTo>
                  <a:lnTo>
                    <a:pt x="456" y="576"/>
                  </a:lnTo>
                  <a:lnTo>
                    <a:pt x="456" y="582"/>
                  </a:lnTo>
                  <a:lnTo>
                    <a:pt x="450" y="582"/>
                  </a:lnTo>
                  <a:lnTo>
                    <a:pt x="456" y="582"/>
                  </a:lnTo>
                  <a:lnTo>
                    <a:pt x="456" y="588"/>
                  </a:lnTo>
                  <a:lnTo>
                    <a:pt x="450" y="594"/>
                  </a:lnTo>
                  <a:lnTo>
                    <a:pt x="444" y="588"/>
                  </a:lnTo>
                  <a:lnTo>
                    <a:pt x="438" y="588"/>
                  </a:lnTo>
                  <a:lnTo>
                    <a:pt x="432" y="588"/>
                  </a:lnTo>
                  <a:lnTo>
                    <a:pt x="426" y="58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4" y="594"/>
                  </a:lnTo>
                  <a:lnTo>
                    <a:pt x="414" y="600"/>
                  </a:lnTo>
                  <a:lnTo>
                    <a:pt x="408" y="600"/>
                  </a:lnTo>
                  <a:lnTo>
                    <a:pt x="408" y="594"/>
                  </a:lnTo>
                  <a:lnTo>
                    <a:pt x="402" y="600"/>
                  </a:lnTo>
                  <a:lnTo>
                    <a:pt x="396" y="594"/>
                  </a:lnTo>
                  <a:lnTo>
                    <a:pt x="390" y="594"/>
                  </a:lnTo>
                  <a:lnTo>
                    <a:pt x="384" y="594"/>
                  </a:lnTo>
                  <a:lnTo>
                    <a:pt x="378" y="594"/>
                  </a:lnTo>
                  <a:lnTo>
                    <a:pt x="378" y="588"/>
                  </a:lnTo>
                  <a:lnTo>
                    <a:pt x="372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42" y="594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88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94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00"/>
                  </a:lnTo>
                  <a:lnTo>
                    <a:pt x="276" y="600"/>
                  </a:lnTo>
                  <a:lnTo>
                    <a:pt x="270" y="600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58" y="606"/>
                  </a:lnTo>
                  <a:lnTo>
                    <a:pt x="252" y="606"/>
                  </a:lnTo>
                  <a:lnTo>
                    <a:pt x="246" y="606"/>
                  </a:lnTo>
                  <a:lnTo>
                    <a:pt x="246" y="612"/>
                  </a:lnTo>
                  <a:lnTo>
                    <a:pt x="240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6"/>
                  </a:lnTo>
                  <a:lnTo>
                    <a:pt x="210" y="606"/>
                  </a:lnTo>
                  <a:lnTo>
                    <a:pt x="216" y="606"/>
                  </a:lnTo>
                  <a:lnTo>
                    <a:pt x="216" y="612"/>
                  </a:lnTo>
                  <a:lnTo>
                    <a:pt x="210" y="612"/>
                  </a:lnTo>
                  <a:lnTo>
                    <a:pt x="204" y="612"/>
                  </a:lnTo>
                  <a:lnTo>
                    <a:pt x="198" y="612"/>
                  </a:lnTo>
                  <a:lnTo>
                    <a:pt x="198" y="618"/>
                  </a:lnTo>
                  <a:lnTo>
                    <a:pt x="192" y="618"/>
                  </a:lnTo>
                  <a:lnTo>
                    <a:pt x="186" y="618"/>
                  </a:lnTo>
                  <a:lnTo>
                    <a:pt x="186" y="624"/>
                  </a:lnTo>
                  <a:lnTo>
                    <a:pt x="180" y="624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68" y="630"/>
                  </a:lnTo>
                  <a:lnTo>
                    <a:pt x="168" y="624"/>
                  </a:lnTo>
                  <a:lnTo>
                    <a:pt x="162" y="624"/>
                  </a:lnTo>
                  <a:lnTo>
                    <a:pt x="156" y="630"/>
                  </a:lnTo>
                  <a:lnTo>
                    <a:pt x="156" y="624"/>
                  </a:lnTo>
                  <a:lnTo>
                    <a:pt x="150" y="624"/>
                  </a:lnTo>
                  <a:lnTo>
                    <a:pt x="144" y="618"/>
                  </a:lnTo>
                  <a:lnTo>
                    <a:pt x="138" y="618"/>
                  </a:lnTo>
                  <a:lnTo>
                    <a:pt x="144" y="618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32" y="612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20" y="606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14" y="600"/>
                  </a:lnTo>
                  <a:lnTo>
                    <a:pt x="120" y="594"/>
                  </a:lnTo>
                  <a:lnTo>
                    <a:pt x="114" y="594"/>
                  </a:lnTo>
                  <a:lnTo>
                    <a:pt x="108" y="594"/>
                  </a:lnTo>
                  <a:lnTo>
                    <a:pt x="102" y="594"/>
                  </a:lnTo>
                  <a:lnTo>
                    <a:pt x="96" y="594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6"/>
                  </a:lnTo>
                  <a:lnTo>
                    <a:pt x="102" y="606"/>
                  </a:lnTo>
                  <a:lnTo>
                    <a:pt x="96" y="606"/>
                  </a:lnTo>
                  <a:lnTo>
                    <a:pt x="96" y="600"/>
                  </a:lnTo>
                  <a:lnTo>
                    <a:pt x="90" y="600"/>
                  </a:lnTo>
                  <a:lnTo>
                    <a:pt x="90" y="594"/>
                  </a:lnTo>
                  <a:lnTo>
                    <a:pt x="96" y="594"/>
                  </a:lnTo>
                  <a:lnTo>
                    <a:pt x="96" y="588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0" y="594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96" y="576"/>
                  </a:lnTo>
                  <a:lnTo>
                    <a:pt x="96" y="570"/>
                  </a:lnTo>
                  <a:lnTo>
                    <a:pt x="90" y="570"/>
                  </a:lnTo>
                  <a:lnTo>
                    <a:pt x="90" y="564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84" y="552"/>
                  </a:lnTo>
                  <a:lnTo>
                    <a:pt x="78" y="552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2" y="540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8" y="528"/>
                  </a:lnTo>
                  <a:lnTo>
                    <a:pt x="84" y="528"/>
                  </a:lnTo>
                  <a:lnTo>
                    <a:pt x="84" y="522"/>
                  </a:lnTo>
                  <a:lnTo>
                    <a:pt x="90" y="522"/>
                  </a:lnTo>
                  <a:lnTo>
                    <a:pt x="90" y="516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84" y="480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6" y="444"/>
                  </a:lnTo>
                  <a:lnTo>
                    <a:pt x="60" y="444"/>
                  </a:lnTo>
                  <a:lnTo>
                    <a:pt x="60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8" y="342"/>
                  </a:lnTo>
                  <a:lnTo>
                    <a:pt x="12" y="342"/>
                  </a:lnTo>
                  <a:lnTo>
                    <a:pt x="12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16" name="Freeform 65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4595" y="2714"/>
              <a:ext cx="78" cy="66"/>
            </a:xfrm>
            <a:custGeom>
              <a:avLst/>
              <a:gdLst>
                <a:gd name="T0" fmla="*/ 15 w 126"/>
                <a:gd name="T1" fmla="*/ 12 h 102"/>
                <a:gd name="T2" fmla="*/ 15 w 126"/>
                <a:gd name="T3" fmla="*/ 10 h 102"/>
                <a:gd name="T4" fmla="*/ 17 w 126"/>
                <a:gd name="T5" fmla="*/ 10 h 102"/>
                <a:gd name="T6" fmla="*/ 17 w 126"/>
                <a:gd name="T7" fmla="*/ 7 h 102"/>
                <a:gd name="T8" fmla="*/ 19 w 126"/>
                <a:gd name="T9" fmla="*/ 6 h 102"/>
                <a:gd name="T10" fmla="*/ 17 w 126"/>
                <a:gd name="T11" fmla="*/ 5 h 102"/>
                <a:gd name="T12" fmla="*/ 15 w 126"/>
                <a:gd name="T13" fmla="*/ 4 h 102"/>
                <a:gd name="T14" fmla="*/ 14 w 126"/>
                <a:gd name="T15" fmla="*/ 3 h 102"/>
                <a:gd name="T16" fmla="*/ 14 w 126"/>
                <a:gd name="T17" fmla="*/ 2 h 102"/>
                <a:gd name="T18" fmla="*/ 12 w 126"/>
                <a:gd name="T19" fmla="*/ 1 h 102"/>
                <a:gd name="T20" fmla="*/ 12 w 126"/>
                <a:gd name="T21" fmla="*/ 0 h 102"/>
                <a:gd name="T22" fmla="*/ 11 w 126"/>
                <a:gd name="T23" fmla="*/ 1 h 102"/>
                <a:gd name="T24" fmla="*/ 11 w 126"/>
                <a:gd name="T25" fmla="*/ 1 h 102"/>
                <a:gd name="T26" fmla="*/ 9 w 126"/>
                <a:gd name="T27" fmla="*/ 1 h 102"/>
                <a:gd name="T28" fmla="*/ 7 w 126"/>
                <a:gd name="T29" fmla="*/ 2 h 102"/>
                <a:gd name="T30" fmla="*/ 7 w 126"/>
                <a:gd name="T31" fmla="*/ 3 h 102"/>
                <a:gd name="T32" fmla="*/ 7 w 126"/>
                <a:gd name="T33" fmla="*/ 3 h 102"/>
                <a:gd name="T34" fmla="*/ 6 w 126"/>
                <a:gd name="T35" fmla="*/ 3 h 102"/>
                <a:gd name="T36" fmla="*/ 6 w 126"/>
                <a:gd name="T37" fmla="*/ 3 h 102"/>
                <a:gd name="T38" fmla="*/ 6 w 126"/>
                <a:gd name="T39" fmla="*/ 5 h 102"/>
                <a:gd name="T40" fmla="*/ 4 w 126"/>
                <a:gd name="T41" fmla="*/ 6 h 102"/>
                <a:gd name="T42" fmla="*/ 4 w 126"/>
                <a:gd name="T43" fmla="*/ 7 h 102"/>
                <a:gd name="T44" fmla="*/ 2 w 126"/>
                <a:gd name="T45" fmla="*/ 8 h 102"/>
                <a:gd name="T46" fmla="*/ 1 w 126"/>
                <a:gd name="T47" fmla="*/ 8 h 102"/>
                <a:gd name="T48" fmla="*/ 0 w 126"/>
                <a:gd name="T49" fmla="*/ 10 h 102"/>
                <a:gd name="T50" fmla="*/ 1 w 126"/>
                <a:gd name="T51" fmla="*/ 10 h 102"/>
                <a:gd name="T52" fmla="*/ 2 w 126"/>
                <a:gd name="T53" fmla="*/ 14 h 102"/>
                <a:gd name="T54" fmla="*/ 2 w 126"/>
                <a:gd name="T55" fmla="*/ 14 h 102"/>
                <a:gd name="T56" fmla="*/ 4 w 126"/>
                <a:gd name="T57" fmla="*/ 15 h 102"/>
                <a:gd name="T58" fmla="*/ 2 w 126"/>
                <a:gd name="T59" fmla="*/ 16 h 102"/>
                <a:gd name="T60" fmla="*/ 4 w 126"/>
                <a:gd name="T61" fmla="*/ 16 h 102"/>
                <a:gd name="T62" fmla="*/ 6 w 126"/>
                <a:gd name="T63" fmla="*/ 17 h 102"/>
                <a:gd name="T64" fmla="*/ 6 w 126"/>
                <a:gd name="T65" fmla="*/ 18 h 102"/>
                <a:gd name="T66" fmla="*/ 7 w 126"/>
                <a:gd name="T67" fmla="*/ 18 h 102"/>
                <a:gd name="T68" fmla="*/ 9 w 126"/>
                <a:gd name="T69" fmla="*/ 17 h 102"/>
                <a:gd name="T70" fmla="*/ 9 w 126"/>
                <a:gd name="T71" fmla="*/ 16 h 102"/>
                <a:gd name="T72" fmla="*/ 9 w 126"/>
                <a:gd name="T73" fmla="*/ 15 h 102"/>
                <a:gd name="T74" fmla="*/ 12 w 126"/>
                <a:gd name="T75" fmla="*/ 14 h 102"/>
                <a:gd name="T76" fmla="*/ 14 w 126"/>
                <a:gd name="T77" fmla="*/ 14 h 102"/>
                <a:gd name="T78" fmla="*/ 14 w 126"/>
                <a:gd name="T79" fmla="*/ 12 h 10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6" h="102">
                  <a:moveTo>
                    <a:pt x="102" y="72"/>
                  </a:moveTo>
                  <a:lnTo>
                    <a:pt x="108" y="72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14" y="54"/>
                  </a:lnTo>
                  <a:lnTo>
                    <a:pt x="114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102" y="72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17" name="Freeform 66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4128" y="2341"/>
              <a:ext cx="415" cy="385"/>
            </a:xfrm>
            <a:custGeom>
              <a:avLst/>
              <a:gdLst>
                <a:gd name="T0" fmla="*/ 1 w 672"/>
                <a:gd name="T1" fmla="*/ 2 h 594"/>
                <a:gd name="T2" fmla="*/ 6 w 672"/>
                <a:gd name="T3" fmla="*/ 3 h 594"/>
                <a:gd name="T4" fmla="*/ 7 w 672"/>
                <a:gd name="T5" fmla="*/ 1 h 594"/>
                <a:gd name="T6" fmla="*/ 12 w 672"/>
                <a:gd name="T7" fmla="*/ 0 h 594"/>
                <a:gd name="T8" fmla="*/ 14 w 672"/>
                <a:gd name="T9" fmla="*/ 2 h 594"/>
                <a:gd name="T10" fmla="*/ 15 w 672"/>
                <a:gd name="T11" fmla="*/ 4 h 594"/>
                <a:gd name="T12" fmla="*/ 38 w 672"/>
                <a:gd name="T13" fmla="*/ 4 h 594"/>
                <a:gd name="T14" fmla="*/ 49 w 672"/>
                <a:gd name="T15" fmla="*/ 5 h 594"/>
                <a:gd name="T16" fmla="*/ 52 w 672"/>
                <a:gd name="T17" fmla="*/ 8 h 594"/>
                <a:gd name="T18" fmla="*/ 56 w 672"/>
                <a:gd name="T19" fmla="*/ 8 h 594"/>
                <a:gd name="T20" fmla="*/ 56 w 672"/>
                <a:gd name="T21" fmla="*/ 8 h 594"/>
                <a:gd name="T22" fmla="*/ 57 w 672"/>
                <a:gd name="T23" fmla="*/ 8 h 594"/>
                <a:gd name="T24" fmla="*/ 61 w 672"/>
                <a:gd name="T25" fmla="*/ 8 h 594"/>
                <a:gd name="T26" fmla="*/ 64 w 672"/>
                <a:gd name="T27" fmla="*/ 8 h 594"/>
                <a:gd name="T28" fmla="*/ 66 w 672"/>
                <a:gd name="T29" fmla="*/ 8 h 594"/>
                <a:gd name="T30" fmla="*/ 80 w 672"/>
                <a:gd name="T31" fmla="*/ 6 h 594"/>
                <a:gd name="T32" fmla="*/ 91 w 672"/>
                <a:gd name="T33" fmla="*/ 5 h 594"/>
                <a:gd name="T34" fmla="*/ 94 w 672"/>
                <a:gd name="T35" fmla="*/ 5 h 594"/>
                <a:gd name="T36" fmla="*/ 97 w 672"/>
                <a:gd name="T37" fmla="*/ 8 h 594"/>
                <a:gd name="T38" fmla="*/ 94 w 672"/>
                <a:gd name="T39" fmla="*/ 8 h 594"/>
                <a:gd name="T40" fmla="*/ 91 w 672"/>
                <a:gd name="T41" fmla="*/ 8 h 594"/>
                <a:gd name="T42" fmla="*/ 89 w 672"/>
                <a:gd name="T43" fmla="*/ 10 h 594"/>
                <a:gd name="T44" fmla="*/ 86 w 672"/>
                <a:gd name="T45" fmla="*/ 12 h 594"/>
                <a:gd name="T46" fmla="*/ 85 w 672"/>
                <a:gd name="T47" fmla="*/ 10 h 594"/>
                <a:gd name="T48" fmla="*/ 70 w 672"/>
                <a:gd name="T49" fmla="*/ 12 h 594"/>
                <a:gd name="T50" fmla="*/ 59 w 672"/>
                <a:gd name="T51" fmla="*/ 69 h 594"/>
                <a:gd name="T52" fmla="*/ 57 w 672"/>
                <a:gd name="T53" fmla="*/ 100 h 594"/>
                <a:gd name="T54" fmla="*/ 55 w 672"/>
                <a:gd name="T55" fmla="*/ 104 h 594"/>
                <a:gd name="T56" fmla="*/ 52 w 672"/>
                <a:gd name="T57" fmla="*/ 105 h 594"/>
                <a:gd name="T58" fmla="*/ 49 w 672"/>
                <a:gd name="T59" fmla="*/ 105 h 594"/>
                <a:gd name="T60" fmla="*/ 45 w 672"/>
                <a:gd name="T61" fmla="*/ 104 h 594"/>
                <a:gd name="T62" fmla="*/ 42 w 672"/>
                <a:gd name="T63" fmla="*/ 102 h 594"/>
                <a:gd name="T64" fmla="*/ 41 w 672"/>
                <a:gd name="T65" fmla="*/ 100 h 594"/>
                <a:gd name="T66" fmla="*/ 40 w 672"/>
                <a:gd name="T67" fmla="*/ 97 h 594"/>
                <a:gd name="T68" fmla="*/ 36 w 672"/>
                <a:gd name="T69" fmla="*/ 100 h 594"/>
                <a:gd name="T70" fmla="*/ 36 w 672"/>
                <a:gd name="T71" fmla="*/ 100 h 594"/>
                <a:gd name="T72" fmla="*/ 33 w 672"/>
                <a:gd name="T73" fmla="*/ 102 h 594"/>
                <a:gd name="T74" fmla="*/ 30 w 672"/>
                <a:gd name="T75" fmla="*/ 99 h 594"/>
                <a:gd name="T76" fmla="*/ 28 w 672"/>
                <a:gd name="T77" fmla="*/ 95 h 594"/>
                <a:gd name="T78" fmla="*/ 25 w 672"/>
                <a:gd name="T79" fmla="*/ 91 h 594"/>
                <a:gd name="T80" fmla="*/ 25 w 672"/>
                <a:gd name="T81" fmla="*/ 87 h 594"/>
                <a:gd name="T82" fmla="*/ 23 w 672"/>
                <a:gd name="T83" fmla="*/ 85 h 594"/>
                <a:gd name="T84" fmla="*/ 25 w 672"/>
                <a:gd name="T85" fmla="*/ 82 h 594"/>
                <a:gd name="T86" fmla="*/ 23 w 672"/>
                <a:gd name="T87" fmla="*/ 80 h 594"/>
                <a:gd name="T88" fmla="*/ 22 w 672"/>
                <a:gd name="T89" fmla="*/ 77 h 594"/>
                <a:gd name="T90" fmla="*/ 22 w 672"/>
                <a:gd name="T91" fmla="*/ 74 h 594"/>
                <a:gd name="T92" fmla="*/ 22 w 672"/>
                <a:gd name="T93" fmla="*/ 71 h 594"/>
                <a:gd name="T94" fmla="*/ 21 w 672"/>
                <a:gd name="T95" fmla="*/ 67 h 594"/>
                <a:gd name="T96" fmla="*/ 19 w 672"/>
                <a:gd name="T97" fmla="*/ 62 h 594"/>
                <a:gd name="T98" fmla="*/ 20 w 672"/>
                <a:gd name="T99" fmla="*/ 58 h 594"/>
                <a:gd name="T100" fmla="*/ 20 w 672"/>
                <a:gd name="T101" fmla="*/ 55 h 594"/>
                <a:gd name="T102" fmla="*/ 20 w 672"/>
                <a:gd name="T103" fmla="*/ 53 h 594"/>
                <a:gd name="T104" fmla="*/ 19 w 672"/>
                <a:gd name="T105" fmla="*/ 47 h 594"/>
                <a:gd name="T106" fmla="*/ 17 w 672"/>
                <a:gd name="T107" fmla="*/ 43 h 594"/>
                <a:gd name="T108" fmla="*/ 15 w 672"/>
                <a:gd name="T109" fmla="*/ 40 h 594"/>
                <a:gd name="T110" fmla="*/ 14 w 672"/>
                <a:gd name="T111" fmla="*/ 36 h 594"/>
                <a:gd name="T112" fmla="*/ 12 w 672"/>
                <a:gd name="T113" fmla="*/ 33 h 594"/>
                <a:gd name="T114" fmla="*/ 9 w 672"/>
                <a:gd name="T115" fmla="*/ 27 h 594"/>
                <a:gd name="T116" fmla="*/ 7 w 672"/>
                <a:gd name="T117" fmla="*/ 23 h 594"/>
                <a:gd name="T118" fmla="*/ 6 w 672"/>
                <a:gd name="T119" fmla="*/ 17 h 594"/>
                <a:gd name="T120" fmla="*/ 1 w 672"/>
                <a:gd name="T121" fmla="*/ 14 h 594"/>
                <a:gd name="T122" fmla="*/ 0 w 672"/>
                <a:gd name="T123" fmla="*/ 8 h 594"/>
                <a:gd name="T124" fmla="*/ 0 w 672"/>
                <a:gd name="T125" fmla="*/ 3 h 59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672" h="594">
                  <a:moveTo>
                    <a:pt x="0" y="12"/>
                  </a:move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44" y="24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36" y="30"/>
                  </a:lnTo>
                  <a:lnTo>
                    <a:pt x="342" y="30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2"/>
                  </a:lnTo>
                  <a:lnTo>
                    <a:pt x="372" y="42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90" y="48"/>
                  </a:lnTo>
                  <a:lnTo>
                    <a:pt x="390" y="42"/>
                  </a:lnTo>
                  <a:lnTo>
                    <a:pt x="396" y="42"/>
                  </a:lnTo>
                  <a:lnTo>
                    <a:pt x="396" y="48"/>
                  </a:lnTo>
                  <a:lnTo>
                    <a:pt x="402" y="48"/>
                  </a:lnTo>
                  <a:lnTo>
                    <a:pt x="402" y="42"/>
                  </a:lnTo>
                  <a:lnTo>
                    <a:pt x="408" y="48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26" y="42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44" y="48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56" y="48"/>
                  </a:lnTo>
                  <a:lnTo>
                    <a:pt x="462" y="48"/>
                  </a:lnTo>
                  <a:lnTo>
                    <a:pt x="468" y="48"/>
                  </a:lnTo>
                  <a:lnTo>
                    <a:pt x="474" y="48"/>
                  </a:lnTo>
                  <a:lnTo>
                    <a:pt x="480" y="54"/>
                  </a:lnTo>
                  <a:lnTo>
                    <a:pt x="552" y="36"/>
                  </a:lnTo>
                  <a:lnTo>
                    <a:pt x="582" y="36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42" y="30"/>
                  </a:lnTo>
                  <a:lnTo>
                    <a:pt x="642" y="24"/>
                  </a:lnTo>
                  <a:lnTo>
                    <a:pt x="642" y="30"/>
                  </a:lnTo>
                  <a:lnTo>
                    <a:pt x="648" y="30"/>
                  </a:lnTo>
                  <a:lnTo>
                    <a:pt x="654" y="30"/>
                  </a:lnTo>
                  <a:lnTo>
                    <a:pt x="660" y="30"/>
                  </a:lnTo>
                  <a:lnTo>
                    <a:pt x="660" y="36"/>
                  </a:lnTo>
                  <a:lnTo>
                    <a:pt x="666" y="36"/>
                  </a:lnTo>
                  <a:lnTo>
                    <a:pt x="666" y="42"/>
                  </a:lnTo>
                  <a:lnTo>
                    <a:pt x="672" y="42"/>
                  </a:lnTo>
                  <a:lnTo>
                    <a:pt x="666" y="42"/>
                  </a:lnTo>
                  <a:lnTo>
                    <a:pt x="660" y="42"/>
                  </a:lnTo>
                  <a:lnTo>
                    <a:pt x="654" y="42"/>
                  </a:lnTo>
                  <a:lnTo>
                    <a:pt x="648" y="42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30" y="54"/>
                  </a:lnTo>
                  <a:lnTo>
                    <a:pt x="630" y="48"/>
                  </a:lnTo>
                  <a:lnTo>
                    <a:pt x="624" y="48"/>
                  </a:lnTo>
                  <a:lnTo>
                    <a:pt x="624" y="54"/>
                  </a:lnTo>
                  <a:lnTo>
                    <a:pt x="618" y="54"/>
                  </a:lnTo>
                  <a:lnTo>
                    <a:pt x="612" y="54"/>
                  </a:lnTo>
                  <a:lnTo>
                    <a:pt x="612" y="60"/>
                  </a:lnTo>
                  <a:lnTo>
                    <a:pt x="606" y="60"/>
                  </a:lnTo>
                  <a:lnTo>
                    <a:pt x="606" y="66"/>
                  </a:lnTo>
                  <a:lnTo>
                    <a:pt x="600" y="66"/>
                  </a:lnTo>
                  <a:lnTo>
                    <a:pt x="600" y="72"/>
                  </a:lnTo>
                  <a:lnTo>
                    <a:pt x="594" y="72"/>
                  </a:lnTo>
                  <a:lnTo>
                    <a:pt x="588" y="78"/>
                  </a:lnTo>
                  <a:lnTo>
                    <a:pt x="588" y="72"/>
                  </a:lnTo>
                  <a:lnTo>
                    <a:pt x="588" y="66"/>
                  </a:lnTo>
                  <a:lnTo>
                    <a:pt x="582" y="66"/>
                  </a:lnTo>
                  <a:lnTo>
                    <a:pt x="582" y="60"/>
                  </a:lnTo>
                  <a:lnTo>
                    <a:pt x="576" y="60"/>
                  </a:lnTo>
                  <a:lnTo>
                    <a:pt x="576" y="54"/>
                  </a:lnTo>
                  <a:lnTo>
                    <a:pt x="570" y="54"/>
                  </a:lnTo>
                  <a:lnTo>
                    <a:pt x="564" y="54"/>
                  </a:lnTo>
                  <a:lnTo>
                    <a:pt x="480" y="66"/>
                  </a:lnTo>
                  <a:lnTo>
                    <a:pt x="456" y="66"/>
                  </a:lnTo>
                  <a:lnTo>
                    <a:pt x="456" y="198"/>
                  </a:lnTo>
                  <a:lnTo>
                    <a:pt x="456" y="252"/>
                  </a:lnTo>
                  <a:lnTo>
                    <a:pt x="408" y="252"/>
                  </a:lnTo>
                  <a:lnTo>
                    <a:pt x="408" y="390"/>
                  </a:lnTo>
                  <a:lnTo>
                    <a:pt x="408" y="570"/>
                  </a:lnTo>
                  <a:lnTo>
                    <a:pt x="402" y="570"/>
                  </a:lnTo>
                  <a:lnTo>
                    <a:pt x="402" y="576"/>
                  </a:lnTo>
                  <a:lnTo>
                    <a:pt x="396" y="576"/>
                  </a:lnTo>
                  <a:lnTo>
                    <a:pt x="396" y="570"/>
                  </a:lnTo>
                  <a:lnTo>
                    <a:pt x="396" y="576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84" y="582"/>
                  </a:lnTo>
                  <a:lnTo>
                    <a:pt x="378" y="588"/>
                  </a:lnTo>
                  <a:lnTo>
                    <a:pt x="372" y="582"/>
                  </a:lnTo>
                  <a:lnTo>
                    <a:pt x="372" y="588"/>
                  </a:lnTo>
                  <a:lnTo>
                    <a:pt x="372" y="594"/>
                  </a:lnTo>
                  <a:lnTo>
                    <a:pt x="366" y="594"/>
                  </a:lnTo>
                  <a:lnTo>
                    <a:pt x="360" y="594"/>
                  </a:lnTo>
                  <a:lnTo>
                    <a:pt x="354" y="594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82" y="570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64" y="552"/>
                  </a:lnTo>
                  <a:lnTo>
                    <a:pt x="258" y="552"/>
                  </a:lnTo>
                  <a:lnTo>
                    <a:pt x="252" y="552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46" y="564"/>
                  </a:lnTo>
                  <a:lnTo>
                    <a:pt x="252" y="564"/>
                  </a:lnTo>
                  <a:lnTo>
                    <a:pt x="246" y="570"/>
                  </a:lnTo>
                  <a:lnTo>
                    <a:pt x="246" y="576"/>
                  </a:lnTo>
                  <a:lnTo>
                    <a:pt x="246" y="570"/>
                  </a:lnTo>
                  <a:lnTo>
                    <a:pt x="240" y="570"/>
                  </a:lnTo>
                  <a:lnTo>
                    <a:pt x="240" y="576"/>
                  </a:lnTo>
                  <a:lnTo>
                    <a:pt x="234" y="576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0" y="564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8" y="546"/>
                  </a:lnTo>
                  <a:lnTo>
                    <a:pt x="192" y="546"/>
                  </a:lnTo>
                  <a:lnTo>
                    <a:pt x="192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2"/>
                  </a:lnTo>
                  <a:lnTo>
                    <a:pt x="180" y="516"/>
                  </a:lnTo>
                  <a:lnTo>
                    <a:pt x="174" y="516"/>
                  </a:lnTo>
                  <a:lnTo>
                    <a:pt x="174" y="510"/>
                  </a:lnTo>
                  <a:lnTo>
                    <a:pt x="174" y="504"/>
                  </a:lnTo>
                  <a:lnTo>
                    <a:pt x="174" y="498"/>
                  </a:lnTo>
                  <a:lnTo>
                    <a:pt x="174" y="492"/>
                  </a:lnTo>
                  <a:lnTo>
                    <a:pt x="168" y="492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2" y="486"/>
                  </a:lnTo>
                  <a:lnTo>
                    <a:pt x="162" y="480"/>
                  </a:lnTo>
                  <a:lnTo>
                    <a:pt x="168" y="480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74"/>
                  </a:lnTo>
                  <a:lnTo>
                    <a:pt x="168" y="468"/>
                  </a:lnTo>
                  <a:lnTo>
                    <a:pt x="162" y="468"/>
                  </a:lnTo>
                  <a:lnTo>
                    <a:pt x="156" y="462"/>
                  </a:lnTo>
                  <a:lnTo>
                    <a:pt x="162" y="462"/>
                  </a:lnTo>
                  <a:lnTo>
                    <a:pt x="156" y="456"/>
                  </a:lnTo>
                  <a:lnTo>
                    <a:pt x="162" y="456"/>
                  </a:lnTo>
                  <a:lnTo>
                    <a:pt x="162" y="450"/>
                  </a:lnTo>
                  <a:lnTo>
                    <a:pt x="156" y="450"/>
                  </a:lnTo>
                  <a:lnTo>
                    <a:pt x="156" y="444"/>
                  </a:lnTo>
                  <a:lnTo>
                    <a:pt x="156" y="438"/>
                  </a:lnTo>
                  <a:lnTo>
                    <a:pt x="150" y="438"/>
                  </a:lnTo>
                  <a:lnTo>
                    <a:pt x="156" y="438"/>
                  </a:lnTo>
                  <a:lnTo>
                    <a:pt x="150" y="432"/>
                  </a:lnTo>
                  <a:lnTo>
                    <a:pt x="156" y="432"/>
                  </a:lnTo>
                  <a:lnTo>
                    <a:pt x="156" y="426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0" y="408"/>
                  </a:lnTo>
                  <a:lnTo>
                    <a:pt x="156" y="408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50" y="396"/>
                  </a:lnTo>
                  <a:lnTo>
                    <a:pt x="150" y="390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44" y="378"/>
                  </a:lnTo>
                  <a:lnTo>
                    <a:pt x="138" y="378"/>
                  </a:lnTo>
                  <a:lnTo>
                    <a:pt x="144" y="378"/>
                  </a:lnTo>
                  <a:lnTo>
                    <a:pt x="144" y="372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38" y="348"/>
                  </a:lnTo>
                  <a:lnTo>
                    <a:pt x="138" y="342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8" y="312"/>
                  </a:lnTo>
                  <a:lnTo>
                    <a:pt x="132" y="306"/>
                  </a:lnTo>
                  <a:lnTo>
                    <a:pt x="132" y="300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2" y="270"/>
                  </a:lnTo>
                  <a:lnTo>
                    <a:pt x="132" y="264"/>
                  </a:lnTo>
                  <a:lnTo>
                    <a:pt x="126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14" y="246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02" y="228"/>
                  </a:lnTo>
                  <a:lnTo>
                    <a:pt x="102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0" y="198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8" y="186"/>
                  </a:lnTo>
                  <a:lnTo>
                    <a:pt x="78" y="174"/>
                  </a:lnTo>
                  <a:lnTo>
                    <a:pt x="72" y="174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6" y="156"/>
                  </a:lnTo>
                  <a:lnTo>
                    <a:pt x="60" y="150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18" name="Freeform 67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4713" y="2625"/>
              <a:ext cx="41" cy="50"/>
            </a:xfrm>
            <a:custGeom>
              <a:avLst/>
              <a:gdLst>
                <a:gd name="T0" fmla="*/ 8 w 66"/>
                <a:gd name="T1" fmla="*/ 1 h 78"/>
                <a:gd name="T2" fmla="*/ 9 w 66"/>
                <a:gd name="T3" fmla="*/ 2 h 78"/>
                <a:gd name="T4" fmla="*/ 9 w 66"/>
                <a:gd name="T5" fmla="*/ 3 h 78"/>
                <a:gd name="T6" fmla="*/ 9 w 66"/>
                <a:gd name="T7" fmla="*/ 4 h 78"/>
                <a:gd name="T8" fmla="*/ 9 w 66"/>
                <a:gd name="T9" fmla="*/ 5 h 78"/>
                <a:gd name="T10" fmla="*/ 10 w 66"/>
                <a:gd name="T11" fmla="*/ 6 h 78"/>
                <a:gd name="T12" fmla="*/ 10 w 66"/>
                <a:gd name="T13" fmla="*/ 9 h 78"/>
                <a:gd name="T14" fmla="*/ 9 w 66"/>
                <a:gd name="T15" fmla="*/ 9 h 78"/>
                <a:gd name="T16" fmla="*/ 8 w 66"/>
                <a:gd name="T17" fmla="*/ 10 h 78"/>
                <a:gd name="T18" fmla="*/ 8 w 66"/>
                <a:gd name="T19" fmla="*/ 11 h 78"/>
                <a:gd name="T20" fmla="*/ 8 w 66"/>
                <a:gd name="T21" fmla="*/ 13 h 78"/>
                <a:gd name="T22" fmla="*/ 6 w 66"/>
                <a:gd name="T23" fmla="*/ 13 h 78"/>
                <a:gd name="T24" fmla="*/ 4 w 66"/>
                <a:gd name="T25" fmla="*/ 13 h 78"/>
                <a:gd name="T26" fmla="*/ 4 w 66"/>
                <a:gd name="T27" fmla="*/ 12 h 78"/>
                <a:gd name="T28" fmla="*/ 2 w 66"/>
                <a:gd name="T29" fmla="*/ 12 h 78"/>
                <a:gd name="T30" fmla="*/ 1 w 66"/>
                <a:gd name="T31" fmla="*/ 11 h 78"/>
                <a:gd name="T32" fmla="*/ 1 w 66"/>
                <a:gd name="T33" fmla="*/ 10 h 78"/>
                <a:gd name="T34" fmla="*/ 1 w 66"/>
                <a:gd name="T35" fmla="*/ 9 h 78"/>
                <a:gd name="T36" fmla="*/ 0 w 66"/>
                <a:gd name="T37" fmla="*/ 9 h 78"/>
                <a:gd name="T38" fmla="*/ 0 w 66"/>
                <a:gd name="T39" fmla="*/ 8 h 78"/>
                <a:gd name="T40" fmla="*/ 0 w 66"/>
                <a:gd name="T41" fmla="*/ 9 h 78"/>
                <a:gd name="T42" fmla="*/ 0 w 66"/>
                <a:gd name="T43" fmla="*/ 8 h 78"/>
                <a:gd name="T44" fmla="*/ 0 w 66"/>
                <a:gd name="T45" fmla="*/ 7 h 78"/>
                <a:gd name="T46" fmla="*/ 0 w 66"/>
                <a:gd name="T47" fmla="*/ 6 h 78"/>
                <a:gd name="T48" fmla="*/ 0 w 66"/>
                <a:gd name="T49" fmla="*/ 5 h 78"/>
                <a:gd name="T50" fmla="*/ 0 w 66"/>
                <a:gd name="T51" fmla="*/ 4 h 78"/>
                <a:gd name="T52" fmla="*/ 1 w 66"/>
                <a:gd name="T53" fmla="*/ 4 h 78"/>
                <a:gd name="T54" fmla="*/ 1 w 66"/>
                <a:gd name="T55" fmla="*/ 2 h 78"/>
                <a:gd name="T56" fmla="*/ 1 w 66"/>
                <a:gd name="T57" fmla="*/ 1 h 78"/>
                <a:gd name="T58" fmla="*/ 2 w 66"/>
                <a:gd name="T59" fmla="*/ 0 h 78"/>
                <a:gd name="T60" fmla="*/ 4 w 66"/>
                <a:gd name="T61" fmla="*/ 0 h 78"/>
                <a:gd name="T62" fmla="*/ 4 w 66"/>
                <a:gd name="T63" fmla="*/ 0 h 78"/>
                <a:gd name="T64" fmla="*/ 6 w 66"/>
                <a:gd name="T65" fmla="*/ 0 h 78"/>
                <a:gd name="T66" fmla="*/ 6 w 66"/>
                <a:gd name="T67" fmla="*/ 1 h 78"/>
                <a:gd name="T68" fmla="*/ 7 w 66"/>
                <a:gd name="T69" fmla="*/ 2 h 78"/>
                <a:gd name="T70" fmla="*/ 8 w 66"/>
                <a:gd name="T71" fmla="*/ 2 h 78"/>
                <a:gd name="T72" fmla="*/ 8 w 66"/>
                <a:gd name="T73" fmla="*/ 1 h 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6" h="78">
                  <a:moveTo>
                    <a:pt x="54" y="6"/>
                  </a:moveTo>
                  <a:lnTo>
                    <a:pt x="60" y="12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30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19" name="Freeform 68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4787" y="2162"/>
              <a:ext cx="97" cy="183"/>
            </a:xfrm>
            <a:custGeom>
              <a:avLst/>
              <a:gdLst>
                <a:gd name="T0" fmla="*/ 0 w 156"/>
                <a:gd name="T1" fmla="*/ 23 h 282"/>
                <a:gd name="T2" fmla="*/ 1 w 156"/>
                <a:gd name="T3" fmla="*/ 25 h 282"/>
                <a:gd name="T4" fmla="*/ 2 w 156"/>
                <a:gd name="T5" fmla="*/ 27 h 282"/>
                <a:gd name="T6" fmla="*/ 4 w 156"/>
                <a:gd name="T7" fmla="*/ 28 h 282"/>
                <a:gd name="T8" fmla="*/ 6 w 156"/>
                <a:gd name="T9" fmla="*/ 27 h 282"/>
                <a:gd name="T10" fmla="*/ 9 w 156"/>
                <a:gd name="T11" fmla="*/ 27 h 282"/>
                <a:gd name="T12" fmla="*/ 10 w 156"/>
                <a:gd name="T13" fmla="*/ 29 h 282"/>
                <a:gd name="T14" fmla="*/ 10 w 156"/>
                <a:gd name="T15" fmla="*/ 31 h 282"/>
                <a:gd name="T16" fmla="*/ 10 w 156"/>
                <a:gd name="T17" fmla="*/ 34 h 282"/>
                <a:gd name="T18" fmla="*/ 10 w 156"/>
                <a:gd name="T19" fmla="*/ 35 h 282"/>
                <a:gd name="T20" fmla="*/ 9 w 156"/>
                <a:gd name="T21" fmla="*/ 37 h 282"/>
                <a:gd name="T22" fmla="*/ 7 w 156"/>
                <a:gd name="T23" fmla="*/ 38 h 282"/>
                <a:gd name="T24" fmla="*/ 8 w 156"/>
                <a:gd name="T25" fmla="*/ 40 h 282"/>
                <a:gd name="T26" fmla="*/ 8 w 156"/>
                <a:gd name="T27" fmla="*/ 42 h 282"/>
                <a:gd name="T28" fmla="*/ 9 w 156"/>
                <a:gd name="T29" fmla="*/ 43 h 282"/>
                <a:gd name="T30" fmla="*/ 10 w 156"/>
                <a:gd name="T31" fmla="*/ 45 h 282"/>
                <a:gd name="T32" fmla="*/ 12 w 156"/>
                <a:gd name="T33" fmla="*/ 45 h 282"/>
                <a:gd name="T34" fmla="*/ 12 w 156"/>
                <a:gd name="T35" fmla="*/ 48 h 282"/>
                <a:gd name="T36" fmla="*/ 14 w 156"/>
                <a:gd name="T37" fmla="*/ 49 h 282"/>
                <a:gd name="T38" fmla="*/ 15 w 156"/>
                <a:gd name="T39" fmla="*/ 50 h 282"/>
                <a:gd name="T40" fmla="*/ 15 w 156"/>
                <a:gd name="T41" fmla="*/ 47 h 282"/>
                <a:gd name="T42" fmla="*/ 14 w 156"/>
                <a:gd name="T43" fmla="*/ 45 h 282"/>
                <a:gd name="T44" fmla="*/ 15 w 156"/>
                <a:gd name="T45" fmla="*/ 43 h 282"/>
                <a:gd name="T46" fmla="*/ 17 w 156"/>
                <a:gd name="T47" fmla="*/ 42 h 282"/>
                <a:gd name="T48" fmla="*/ 19 w 156"/>
                <a:gd name="T49" fmla="*/ 40 h 282"/>
                <a:gd name="T50" fmla="*/ 19 w 156"/>
                <a:gd name="T51" fmla="*/ 33 h 282"/>
                <a:gd name="T52" fmla="*/ 17 w 156"/>
                <a:gd name="T53" fmla="*/ 25 h 282"/>
                <a:gd name="T54" fmla="*/ 14 w 156"/>
                <a:gd name="T55" fmla="*/ 20 h 282"/>
                <a:gd name="T56" fmla="*/ 10 w 156"/>
                <a:gd name="T57" fmla="*/ 18 h 282"/>
                <a:gd name="T58" fmla="*/ 10 w 156"/>
                <a:gd name="T59" fmla="*/ 16 h 282"/>
                <a:gd name="T60" fmla="*/ 9 w 156"/>
                <a:gd name="T61" fmla="*/ 13 h 282"/>
                <a:gd name="T62" fmla="*/ 9 w 156"/>
                <a:gd name="T63" fmla="*/ 8 h 282"/>
                <a:gd name="T64" fmla="*/ 9 w 156"/>
                <a:gd name="T65" fmla="*/ 6 h 282"/>
                <a:gd name="T66" fmla="*/ 10 w 156"/>
                <a:gd name="T67" fmla="*/ 2 h 282"/>
                <a:gd name="T68" fmla="*/ 15 w 156"/>
                <a:gd name="T69" fmla="*/ 1 h 282"/>
                <a:gd name="T70" fmla="*/ 16 w 156"/>
                <a:gd name="T71" fmla="*/ 1 h 282"/>
                <a:gd name="T72" fmla="*/ 17 w 156"/>
                <a:gd name="T73" fmla="*/ 1 h 282"/>
                <a:gd name="T74" fmla="*/ 17 w 156"/>
                <a:gd name="T75" fmla="*/ 2 h 282"/>
                <a:gd name="T76" fmla="*/ 18 w 156"/>
                <a:gd name="T77" fmla="*/ 1 h 282"/>
                <a:gd name="T78" fmla="*/ 20 w 156"/>
                <a:gd name="T79" fmla="*/ 0 h 282"/>
                <a:gd name="T80" fmla="*/ 22 w 156"/>
                <a:gd name="T81" fmla="*/ 1 h 282"/>
                <a:gd name="T82" fmla="*/ 22 w 156"/>
                <a:gd name="T83" fmla="*/ 2 h 282"/>
                <a:gd name="T84" fmla="*/ 23 w 156"/>
                <a:gd name="T85" fmla="*/ 2 h 2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56" h="282">
                  <a:moveTo>
                    <a:pt x="0" y="132"/>
                  </a:move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66" y="168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54" y="234"/>
                  </a:lnTo>
                  <a:lnTo>
                    <a:pt x="54" y="240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6"/>
                  </a:lnTo>
                  <a:lnTo>
                    <a:pt x="66" y="252"/>
                  </a:lnTo>
                  <a:lnTo>
                    <a:pt x="72" y="252"/>
                  </a:lnTo>
                  <a:lnTo>
                    <a:pt x="72" y="258"/>
                  </a:lnTo>
                  <a:lnTo>
                    <a:pt x="78" y="258"/>
                  </a:lnTo>
                  <a:lnTo>
                    <a:pt x="78" y="264"/>
                  </a:lnTo>
                  <a:lnTo>
                    <a:pt x="84" y="264"/>
                  </a:lnTo>
                  <a:lnTo>
                    <a:pt x="84" y="270"/>
                  </a:lnTo>
                  <a:lnTo>
                    <a:pt x="90" y="270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0" y="276"/>
                  </a:lnTo>
                  <a:lnTo>
                    <a:pt x="90" y="282"/>
                  </a:lnTo>
                  <a:lnTo>
                    <a:pt x="102" y="282"/>
                  </a:lnTo>
                  <a:lnTo>
                    <a:pt x="102" y="276"/>
                  </a:lnTo>
                  <a:lnTo>
                    <a:pt x="102" y="270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6" y="252"/>
                  </a:lnTo>
                  <a:lnTo>
                    <a:pt x="102" y="252"/>
                  </a:lnTo>
                  <a:lnTo>
                    <a:pt x="102" y="246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14" y="234"/>
                  </a:lnTo>
                  <a:lnTo>
                    <a:pt x="120" y="234"/>
                  </a:lnTo>
                  <a:lnTo>
                    <a:pt x="126" y="234"/>
                  </a:lnTo>
                  <a:lnTo>
                    <a:pt x="126" y="228"/>
                  </a:lnTo>
                  <a:lnTo>
                    <a:pt x="126" y="222"/>
                  </a:lnTo>
                  <a:lnTo>
                    <a:pt x="126" y="198"/>
                  </a:lnTo>
                  <a:lnTo>
                    <a:pt x="126" y="186"/>
                  </a:lnTo>
                  <a:lnTo>
                    <a:pt x="132" y="174"/>
                  </a:lnTo>
                  <a:lnTo>
                    <a:pt x="132" y="162"/>
                  </a:lnTo>
                  <a:lnTo>
                    <a:pt x="114" y="144"/>
                  </a:lnTo>
                  <a:lnTo>
                    <a:pt x="108" y="138"/>
                  </a:lnTo>
                  <a:lnTo>
                    <a:pt x="96" y="120"/>
                  </a:lnTo>
                  <a:lnTo>
                    <a:pt x="90" y="114"/>
                  </a:lnTo>
                  <a:lnTo>
                    <a:pt x="84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84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6" y="12"/>
                  </a:lnTo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20" name="Freeform 69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5092" y="2178"/>
              <a:ext cx="226" cy="443"/>
            </a:xfrm>
            <a:custGeom>
              <a:avLst/>
              <a:gdLst>
                <a:gd name="T0" fmla="*/ 9 w 366"/>
                <a:gd name="T1" fmla="*/ 65 h 684"/>
                <a:gd name="T2" fmla="*/ 7 w 366"/>
                <a:gd name="T3" fmla="*/ 63 h 684"/>
                <a:gd name="T4" fmla="*/ 6 w 366"/>
                <a:gd name="T5" fmla="*/ 57 h 684"/>
                <a:gd name="T6" fmla="*/ 6 w 366"/>
                <a:gd name="T7" fmla="*/ 51 h 684"/>
                <a:gd name="T8" fmla="*/ 6 w 366"/>
                <a:gd name="T9" fmla="*/ 47 h 684"/>
                <a:gd name="T10" fmla="*/ 7 w 366"/>
                <a:gd name="T11" fmla="*/ 43 h 684"/>
                <a:gd name="T12" fmla="*/ 9 w 366"/>
                <a:gd name="T13" fmla="*/ 40 h 684"/>
                <a:gd name="T14" fmla="*/ 14 w 366"/>
                <a:gd name="T15" fmla="*/ 37 h 684"/>
                <a:gd name="T16" fmla="*/ 15 w 366"/>
                <a:gd name="T17" fmla="*/ 36 h 684"/>
                <a:gd name="T18" fmla="*/ 17 w 366"/>
                <a:gd name="T19" fmla="*/ 37 h 684"/>
                <a:gd name="T20" fmla="*/ 19 w 366"/>
                <a:gd name="T21" fmla="*/ 34 h 684"/>
                <a:gd name="T22" fmla="*/ 22 w 366"/>
                <a:gd name="T23" fmla="*/ 34 h 684"/>
                <a:gd name="T24" fmla="*/ 23 w 366"/>
                <a:gd name="T25" fmla="*/ 35 h 684"/>
                <a:gd name="T26" fmla="*/ 25 w 366"/>
                <a:gd name="T27" fmla="*/ 32 h 684"/>
                <a:gd name="T28" fmla="*/ 28 w 366"/>
                <a:gd name="T29" fmla="*/ 30 h 684"/>
                <a:gd name="T30" fmla="*/ 28 w 366"/>
                <a:gd name="T31" fmla="*/ 30 h 684"/>
                <a:gd name="T32" fmla="*/ 30 w 366"/>
                <a:gd name="T33" fmla="*/ 27 h 684"/>
                <a:gd name="T34" fmla="*/ 31 w 366"/>
                <a:gd name="T35" fmla="*/ 25 h 684"/>
                <a:gd name="T36" fmla="*/ 32 w 366"/>
                <a:gd name="T37" fmla="*/ 25 h 684"/>
                <a:gd name="T38" fmla="*/ 33 w 366"/>
                <a:gd name="T39" fmla="*/ 21 h 684"/>
                <a:gd name="T40" fmla="*/ 35 w 366"/>
                <a:gd name="T41" fmla="*/ 21 h 684"/>
                <a:gd name="T42" fmla="*/ 35 w 366"/>
                <a:gd name="T43" fmla="*/ 18 h 684"/>
                <a:gd name="T44" fmla="*/ 35 w 366"/>
                <a:gd name="T45" fmla="*/ 15 h 684"/>
                <a:gd name="T46" fmla="*/ 38 w 366"/>
                <a:gd name="T47" fmla="*/ 15 h 684"/>
                <a:gd name="T48" fmla="*/ 40 w 366"/>
                <a:gd name="T49" fmla="*/ 12 h 684"/>
                <a:gd name="T50" fmla="*/ 42 w 366"/>
                <a:gd name="T51" fmla="*/ 10 h 684"/>
                <a:gd name="T52" fmla="*/ 40 w 366"/>
                <a:gd name="T53" fmla="*/ 4 h 684"/>
                <a:gd name="T54" fmla="*/ 43 w 366"/>
                <a:gd name="T55" fmla="*/ 2 h 684"/>
                <a:gd name="T56" fmla="*/ 43 w 366"/>
                <a:gd name="T57" fmla="*/ 0 h 684"/>
                <a:gd name="T58" fmla="*/ 44 w 366"/>
                <a:gd name="T59" fmla="*/ 3 h 684"/>
                <a:gd name="T60" fmla="*/ 45 w 366"/>
                <a:gd name="T61" fmla="*/ 3 h 684"/>
                <a:gd name="T62" fmla="*/ 47 w 366"/>
                <a:gd name="T63" fmla="*/ 7 h 684"/>
                <a:gd name="T64" fmla="*/ 49 w 366"/>
                <a:gd name="T65" fmla="*/ 10 h 684"/>
                <a:gd name="T66" fmla="*/ 51 w 366"/>
                <a:gd name="T67" fmla="*/ 18 h 684"/>
                <a:gd name="T68" fmla="*/ 51 w 366"/>
                <a:gd name="T69" fmla="*/ 27 h 684"/>
                <a:gd name="T70" fmla="*/ 52 w 366"/>
                <a:gd name="T71" fmla="*/ 32 h 684"/>
                <a:gd name="T72" fmla="*/ 49 w 366"/>
                <a:gd name="T73" fmla="*/ 34 h 684"/>
                <a:gd name="T74" fmla="*/ 47 w 366"/>
                <a:gd name="T75" fmla="*/ 32 h 684"/>
                <a:gd name="T76" fmla="*/ 48 w 366"/>
                <a:gd name="T77" fmla="*/ 38 h 684"/>
                <a:gd name="T78" fmla="*/ 48 w 366"/>
                <a:gd name="T79" fmla="*/ 43 h 684"/>
                <a:gd name="T80" fmla="*/ 45 w 366"/>
                <a:gd name="T81" fmla="*/ 51 h 684"/>
                <a:gd name="T82" fmla="*/ 44 w 366"/>
                <a:gd name="T83" fmla="*/ 58 h 684"/>
                <a:gd name="T84" fmla="*/ 40 w 366"/>
                <a:gd name="T85" fmla="*/ 72 h 684"/>
                <a:gd name="T86" fmla="*/ 38 w 366"/>
                <a:gd name="T87" fmla="*/ 84 h 684"/>
                <a:gd name="T88" fmla="*/ 34 w 366"/>
                <a:gd name="T89" fmla="*/ 94 h 684"/>
                <a:gd name="T90" fmla="*/ 32 w 366"/>
                <a:gd name="T91" fmla="*/ 102 h 684"/>
                <a:gd name="T92" fmla="*/ 30 w 366"/>
                <a:gd name="T93" fmla="*/ 111 h 684"/>
                <a:gd name="T94" fmla="*/ 27 w 366"/>
                <a:gd name="T95" fmla="*/ 115 h 684"/>
                <a:gd name="T96" fmla="*/ 19 w 366"/>
                <a:gd name="T97" fmla="*/ 119 h 684"/>
                <a:gd name="T98" fmla="*/ 14 w 366"/>
                <a:gd name="T99" fmla="*/ 119 h 684"/>
                <a:gd name="T100" fmla="*/ 7 w 366"/>
                <a:gd name="T101" fmla="*/ 115 h 684"/>
                <a:gd name="T102" fmla="*/ 4 w 366"/>
                <a:gd name="T103" fmla="*/ 109 h 684"/>
                <a:gd name="T104" fmla="*/ 4 w 366"/>
                <a:gd name="T105" fmla="*/ 100 h 684"/>
                <a:gd name="T106" fmla="*/ 1 w 366"/>
                <a:gd name="T107" fmla="*/ 94 h 684"/>
                <a:gd name="T108" fmla="*/ 1 w 366"/>
                <a:gd name="T109" fmla="*/ 87 h 684"/>
                <a:gd name="T110" fmla="*/ 2 w 366"/>
                <a:gd name="T111" fmla="*/ 84 h 684"/>
                <a:gd name="T112" fmla="*/ 2 w 366"/>
                <a:gd name="T113" fmla="*/ 84 h 684"/>
                <a:gd name="T114" fmla="*/ 6 w 366"/>
                <a:gd name="T115" fmla="*/ 82 h 684"/>
                <a:gd name="T116" fmla="*/ 6 w 366"/>
                <a:gd name="T117" fmla="*/ 78 h 684"/>
                <a:gd name="T118" fmla="*/ 9 w 366"/>
                <a:gd name="T119" fmla="*/ 73 h 6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66" h="684">
                  <a:moveTo>
                    <a:pt x="60" y="390"/>
                  </a:moveTo>
                  <a:lnTo>
                    <a:pt x="60" y="384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72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54" y="366"/>
                  </a:lnTo>
                  <a:lnTo>
                    <a:pt x="54" y="360"/>
                  </a:lnTo>
                  <a:lnTo>
                    <a:pt x="60" y="360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2" y="312"/>
                  </a:lnTo>
                  <a:lnTo>
                    <a:pt x="42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36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42" y="270"/>
                  </a:lnTo>
                  <a:lnTo>
                    <a:pt x="48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0" y="234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84" y="216"/>
                  </a:lnTo>
                  <a:lnTo>
                    <a:pt x="90" y="216"/>
                  </a:lnTo>
                  <a:lnTo>
                    <a:pt x="90" y="210"/>
                  </a:lnTo>
                  <a:lnTo>
                    <a:pt x="96" y="210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32" y="192"/>
                  </a:lnTo>
                  <a:lnTo>
                    <a:pt x="132" y="198"/>
                  </a:lnTo>
                  <a:lnTo>
                    <a:pt x="132" y="192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44" y="198"/>
                  </a:lnTo>
                  <a:lnTo>
                    <a:pt x="144" y="192"/>
                  </a:lnTo>
                  <a:lnTo>
                    <a:pt x="144" y="198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44" y="192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80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74"/>
                  </a:lnTo>
                  <a:lnTo>
                    <a:pt x="198" y="174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04" y="150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16" y="144"/>
                  </a:lnTo>
                  <a:lnTo>
                    <a:pt x="216" y="150"/>
                  </a:lnTo>
                  <a:lnTo>
                    <a:pt x="210" y="156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16" y="156"/>
                  </a:lnTo>
                  <a:lnTo>
                    <a:pt x="216" y="150"/>
                  </a:lnTo>
                  <a:lnTo>
                    <a:pt x="222" y="150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40" y="114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40" y="126"/>
                  </a:lnTo>
                  <a:lnTo>
                    <a:pt x="240" y="120"/>
                  </a:lnTo>
                  <a:lnTo>
                    <a:pt x="240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34" y="108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34" y="102"/>
                  </a:lnTo>
                  <a:lnTo>
                    <a:pt x="234" y="96"/>
                  </a:lnTo>
                  <a:lnTo>
                    <a:pt x="234" y="90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2" y="96"/>
                  </a:lnTo>
                  <a:lnTo>
                    <a:pt x="258" y="96"/>
                  </a:lnTo>
                  <a:lnTo>
                    <a:pt x="258" y="90"/>
                  </a:lnTo>
                  <a:lnTo>
                    <a:pt x="258" y="84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78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42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0"/>
                  </a:lnTo>
                  <a:lnTo>
                    <a:pt x="288" y="24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294" y="18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6" y="54"/>
                  </a:lnTo>
                  <a:lnTo>
                    <a:pt x="336" y="60"/>
                  </a:lnTo>
                  <a:lnTo>
                    <a:pt x="336" y="66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8" y="90"/>
                  </a:lnTo>
                  <a:lnTo>
                    <a:pt x="348" y="96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60" y="156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74"/>
                  </a:lnTo>
                  <a:lnTo>
                    <a:pt x="360" y="180"/>
                  </a:lnTo>
                  <a:lnTo>
                    <a:pt x="360" y="186"/>
                  </a:lnTo>
                  <a:lnTo>
                    <a:pt x="354" y="186"/>
                  </a:lnTo>
                  <a:lnTo>
                    <a:pt x="360" y="192"/>
                  </a:lnTo>
                  <a:lnTo>
                    <a:pt x="354" y="192"/>
                  </a:lnTo>
                  <a:lnTo>
                    <a:pt x="354" y="198"/>
                  </a:lnTo>
                  <a:lnTo>
                    <a:pt x="348" y="204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6" y="180"/>
                  </a:lnTo>
                  <a:lnTo>
                    <a:pt x="336" y="174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24" y="174"/>
                  </a:lnTo>
                  <a:lnTo>
                    <a:pt x="330" y="174"/>
                  </a:lnTo>
                  <a:lnTo>
                    <a:pt x="324" y="174"/>
                  </a:lnTo>
                  <a:lnTo>
                    <a:pt x="324" y="180"/>
                  </a:lnTo>
                  <a:lnTo>
                    <a:pt x="318" y="180"/>
                  </a:lnTo>
                  <a:lnTo>
                    <a:pt x="318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204"/>
                  </a:lnTo>
                  <a:lnTo>
                    <a:pt x="324" y="210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22"/>
                  </a:lnTo>
                  <a:lnTo>
                    <a:pt x="330" y="228"/>
                  </a:lnTo>
                  <a:lnTo>
                    <a:pt x="330" y="234"/>
                  </a:lnTo>
                  <a:lnTo>
                    <a:pt x="330" y="240"/>
                  </a:lnTo>
                  <a:lnTo>
                    <a:pt x="324" y="240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24" y="246"/>
                  </a:lnTo>
                  <a:lnTo>
                    <a:pt x="318" y="252"/>
                  </a:lnTo>
                  <a:lnTo>
                    <a:pt x="318" y="258"/>
                  </a:lnTo>
                  <a:lnTo>
                    <a:pt x="312" y="258"/>
                  </a:lnTo>
                  <a:lnTo>
                    <a:pt x="312" y="264"/>
                  </a:lnTo>
                  <a:lnTo>
                    <a:pt x="312" y="270"/>
                  </a:lnTo>
                  <a:lnTo>
                    <a:pt x="312" y="276"/>
                  </a:lnTo>
                  <a:lnTo>
                    <a:pt x="312" y="282"/>
                  </a:lnTo>
                  <a:lnTo>
                    <a:pt x="312" y="288"/>
                  </a:lnTo>
                  <a:lnTo>
                    <a:pt x="318" y="288"/>
                  </a:lnTo>
                  <a:lnTo>
                    <a:pt x="312" y="294"/>
                  </a:lnTo>
                  <a:lnTo>
                    <a:pt x="312" y="300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06" y="324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300" y="342"/>
                  </a:lnTo>
                  <a:lnTo>
                    <a:pt x="288" y="366"/>
                  </a:lnTo>
                  <a:lnTo>
                    <a:pt x="288" y="372"/>
                  </a:lnTo>
                  <a:lnTo>
                    <a:pt x="288" y="378"/>
                  </a:lnTo>
                  <a:lnTo>
                    <a:pt x="282" y="384"/>
                  </a:lnTo>
                  <a:lnTo>
                    <a:pt x="282" y="396"/>
                  </a:lnTo>
                  <a:lnTo>
                    <a:pt x="276" y="402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70" y="420"/>
                  </a:lnTo>
                  <a:lnTo>
                    <a:pt x="270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58" y="462"/>
                  </a:lnTo>
                  <a:lnTo>
                    <a:pt x="258" y="468"/>
                  </a:lnTo>
                  <a:lnTo>
                    <a:pt x="258" y="474"/>
                  </a:lnTo>
                  <a:lnTo>
                    <a:pt x="252" y="480"/>
                  </a:lnTo>
                  <a:lnTo>
                    <a:pt x="252" y="486"/>
                  </a:lnTo>
                  <a:lnTo>
                    <a:pt x="252" y="492"/>
                  </a:lnTo>
                  <a:lnTo>
                    <a:pt x="246" y="498"/>
                  </a:lnTo>
                  <a:lnTo>
                    <a:pt x="246" y="504"/>
                  </a:lnTo>
                  <a:lnTo>
                    <a:pt x="240" y="516"/>
                  </a:lnTo>
                  <a:lnTo>
                    <a:pt x="234" y="522"/>
                  </a:lnTo>
                  <a:lnTo>
                    <a:pt x="234" y="528"/>
                  </a:lnTo>
                  <a:lnTo>
                    <a:pt x="234" y="534"/>
                  </a:lnTo>
                  <a:lnTo>
                    <a:pt x="234" y="540"/>
                  </a:lnTo>
                  <a:lnTo>
                    <a:pt x="234" y="546"/>
                  </a:lnTo>
                  <a:lnTo>
                    <a:pt x="228" y="552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76"/>
                  </a:lnTo>
                  <a:lnTo>
                    <a:pt x="222" y="582"/>
                  </a:lnTo>
                  <a:lnTo>
                    <a:pt x="222" y="588"/>
                  </a:lnTo>
                  <a:lnTo>
                    <a:pt x="222" y="594"/>
                  </a:lnTo>
                  <a:lnTo>
                    <a:pt x="216" y="594"/>
                  </a:lnTo>
                  <a:lnTo>
                    <a:pt x="216" y="606"/>
                  </a:lnTo>
                  <a:lnTo>
                    <a:pt x="210" y="612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8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48"/>
                  </a:lnTo>
                  <a:lnTo>
                    <a:pt x="192" y="654"/>
                  </a:lnTo>
                  <a:lnTo>
                    <a:pt x="186" y="654"/>
                  </a:lnTo>
                  <a:lnTo>
                    <a:pt x="180" y="654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0"/>
                  </a:lnTo>
                  <a:lnTo>
                    <a:pt x="150" y="666"/>
                  </a:lnTo>
                  <a:lnTo>
                    <a:pt x="144" y="666"/>
                  </a:lnTo>
                  <a:lnTo>
                    <a:pt x="138" y="666"/>
                  </a:lnTo>
                  <a:lnTo>
                    <a:pt x="132" y="672"/>
                  </a:lnTo>
                  <a:lnTo>
                    <a:pt x="126" y="672"/>
                  </a:lnTo>
                  <a:lnTo>
                    <a:pt x="126" y="678"/>
                  </a:lnTo>
                  <a:lnTo>
                    <a:pt x="120" y="678"/>
                  </a:lnTo>
                  <a:lnTo>
                    <a:pt x="114" y="678"/>
                  </a:lnTo>
                  <a:lnTo>
                    <a:pt x="108" y="678"/>
                  </a:lnTo>
                  <a:lnTo>
                    <a:pt x="102" y="678"/>
                  </a:lnTo>
                  <a:lnTo>
                    <a:pt x="102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84" y="672"/>
                  </a:lnTo>
                  <a:lnTo>
                    <a:pt x="78" y="666"/>
                  </a:lnTo>
                  <a:lnTo>
                    <a:pt x="66" y="666"/>
                  </a:lnTo>
                  <a:lnTo>
                    <a:pt x="60" y="666"/>
                  </a:lnTo>
                  <a:lnTo>
                    <a:pt x="60" y="660"/>
                  </a:lnTo>
                  <a:lnTo>
                    <a:pt x="54" y="660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48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30" y="624"/>
                  </a:lnTo>
                  <a:lnTo>
                    <a:pt x="24" y="624"/>
                  </a:lnTo>
                  <a:lnTo>
                    <a:pt x="24" y="618"/>
                  </a:lnTo>
                  <a:lnTo>
                    <a:pt x="24" y="612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24" y="594"/>
                  </a:lnTo>
                  <a:lnTo>
                    <a:pt x="24" y="588"/>
                  </a:lnTo>
                  <a:lnTo>
                    <a:pt x="24" y="582"/>
                  </a:lnTo>
                  <a:lnTo>
                    <a:pt x="30" y="582"/>
                  </a:lnTo>
                  <a:lnTo>
                    <a:pt x="30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24" y="558"/>
                  </a:lnTo>
                  <a:lnTo>
                    <a:pt x="18" y="558"/>
                  </a:lnTo>
                  <a:lnTo>
                    <a:pt x="18" y="552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0"/>
                  </a:lnTo>
                  <a:lnTo>
                    <a:pt x="6" y="534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6" y="492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0" y="462"/>
                  </a:lnTo>
                  <a:lnTo>
                    <a:pt x="36" y="462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14"/>
                  </a:lnTo>
                  <a:lnTo>
                    <a:pt x="60" y="408"/>
                  </a:lnTo>
                  <a:lnTo>
                    <a:pt x="66" y="408"/>
                  </a:lnTo>
                  <a:lnTo>
                    <a:pt x="66" y="402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21" name="Freeform 70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4769" y="2096"/>
              <a:ext cx="100" cy="249"/>
            </a:xfrm>
            <a:custGeom>
              <a:avLst/>
              <a:gdLst>
                <a:gd name="T0" fmla="*/ 4 w 162"/>
                <a:gd name="T1" fmla="*/ 1 h 384"/>
                <a:gd name="T2" fmla="*/ 6 w 162"/>
                <a:gd name="T3" fmla="*/ 2 h 384"/>
                <a:gd name="T4" fmla="*/ 9 w 162"/>
                <a:gd name="T5" fmla="*/ 3 h 384"/>
                <a:gd name="T6" fmla="*/ 10 w 162"/>
                <a:gd name="T7" fmla="*/ 1 h 384"/>
                <a:gd name="T8" fmla="*/ 12 w 162"/>
                <a:gd name="T9" fmla="*/ 3 h 384"/>
                <a:gd name="T10" fmla="*/ 14 w 162"/>
                <a:gd name="T11" fmla="*/ 6 h 384"/>
                <a:gd name="T12" fmla="*/ 14 w 162"/>
                <a:gd name="T13" fmla="*/ 10 h 384"/>
                <a:gd name="T14" fmla="*/ 14 w 162"/>
                <a:gd name="T15" fmla="*/ 15 h 384"/>
                <a:gd name="T16" fmla="*/ 15 w 162"/>
                <a:gd name="T17" fmla="*/ 17 h 384"/>
                <a:gd name="T18" fmla="*/ 14 w 162"/>
                <a:gd name="T19" fmla="*/ 19 h 384"/>
                <a:gd name="T20" fmla="*/ 14 w 162"/>
                <a:gd name="T21" fmla="*/ 25 h 384"/>
                <a:gd name="T22" fmla="*/ 14 w 162"/>
                <a:gd name="T23" fmla="*/ 29 h 384"/>
                <a:gd name="T24" fmla="*/ 14 w 162"/>
                <a:gd name="T25" fmla="*/ 33 h 384"/>
                <a:gd name="T26" fmla="*/ 14 w 162"/>
                <a:gd name="T27" fmla="*/ 36 h 384"/>
                <a:gd name="T28" fmla="*/ 19 w 162"/>
                <a:gd name="T29" fmla="*/ 39 h 384"/>
                <a:gd name="T30" fmla="*/ 23 w 162"/>
                <a:gd name="T31" fmla="*/ 49 h 384"/>
                <a:gd name="T32" fmla="*/ 22 w 162"/>
                <a:gd name="T33" fmla="*/ 58 h 384"/>
                <a:gd name="T34" fmla="*/ 20 w 162"/>
                <a:gd name="T35" fmla="*/ 59 h 384"/>
                <a:gd name="T36" fmla="*/ 19 w 162"/>
                <a:gd name="T37" fmla="*/ 63 h 384"/>
                <a:gd name="T38" fmla="*/ 19 w 162"/>
                <a:gd name="T39" fmla="*/ 65 h 384"/>
                <a:gd name="T40" fmla="*/ 17 w 162"/>
                <a:gd name="T41" fmla="*/ 67 h 384"/>
                <a:gd name="T42" fmla="*/ 17 w 162"/>
                <a:gd name="T43" fmla="*/ 65 h 384"/>
                <a:gd name="T44" fmla="*/ 15 w 162"/>
                <a:gd name="T45" fmla="*/ 64 h 384"/>
                <a:gd name="T46" fmla="*/ 14 w 162"/>
                <a:gd name="T47" fmla="*/ 62 h 384"/>
                <a:gd name="T48" fmla="*/ 12 w 162"/>
                <a:gd name="T49" fmla="*/ 60 h 384"/>
                <a:gd name="T50" fmla="*/ 12 w 162"/>
                <a:gd name="T51" fmla="*/ 58 h 384"/>
                <a:gd name="T52" fmla="*/ 12 w 162"/>
                <a:gd name="T53" fmla="*/ 56 h 384"/>
                <a:gd name="T54" fmla="*/ 14 w 162"/>
                <a:gd name="T55" fmla="*/ 53 h 384"/>
                <a:gd name="T56" fmla="*/ 14 w 162"/>
                <a:gd name="T57" fmla="*/ 52 h 384"/>
                <a:gd name="T58" fmla="*/ 14 w 162"/>
                <a:gd name="T59" fmla="*/ 47 h 384"/>
                <a:gd name="T60" fmla="*/ 14 w 162"/>
                <a:gd name="T61" fmla="*/ 45 h 384"/>
                <a:gd name="T62" fmla="*/ 10 w 162"/>
                <a:gd name="T63" fmla="*/ 45 h 384"/>
                <a:gd name="T64" fmla="*/ 7 w 162"/>
                <a:gd name="T65" fmla="*/ 45 h 384"/>
                <a:gd name="T66" fmla="*/ 6 w 162"/>
                <a:gd name="T67" fmla="*/ 43 h 384"/>
                <a:gd name="T68" fmla="*/ 4 w 162"/>
                <a:gd name="T69" fmla="*/ 42 h 384"/>
                <a:gd name="T70" fmla="*/ 2 w 162"/>
                <a:gd name="T71" fmla="*/ 40 h 384"/>
                <a:gd name="T72" fmla="*/ 1 w 162"/>
                <a:gd name="T73" fmla="*/ 39 h 384"/>
                <a:gd name="T74" fmla="*/ 1 w 162"/>
                <a:gd name="T75" fmla="*/ 38 h 384"/>
                <a:gd name="T76" fmla="*/ 0 w 162"/>
                <a:gd name="T77" fmla="*/ 37 h 384"/>
                <a:gd name="T78" fmla="*/ 1 w 162"/>
                <a:gd name="T79" fmla="*/ 34 h 384"/>
                <a:gd name="T80" fmla="*/ 2 w 162"/>
                <a:gd name="T81" fmla="*/ 30 h 384"/>
                <a:gd name="T82" fmla="*/ 2 w 162"/>
                <a:gd name="T83" fmla="*/ 29 h 384"/>
                <a:gd name="T84" fmla="*/ 6 w 162"/>
                <a:gd name="T85" fmla="*/ 27 h 384"/>
                <a:gd name="T86" fmla="*/ 6 w 162"/>
                <a:gd name="T87" fmla="*/ 25 h 384"/>
                <a:gd name="T88" fmla="*/ 4 w 162"/>
                <a:gd name="T89" fmla="*/ 22 h 384"/>
                <a:gd name="T90" fmla="*/ 4 w 162"/>
                <a:gd name="T91" fmla="*/ 19 h 384"/>
                <a:gd name="T92" fmla="*/ 4 w 162"/>
                <a:gd name="T93" fmla="*/ 17 h 384"/>
                <a:gd name="T94" fmla="*/ 4 w 162"/>
                <a:gd name="T95" fmla="*/ 15 h 384"/>
                <a:gd name="T96" fmla="*/ 6 w 162"/>
                <a:gd name="T97" fmla="*/ 12 h 384"/>
                <a:gd name="T98" fmla="*/ 7 w 162"/>
                <a:gd name="T99" fmla="*/ 10 h 384"/>
                <a:gd name="T100" fmla="*/ 6 w 162"/>
                <a:gd name="T101" fmla="*/ 6 h 384"/>
                <a:gd name="T102" fmla="*/ 4 w 162"/>
                <a:gd name="T103" fmla="*/ 4 h 384"/>
                <a:gd name="T104" fmla="*/ 4 w 162"/>
                <a:gd name="T105" fmla="*/ 3 h 384"/>
                <a:gd name="T106" fmla="*/ 1 w 162"/>
                <a:gd name="T107" fmla="*/ 1 h 3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62" h="384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90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08" y="102"/>
                  </a:lnTo>
                  <a:lnTo>
                    <a:pt x="114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6" y="120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90" y="150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0" y="198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04"/>
                  </a:lnTo>
                  <a:lnTo>
                    <a:pt x="114" y="210"/>
                  </a:lnTo>
                  <a:lnTo>
                    <a:pt x="120" y="216"/>
                  </a:lnTo>
                  <a:lnTo>
                    <a:pt x="126" y="222"/>
                  </a:lnTo>
                  <a:lnTo>
                    <a:pt x="138" y="240"/>
                  </a:lnTo>
                  <a:lnTo>
                    <a:pt x="144" y="246"/>
                  </a:lnTo>
                  <a:lnTo>
                    <a:pt x="162" y="264"/>
                  </a:lnTo>
                  <a:lnTo>
                    <a:pt x="162" y="276"/>
                  </a:lnTo>
                  <a:lnTo>
                    <a:pt x="156" y="288"/>
                  </a:lnTo>
                  <a:lnTo>
                    <a:pt x="156" y="300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56" y="336"/>
                  </a:lnTo>
                  <a:lnTo>
                    <a:pt x="150" y="336"/>
                  </a:lnTo>
                  <a:lnTo>
                    <a:pt x="144" y="336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42"/>
                  </a:lnTo>
                  <a:lnTo>
                    <a:pt x="132" y="348"/>
                  </a:lnTo>
                  <a:lnTo>
                    <a:pt x="132" y="354"/>
                  </a:lnTo>
                  <a:lnTo>
                    <a:pt x="126" y="354"/>
                  </a:lnTo>
                  <a:lnTo>
                    <a:pt x="126" y="360"/>
                  </a:lnTo>
                  <a:lnTo>
                    <a:pt x="126" y="366"/>
                  </a:lnTo>
                  <a:lnTo>
                    <a:pt x="132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32" y="384"/>
                  </a:lnTo>
                  <a:lnTo>
                    <a:pt x="120" y="384"/>
                  </a:lnTo>
                  <a:lnTo>
                    <a:pt x="120" y="378"/>
                  </a:lnTo>
                  <a:lnTo>
                    <a:pt x="126" y="378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14" y="366"/>
                  </a:lnTo>
                  <a:lnTo>
                    <a:pt x="108" y="366"/>
                  </a:lnTo>
                  <a:lnTo>
                    <a:pt x="108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96" y="354"/>
                  </a:lnTo>
                  <a:lnTo>
                    <a:pt x="96" y="348"/>
                  </a:lnTo>
                  <a:lnTo>
                    <a:pt x="90" y="342"/>
                  </a:lnTo>
                  <a:lnTo>
                    <a:pt x="90" y="348"/>
                  </a:lnTo>
                  <a:lnTo>
                    <a:pt x="90" y="342"/>
                  </a:lnTo>
                  <a:lnTo>
                    <a:pt x="84" y="342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0" y="330"/>
                  </a:lnTo>
                  <a:lnTo>
                    <a:pt x="84" y="330"/>
                  </a:lnTo>
                  <a:lnTo>
                    <a:pt x="84" y="324"/>
                  </a:lnTo>
                  <a:lnTo>
                    <a:pt x="78" y="324"/>
                  </a:lnTo>
                  <a:lnTo>
                    <a:pt x="78" y="318"/>
                  </a:lnTo>
                  <a:lnTo>
                    <a:pt x="84" y="318"/>
                  </a:lnTo>
                  <a:lnTo>
                    <a:pt x="84" y="312"/>
                  </a:lnTo>
                  <a:lnTo>
                    <a:pt x="90" y="312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6" y="276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8" y="252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36" y="246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30" y="234"/>
                  </a:lnTo>
                  <a:lnTo>
                    <a:pt x="24" y="228"/>
                  </a:lnTo>
                  <a:lnTo>
                    <a:pt x="18" y="228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12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4622" name="Group 71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4665" y="1828"/>
              <a:ext cx="341" cy="346"/>
              <a:chOff x="4697" y="2040"/>
              <a:chExt cx="341" cy="346"/>
            </a:xfrm>
          </p:grpSpPr>
          <p:sp>
            <p:nvSpPr>
              <p:cNvPr id="24680" name="Freeform 72"/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4697" y="2040"/>
                <a:ext cx="341" cy="346"/>
              </a:xfrm>
              <a:custGeom>
                <a:avLst/>
                <a:gdLst>
                  <a:gd name="T0" fmla="*/ 4 w 552"/>
                  <a:gd name="T1" fmla="*/ 30 h 534"/>
                  <a:gd name="T2" fmla="*/ 7 w 552"/>
                  <a:gd name="T3" fmla="*/ 27 h 534"/>
                  <a:gd name="T4" fmla="*/ 9 w 552"/>
                  <a:gd name="T5" fmla="*/ 21 h 534"/>
                  <a:gd name="T6" fmla="*/ 12 w 552"/>
                  <a:gd name="T7" fmla="*/ 19 h 534"/>
                  <a:gd name="T8" fmla="*/ 9 w 552"/>
                  <a:gd name="T9" fmla="*/ 16 h 534"/>
                  <a:gd name="T10" fmla="*/ 9 w 552"/>
                  <a:gd name="T11" fmla="*/ 12 h 534"/>
                  <a:gd name="T12" fmla="*/ 12 w 552"/>
                  <a:gd name="T13" fmla="*/ 10 h 534"/>
                  <a:gd name="T14" fmla="*/ 12 w 552"/>
                  <a:gd name="T15" fmla="*/ 6 h 534"/>
                  <a:gd name="T16" fmla="*/ 9 w 552"/>
                  <a:gd name="T17" fmla="*/ 2 h 534"/>
                  <a:gd name="T18" fmla="*/ 14 w 552"/>
                  <a:gd name="T19" fmla="*/ 0 h 534"/>
                  <a:gd name="T20" fmla="*/ 42 w 552"/>
                  <a:gd name="T21" fmla="*/ 5 h 534"/>
                  <a:gd name="T22" fmla="*/ 61 w 552"/>
                  <a:gd name="T23" fmla="*/ 17 h 534"/>
                  <a:gd name="T24" fmla="*/ 62 w 552"/>
                  <a:gd name="T25" fmla="*/ 23 h 534"/>
                  <a:gd name="T26" fmla="*/ 72 w 552"/>
                  <a:gd name="T27" fmla="*/ 34 h 534"/>
                  <a:gd name="T28" fmla="*/ 70 w 552"/>
                  <a:gd name="T29" fmla="*/ 35 h 534"/>
                  <a:gd name="T30" fmla="*/ 70 w 552"/>
                  <a:gd name="T31" fmla="*/ 37 h 534"/>
                  <a:gd name="T32" fmla="*/ 70 w 552"/>
                  <a:gd name="T33" fmla="*/ 40 h 534"/>
                  <a:gd name="T34" fmla="*/ 69 w 552"/>
                  <a:gd name="T35" fmla="*/ 47 h 534"/>
                  <a:gd name="T36" fmla="*/ 70 w 552"/>
                  <a:gd name="T37" fmla="*/ 47 h 534"/>
                  <a:gd name="T38" fmla="*/ 72 w 552"/>
                  <a:gd name="T39" fmla="*/ 50 h 534"/>
                  <a:gd name="T40" fmla="*/ 74 w 552"/>
                  <a:gd name="T41" fmla="*/ 53 h 534"/>
                  <a:gd name="T42" fmla="*/ 72 w 552"/>
                  <a:gd name="T43" fmla="*/ 55 h 534"/>
                  <a:gd name="T44" fmla="*/ 72 w 552"/>
                  <a:gd name="T45" fmla="*/ 59 h 534"/>
                  <a:gd name="T46" fmla="*/ 72 w 552"/>
                  <a:gd name="T47" fmla="*/ 62 h 534"/>
                  <a:gd name="T48" fmla="*/ 72 w 552"/>
                  <a:gd name="T49" fmla="*/ 67 h 534"/>
                  <a:gd name="T50" fmla="*/ 74 w 552"/>
                  <a:gd name="T51" fmla="*/ 69 h 534"/>
                  <a:gd name="T52" fmla="*/ 74 w 552"/>
                  <a:gd name="T53" fmla="*/ 71 h 534"/>
                  <a:gd name="T54" fmla="*/ 74 w 552"/>
                  <a:gd name="T55" fmla="*/ 71 h 534"/>
                  <a:gd name="T56" fmla="*/ 75 w 552"/>
                  <a:gd name="T57" fmla="*/ 75 h 534"/>
                  <a:gd name="T58" fmla="*/ 75 w 552"/>
                  <a:gd name="T59" fmla="*/ 78 h 534"/>
                  <a:gd name="T60" fmla="*/ 78 w 552"/>
                  <a:gd name="T61" fmla="*/ 80 h 534"/>
                  <a:gd name="T62" fmla="*/ 78 w 552"/>
                  <a:gd name="T63" fmla="*/ 82 h 534"/>
                  <a:gd name="T64" fmla="*/ 80 w 552"/>
                  <a:gd name="T65" fmla="*/ 82 h 534"/>
                  <a:gd name="T66" fmla="*/ 77 w 552"/>
                  <a:gd name="T67" fmla="*/ 86 h 534"/>
                  <a:gd name="T68" fmla="*/ 72 w 552"/>
                  <a:gd name="T69" fmla="*/ 89 h 534"/>
                  <a:gd name="T70" fmla="*/ 69 w 552"/>
                  <a:gd name="T71" fmla="*/ 90 h 534"/>
                  <a:gd name="T72" fmla="*/ 64 w 552"/>
                  <a:gd name="T73" fmla="*/ 90 h 534"/>
                  <a:gd name="T74" fmla="*/ 61 w 552"/>
                  <a:gd name="T75" fmla="*/ 92 h 534"/>
                  <a:gd name="T76" fmla="*/ 59 w 552"/>
                  <a:gd name="T77" fmla="*/ 93 h 534"/>
                  <a:gd name="T78" fmla="*/ 54 w 552"/>
                  <a:gd name="T79" fmla="*/ 92 h 534"/>
                  <a:gd name="T80" fmla="*/ 51 w 552"/>
                  <a:gd name="T81" fmla="*/ 93 h 534"/>
                  <a:gd name="T82" fmla="*/ 49 w 552"/>
                  <a:gd name="T83" fmla="*/ 92 h 534"/>
                  <a:gd name="T84" fmla="*/ 46 w 552"/>
                  <a:gd name="T85" fmla="*/ 92 h 534"/>
                  <a:gd name="T86" fmla="*/ 46 w 552"/>
                  <a:gd name="T87" fmla="*/ 92 h 534"/>
                  <a:gd name="T88" fmla="*/ 43 w 552"/>
                  <a:gd name="T89" fmla="*/ 92 h 534"/>
                  <a:gd name="T90" fmla="*/ 40 w 552"/>
                  <a:gd name="T91" fmla="*/ 89 h 534"/>
                  <a:gd name="T92" fmla="*/ 38 w 552"/>
                  <a:gd name="T93" fmla="*/ 84 h 534"/>
                  <a:gd name="T94" fmla="*/ 38 w 552"/>
                  <a:gd name="T95" fmla="*/ 78 h 534"/>
                  <a:gd name="T96" fmla="*/ 35 w 552"/>
                  <a:gd name="T97" fmla="*/ 74 h 534"/>
                  <a:gd name="T98" fmla="*/ 33 w 552"/>
                  <a:gd name="T99" fmla="*/ 75 h 534"/>
                  <a:gd name="T100" fmla="*/ 28 w 552"/>
                  <a:gd name="T101" fmla="*/ 74 h 534"/>
                  <a:gd name="T102" fmla="*/ 25 w 552"/>
                  <a:gd name="T103" fmla="*/ 72 h 534"/>
                  <a:gd name="T104" fmla="*/ 20 w 552"/>
                  <a:gd name="T105" fmla="*/ 71 h 534"/>
                  <a:gd name="T106" fmla="*/ 17 w 552"/>
                  <a:gd name="T107" fmla="*/ 69 h 534"/>
                  <a:gd name="T108" fmla="*/ 14 w 552"/>
                  <a:gd name="T109" fmla="*/ 67 h 534"/>
                  <a:gd name="T110" fmla="*/ 11 w 552"/>
                  <a:gd name="T111" fmla="*/ 62 h 534"/>
                  <a:gd name="T112" fmla="*/ 7 w 552"/>
                  <a:gd name="T113" fmla="*/ 53 h 534"/>
                  <a:gd name="T114" fmla="*/ 2 w 552"/>
                  <a:gd name="T115" fmla="*/ 47 h 534"/>
                  <a:gd name="T116" fmla="*/ 2 w 552"/>
                  <a:gd name="T117" fmla="*/ 40 h 534"/>
                  <a:gd name="T118" fmla="*/ 0 w 552"/>
                  <a:gd name="T119" fmla="*/ 34 h 53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552" h="534">
                    <a:moveTo>
                      <a:pt x="6" y="168"/>
                    </a:moveTo>
                    <a:lnTo>
                      <a:pt x="18" y="168"/>
                    </a:lnTo>
                    <a:lnTo>
                      <a:pt x="24" y="168"/>
                    </a:lnTo>
                    <a:lnTo>
                      <a:pt x="24" y="174"/>
                    </a:lnTo>
                    <a:lnTo>
                      <a:pt x="24" y="168"/>
                    </a:lnTo>
                    <a:lnTo>
                      <a:pt x="30" y="168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66" y="120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08"/>
                    </a:lnTo>
                    <a:lnTo>
                      <a:pt x="78" y="102"/>
                    </a:lnTo>
                    <a:lnTo>
                      <a:pt x="78" y="96"/>
                    </a:lnTo>
                    <a:lnTo>
                      <a:pt x="72" y="96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1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88" y="30"/>
                    </a:lnTo>
                    <a:lnTo>
                      <a:pt x="324" y="48"/>
                    </a:lnTo>
                    <a:lnTo>
                      <a:pt x="348" y="60"/>
                    </a:lnTo>
                    <a:lnTo>
                      <a:pt x="366" y="72"/>
                    </a:lnTo>
                    <a:lnTo>
                      <a:pt x="384" y="84"/>
                    </a:lnTo>
                    <a:lnTo>
                      <a:pt x="408" y="96"/>
                    </a:lnTo>
                    <a:lnTo>
                      <a:pt x="414" y="96"/>
                    </a:lnTo>
                    <a:lnTo>
                      <a:pt x="420" y="102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26"/>
                    </a:lnTo>
                    <a:lnTo>
                      <a:pt x="420" y="126"/>
                    </a:lnTo>
                    <a:lnTo>
                      <a:pt x="426" y="132"/>
                    </a:lnTo>
                    <a:lnTo>
                      <a:pt x="432" y="138"/>
                    </a:lnTo>
                    <a:lnTo>
                      <a:pt x="456" y="156"/>
                    </a:lnTo>
                    <a:lnTo>
                      <a:pt x="468" y="162"/>
                    </a:lnTo>
                    <a:lnTo>
                      <a:pt x="492" y="180"/>
                    </a:lnTo>
                    <a:lnTo>
                      <a:pt x="492" y="186"/>
                    </a:lnTo>
                    <a:lnTo>
                      <a:pt x="492" y="192"/>
                    </a:lnTo>
                    <a:lnTo>
                      <a:pt x="486" y="192"/>
                    </a:lnTo>
                    <a:lnTo>
                      <a:pt x="492" y="192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86" y="204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92" y="204"/>
                    </a:lnTo>
                    <a:lnTo>
                      <a:pt x="486" y="204"/>
                    </a:lnTo>
                    <a:lnTo>
                      <a:pt x="486" y="210"/>
                    </a:lnTo>
                    <a:lnTo>
                      <a:pt x="486" y="216"/>
                    </a:lnTo>
                    <a:lnTo>
                      <a:pt x="480" y="216"/>
                    </a:lnTo>
                    <a:lnTo>
                      <a:pt x="480" y="222"/>
                    </a:lnTo>
                    <a:lnTo>
                      <a:pt x="486" y="222"/>
                    </a:lnTo>
                    <a:lnTo>
                      <a:pt x="480" y="222"/>
                    </a:lnTo>
                    <a:lnTo>
                      <a:pt x="480" y="228"/>
                    </a:lnTo>
                    <a:lnTo>
                      <a:pt x="480" y="234"/>
                    </a:lnTo>
                    <a:lnTo>
                      <a:pt x="474" y="240"/>
                    </a:lnTo>
                    <a:lnTo>
                      <a:pt x="474" y="246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6" y="276"/>
                    </a:lnTo>
                    <a:lnTo>
                      <a:pt x="492" y="276"/>
                    </a:lnTo>
                    <a:lnTo>
                      <a:pt x="492" y="282"/>
                    </a:lnTo>
                    <a:lnTo>
                      <a:pt x="498" y="282"/>
                    </a:lnTo>
                    <a:lnTo>
                      <a:pt x="498" y="288"/>
                    </a:lnTo>
                    <a:lnTo>
                      <a:pt x="504" y="288"/>
                    </a:lnTo>
                    <a:lnTo>
                      <a:pt x="504" y="294"/>
                    </a:lnTo>
                    <a:lnTo>
                      <a:pt x="510" y="294"/>
                    </a:lnTo>
                    <a:lnTo>
                      <a:pt x="510" y="300"/>
                    </a:lnTo>
                    <a:lnTo>
                      <a:pt x="510" y="306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498" y="336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04" y="354"/>
                    </a:lnTo>
                    <a:lnTo>
                      <a:pt x="498" y="360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498" y="366"/>
                    </a:lnTo>
                    <a:lnTo>
                      <a:pt x="498" y="372"/>
                    </a:lnTo>
                    <a:lnTo>
                      <a:pt x="498" y="378"/>
                    </a:lnTo>
                    <a:lnTo>
                      <a:pt x="504" y="384"/>
                    </a:lnTo>
                    <a:lnTo>
                      <a:pt x="498" y="384"/>
                    </a:lnTo>
                    <a:lnTo>
                      <a:pt x="504" y="384"/>
                    </a:lnTo>
                    <a:lnTo>
                      <a:pt x="504" y="390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10" y="390"/>
                    </a:lnTo>
                    <a:lnTo>
                      <a:pt x="504" y="390"/>
                    </a:lnTo>
                    <a:lnTo>
                      <a:pt x="504" y="396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04" y="396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04" y="402"/>
                    </a:lnTo>
                    <a:lnTo>
                      <a:pt x="510" y="402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16" y="402"/>
                    </a:lnTo>
                    <a:lnTo>
                      <a:pt x="510" y="402"/>
                    </a:lnTo>
                    <a:lnTo>
                      <a:pt x="516" y="408"/>
                    </a:lnTo>
                    <a:lnTo>
                      <a:pt x="516" y="414"/>
                    </a:lnTo>
                    <a:lnTo>
                      <a:pt x="510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16" y="426"/>
                    </a:lnTo>
                    <a:lnTo>
                      <a:pt x="522" y="432"/>
                    </a:lnTo>
                    <a:lnTo>
                      <a:pt x="516" y="432"/>
                    </a:lnTo>
                    <a:lnTo>
                      <a:pt x="522" y="432"/>
                    </a:lnTo>
                    <a:lnTo>
                      <a:pt x="522" y="438"/>
                    </a:lnTo>
                    <a:lnTo>
                      <a:pt x="522" y="444"/>
                    </a:lnTo>
                    <a:lnTo>
                      <a:pt x="516" y="444"/>
                    </a:lnTo>
                    <a:lnTo>
                      <a:pt x="522" y="444"/>
                    </a:lnTo>
                    <a:lnTo>
                      <a:pt x="528" y="444"/>
                    </a:lnTo>
                    <a:lnTo>
                      <a:pt x="528" y="450"/>
                    </a:lnTo>
                    <a:lnTo>
                      <a:pt x="534" y="450"/>
                    </a:lnTo>
                    <a:lnTo>
                      <a:pt x="528" y="456"/>
                    </a:lnTo>
                    <a:lnTo>
                      <a:pt x="534" y="456"/>
                    </a:lnTo>
                    <a:lnTo>
                      <a:pt x="534" y="450"/>
                    </a:lnTo>
                    <a:lnTo>
                      <a:pt x="534" y="456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6" y="462"/>
                    </a:lnTo>
                    <a:lnTo>
                      <a:pt x="546" y="456"/>
                    </a:lnTo>
                    <a:lnTo>
                      <a:pt x="540" y="456"/>
                    </a:lnTo>
                    <a:lnTo>
                      <a:pt x="546" y="456"/>
                    </a:lnTo>
                    <a:lnTo>
                      <a:pt x="546" y="462"/>
                    </a:lnTo>
                    <a:lnTo>
                      <a:pt x="552" y="462"/>
                    </a:lnTo>
                    <a:lnTo>
                      <a:pt x="552" y="468"/>
                    </a:lnTo>
                    <a:lnTo>
                      <a:pt x="552" y="474"/>
                    </a:lnTo>
                    <a:lnTo>
                      <a:pt x="546" y="474"/>
                    </a:lnTo>
                    <a:lnTo>
                      <a:pt x="540" y="480"/>
                    </a:lnTo>
                    <a:lnTo>
                      <a:pt x="534" y="486"/>
                    </a:lnTo>
                    <a:lnTo>
                      <a:pt x="528" y="486"/>
                    </a:lnTo>
                    <a:lnTo>
                      <a:pt x="522" y="492"/>
                    </a:lnTo>
                    <a:lnTo>
                      <a:pt x="516" y="492"/>
                    </a:lnTo>
                    <a:lnTo>
                      <a:pt x="510" y="492"/>
                    </a:lnTo>
                    <a:lnTo>
                      <a:pt x="510" y="498"/>
                    </a:lnTo>
                    <a:lnTo>
                      <a:pt x="504" y="498"/>
                    </a:lnTo>
                    <a:lnTo>
                      <a:pt x="498" y="504"/>
                    </a:lnTo>
                    <a:lnTo>
                      <a:pt x="492" y="504"/>
                    </a:lnTo>
                    <a:lnTo>
                      <a:pt x="486" y="504"/>
                    </a:lnTo>
                    <a:lnTo>
                      <a:pt x="480" y="504"/>
                    </a:lnTo>
                    <a:lnTo>
                      <a:pt x="474" y="504"/>
                    </a:lnTo>
                    <a:lnTo>
                      <a:pt x="474" y="510"/>
                    </a:lnTo>
                    <a:lnTo>
                      <a:pt x="468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56" y="516"/>
                    </a:lnTo>
                    <a:lnTo>
                      <a:pt x="450" y="516"/>
                    </a:lnTo>
                    <a:lnTo>
                      <a:pt x="450" y="510"/>
                    </a:lnTo>
                    <a:lnTo>
                      <a:pt x="444" y="510"/>
                    </a:lnTo>
                    <a:lnTo>
                      <a:pt x="438" y="510"/>
                    </a:lnTo>
                    <a:lnTo>
                      <a:pt x="432" y="510"/>
                    </a:lnTo>
                    <a:lnTo>
                      <a:pt x="426" y="510"/>
                    </a:lnTo>
                    <a:lnTo>
                      <a:pt x="426" y="516"/>
                    </a:lnTo>
                    <a:lnTo>
                      <a:pt x="426" y="522"/>
                    </a:lnTo>
                    <a:lnTo>
                      <a:pt x="420" y="522"/>
                    </a:lnTo>
                    <a:lnTo>
                      <a:pt x="420" y="528"/>
                    </a:lnTo>
                    <a:lnTo>
                      <a:pt x="414" y="528"/>
                    </a:lnTo>
                    <a:lnTo>
                      <a:pt x="408" y="528"/>
                    </a:lnTo>
                    <a:lnTo>
                      <a:pt x="408" y="534"/>
                    </a:lnTo>
                    <a:lnTo>
                      <a:pt x="402" y="534"/>
                    </a:lnTo>
                    <a:lnTo>
                      <a:pt x="402" y="528"/>
                    </a:lnTo>
                    <a:lnTo>
                      <a:pt x="396" y="528"/>
                    </a:lnTo>
                    <a:lnTo>
                      <a:pt x="390" y="528"/>
                    </a:lnTo>
                    <a:lnTo>
                      <a:pt x="384" y="522"/>
                    </a:lnTo>
                    <a:lnTo>
                      <a:pt x="384" y="528"/>
                    </a:lnTo>
                    <a:lnTo>
                      <a:pt x="378" y="528"/>
                    </a:lnTo>
                    <a:lnTo>
                      <a:pt x="372" y="522"/>
                    </a:lnTo>
                    <a:lnTo>
                      <a:pt x="372" y="528"/>
                    </a:lnTo>
                    <a:lnTo>
                      <a:pt x="366" y="528"/>
                    </a:lnTo>
                    <a:lnTo>
                      <a:pt x="366" y="534"/>
                    </a:lnTo>
                    <a:lnTo>
                      <a:pt x="360" y="534"/>
                    </a:lnTo>
                    <a:lnTo>
                      <a:pt x="360" y="528"/>
                    </a:lnTo>
                    <a:lnTo>
                      <a:pt x="354" y="528"/>
                    </a:lnTo>
                    <a:lnTo>
                      <a:pt x="348" y="528"/>
                    </a:lnTo>
                    <a:lnTo>
                      <a:pt x="348" y="534"/>
                    </a:lnTo>
                    <a:lnTo>
                      <a:pt x="348" y="528"/>
                    </a:lnTo>
                    <a:lnTo>
                      <a:pt x="342" y="534"/>
                    </a:lnTo>
                    <a:lnTo>
                      <a:pt x="342" y="528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22"/>
                    </a:lnTo>
                    <a:lnTo>
                      <a:pt x="330" y="516"/>
                    </a:lnTo>
                    <a:lnTo>
                      <a:pt x="324" y="516"/>
                    </a:lnTo>
                    <a:lnTo>
                      <a:pt x="324" y="522"/>
                    </a:lnTo>
                    <a:lnTo>
                      <a:pt x="318" y="522"/>
                    </a:lnTo>
                    <a:lnTo>
                      <a:pt x="318" y="528"/>
                    </a:lnTo>
                    <a:lnTo>
                      <a:pt x="318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0" y="522"/>
                    </a:lnTo>
                    <a:lnTo>
                      <a:pt x="282" y="522"/>
                    </a:lnTo>
                    <a:lnTo>
                      <a:pt x="282" y="516"/>
                    </a:lnTo>
                    <a:lnTo>
                      <a:pt x="276" y="516"/>
                    </a:lnTo>
                    <a:lnTo>
                      <a:pt x="276" y="510"/>
                    </a:lnTo>
                    <a:lnTo>
                      <a:pt x="270" y="510"/>
                    </a:lnTo>
                    <a:lnTo>
                      <a:pt x="270" y="504"/>
                    </a:lnTo>
                    <a:lnTo>
                      <a:pt x="264" y="504"/>
                    </a:lnTo>
                    <a:lnTo>
                      <a:pt x="264" y="498"/>
                    </a:lnTo>
                    <a:lnTo>
                      <a:pt x="264" y="492"/>
                    </a:lnTo>
                    <a:lnTo>
                      <a:pt x="264" y="486"/>
                    </a:lnTo>
                    <a:lnTo>
                      <a:pt x="264" y="480"/>
                    </a:lnTo>
                    <a:lnTo>
                      <a:pt x="264" y="474"/>
                    </a:lnTo>
                    <a:lnTo>
                      <a:pt x="264" y="468"/>
                    </a:lnTo>
                    <a:lnTo>
                      <a:pt x="264" y="462"/>
                    </a:lnTo>
                    <a:lnTo>
                      <a:pt x="264" y="456"/>
                    </a:lnTo>
                    <a:lnTo>
                      <a:pt x="258" y="450"/>
                    </a:lnTo>
                    <a:lnTo>
                      <a:pt x="264" y="450"/>
                    </a:lnTo>
                    <a:lnTo>
                      <a:pt x="258" y="444"/>
                    </a:lnTo>
                    <a:lnTo>
                      <a:pt x="252" y="438"/>
                    </a:lnTo>
                    <a:lnTo>
                      <a:pt x="252" y="432"/>
                    </a:lnTo>
                    <a:lnTo>
                      <a:pt x="246" y="432"/>
                    </a:lnTo>
                    <a:lnTo>
                      <a:pt x="246" y="426"/>
                    </a:lnTo>
                    <a:lnTo>
                      <a:pt x="240" y="426"/>
                    </a:lnTo>
                    <a:lnTo>
                      <a:pt x="240" y="420"/>
                    </a:lnTo>
                    <a:lnTo>
                      <a:pt x="234" y="420"/>
                    </a:lnTo>
                    <a:lnTo>
                      <a:pt x="234" y="426"/>
                    </a:lnTo>
                    <a:lnTo>
                      <a:pt x="234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22" y="426"/>
                    </a:lnTo>
                    <a:lnTo>
                      <a:pt x="216" y="426"/>
                    </a:lnTo>
                    <a:lnTo>
                      <a:pt x="210" y="426"/>
                    </a:lnTo>
                    <a:lnTo>
                      <a:pt x="204" y="426"/>
                    </a:lnTo>
                    <a:lnTo>
                      <a:pt x="204" y="420"/>
                    </a:lnTo>
                    <a:lnTo>
                      <a:pt x="198" y="420"/>
                    </a:lnTo>
                    <a:lnTo>
                      <a:pt x="192" y="420"/>
                    </a:lnTo>
                    <a:lnTo>
                      <a:pt x="186" y="420"/>
                    </a:lnTo>
                    <a:lnTo>
                      <a:pt x="186" y="414"/>
                    </a:lnTo>
                    <a:lnTo>
                      <a:pt x="180" y="414"/>
                    </a:lnTo>
                    <a:lnTo>
                      <a:pt x="174" y="414"/>
                    </a:lnTo>
                    <a:lnTo>
                      <a:pt x="174" y="408"/>
                    </a:lnTo>
                    <a:lnTo>
                      <a:pt x="168" y="408"/>
                    </a:lnTo>
                    <a:lnTo>
                      <a:pt x="162" y="408"/>
                    </a:lnTo>
                    <a:lnTo>
                      <a:pt x="162" y="402"/>
                    </a:lnTo>
                    <a:lnTo>
                      <a:pt x="156" y="402"/>
                    </a:lnTo>
                    <a:lnTo>
                      <a:pt x="150" y="402"/>
                    </a:lnTo>
                    <a:lnTo>
                      <a:pt x="144" y="402"/>
                    </a:lnTo>
                    <a:lnTo>
                      <a:pt x="138" y="402"/>
                    </a:lnTo>
                    <a:lnTo>
                      <a:pt x="132" y="402"/>
                    </a:lnTo>
                    <a:lnTo>
                      <a:pt x="132" y="396"/>
                    </a:lnTo>
                    <a:lnTo>
                      <a:pt x="132" y="390"/>
                    </a:lnTo>
                    <a:lnTo>
                      <a:pt x="126" y="390"/>
                    </a:lnTo>
                    <a:lnTo>
                      <a:pt x="120" y="390"/>
                    </a:lnTo>
                    <a:lnTo>
                      <a:pt x="114" y="390"/>
                    </a:lnTo>
                    <a:lnTo>
                      <a:pt x="114" y="384"/>
                    </a:lnTo>
                    <a:lnTo>
                      <a:pt x="114" y="378"/>
                    </a:lnTo>
                    <a:lnTo>
                      <a:pt x="108" y="378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0" y="378"/>
                    </a:lnTo>
                    <a:lnTo>
                      <a:pt x="84" y="378"/>
                    </a:lnTo>
                    <a:lnTo>
                      <a:pt x="78" y="366"/>
                    </a:lnTo>
                    <a:lnTo>
                      <a:pt x="78" y="360"/>
                    </a:lnTo>
                    <a:lnTo>
                      <a:pt x="72" y="360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66" y="348"/>
                    </a:lnTo>
                    <a:lnTo>
                      <a:pt x="66" y="342"/>
                    </a:lnTo>
                    <a:lnTo>
                      <a:pt x="60" y="330"/>
                    </a:lnTo>
                    <a:lnTo>
                      <a:pt x="54" y="318"/>
                    </a:lnTo>
                    <a:lnTo>
                      <a:pt x="54" y="312"/>
                    </a:lnTo>
                    <a:lnTo>
                      <a:pt x="48" y="300"/>
                    </a:lnTo>
                    <a:lnTo>
                      <a:pt x="42" y="294"/>
                    </a:lnTo>
                    <a:lnTo>
                      <a:pt x="42" y="288"/>
                    </a:lnTo>
                    <a:lnTo>
                      <a:pt x="30" y="282"/>
                    </a:lnTo>
                    <a:lnTo>
                      <a:pt x="24" y="276"/>
                    </a:lnTo>
                    <a:lnTo>
                      <a:pt x="18" y="270"/>
                    </a:lnTo>
                    <a:lnTo>
                      <a:pt x="18" y="264"/>
                    </a:lnTo>
                    <a:lnTo>
                      <a:pt x="18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0" y="192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6" y="174"/>
                    </a:lnTo>
                    <a:lnTo>
                      <a:pt x="6" y="168"/>
                    </a:lnTo>
                    <a:close/>
                  </a:path>
                </a:pathLst>
              </a:custGeom>
              <a:solidFill>
                <a:srgbClr val="D5CB99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81" name="Freeform 73"/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5013" y="2253"/>
                <a:ext cx="10" cy="12"/>
              </a:xfrm>
              <a:custGeom>
                <a:avLst/>
                <a:gdLst>
                  <a:gd name="T0" fmla="*/ 1 w 18"/>
                  <a:gd name="T1" fmla="*/ 1 h 18"/>
                  <a:gd name="T2" fmla="*/ 2 w 18"/>
                  <a:gd name="T3" fmla="*/ 1 h 18"/>
                  <a:gd name="T4" fmla="*/ 1 w 18"/>
                  <a:gd name="T5" fmla="*/ 1 h 18"/>
                  <a:gd name="T6" fmla="*/ 2 w 18"/>
                  <a:gd name="T7" fmla="*/ 0 h 18"/>
                  <a:gd name="T8" fmla="*/ 2 w 18"/>
                  <a:gd name="T9" fmla="*/ 1 h 18"/>
                  <a:gd name="T10" fmla="*/ 1 w 18"/>
                  <a:gd name="T11" fmla="*/ 2 h 18"/>
                  <a:gd name="T12" fmla="*/ 2 w 18"/>
                  <a:gd name="T13" fmla="*/ 2 h 18"/>
                  <a:gd name="T14" fmla="*/ 1 w 18"/>
                  <a:gd name="T15" fmla="*/ 2 h 18"/>
                  <a:gd name="T16" fmla="*/ 1 w 18"/>
                  <a:gd name="T17" fmla="*/ 2 h 18"/>
                  <a:gd name="T18" fmla="*/ 1 w 18"/>
                  <a:gd name="T19" fmla="*/ 3 h 18"/>
                  <a:gd name="T20" fmla="*/ 1 w 18"/>
                  <a:gd name="T21" fmla="*/ 3 h 18"/>
                  <a:gd name="T22" fmla="*/ 0 w 18"/>
                  <a:gd name="T23" fmla="*/ 2 h 18"/>
                  <a:gd name="T24" fmla="*/ 1 w 18"/>
                  <a:gd name="T25" fmla="*/ 2 h 18"/>
                  <a:gd name="T26" fmla="*/ 1 w 18"/>
                  <a:gd name="T27" fmla="*/ 1 h 18"/>
                  <a:gd name="T28" fmla="*/ 1 w 18"/>
                  <a:gd name="T29" fmla="*/ 2 h 18"/>
                  <a:gd name="T30" fmla="*/ 1 w 18"/>
                  <a:gd name="T31" fmla="*/ 1 h 18"/>
                  <a:gd name="T32" fmla="*/ 1 w 18"/>
                  <a:gd name="T33" fmla="*/ 1 h 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8" h="18">
                    <a:moveTo>
                      <a:pt x="12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12" y="6"/>
                    </a:lnTo>
                    <a:close/>
                  </a:path>
                </a:pathLst>
              </a:custGeom>
              <a:solidFill>
                <a:srgbClr val="D5CB99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82" name="Freeform 74"/>
              <p:cNvSpPr>
                <a:spLocks noChangeAspect="1"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5016" y="2164"/>
                <a:ext cx="7" cy="19"/>
              </a:xfrm>
              <a:custGeom>
                <a:avLst/>
                <a:gdLst>
                  <a:gd name="T0" fmla="*/ 1 w 12"/>
                  <a:gd name="T1" fmla="*/ 1 h 30"/>
                  <a:gd name="T2" fmla="*/ 1 w 12"/>
                  <a:gd name="T3" fmla="*/ 1 h 30"/>
                  <a:gd name="T4" fmla="*/ 1 w 12"/>
                  <a:gd name="T5" fmla="*/ 2 h 30"/>
                  <a:gd name="T6" fmla="*/ 1 w 12"/>
                  <a:gd name="T7" fmla="*/ 2 h 30"/>
                  <a:gd name="T8" fmla="*/ 1 w 12"/>
                  <a:gd name="T9" fmla="*/ 3 h 30"/>
                  <a:gd name="T10" fmla="*/ 1 w 12"/>
                  <a:gd name="T11" fmla="*/ 3 h 30"/>
                  <a:gd name="T12" fmla="*/ 1 w 12"/>
                  <a:gd name="T13" fmla="*/ 4 h 30"/>
                  <a:gd name="T14" fmla="*/ 1 w 12"/>
                  <a:gd name="T15" fmla="*/ 5 h 30"/>
                  <a:gd name="T16" fmla="*/ 1 w 12"/>
                  <a:gd name="T17" fmla="*/ 4 h 30"/>
                  <a:gd name="T18" fmla="*/ 0 w 12"/>
                  <a:gd name="T19" fmla="*/ 4 h 30"/>
                  <a:gd name="T20" fmla="*/ 0 w 12"/>
                  <a:gd name="T21" fmla="*/ 5 h 30"/>
                  <a:gd name="T22" fmla="*/ 0 w 12"/>
                  <a:gd name="T23" fmla="*/ 4 h 30"/>
                  <a:gd name="T24" fmla="*/ 0 w 12"/>
                  <a:gd name="T25" fmla="*/ 5 h 30"/>
                  <a:gd name="T26" fmla="*/ 0 w 12"/>
                  <a:gd name="T27" fmla="*/ 4 h 30"/>
                  <a:gd name="T28" fmla="*/ 0 w 12"/>
                  <a:gd name="T29" fmla="*/ 3 h 30"/>
                  <a:gd name="T30" fmla="*/ 0 w 12"/>
                  <a:gd name="T31" fmla="*/ 4 h 30"/>
                  <a:gd name="T32" fmla="*/ 0 w 12"/>
                  <a:gd name="T33" fmla="*/ 3 h 30"/>
                  <a:gd name="T34" fmla="*/ 1 w 12"/>
                  <a:gd name="T35" fmla="*/ 3 h 30"/>
                  <a:gd name="T36" fmla="*/ 0 w 12"/>
                  <a:gd name="T37" fmla="*/ 3 h 30"/>
                  <a:gd name="T38" fmla="*/ 1 w 12"/>
                  <a:gd name="T39" fmla="*/ 3 h 30"/>
                  <a:gd name="T40" fmla="*/ 1 w 12"/>
                  <a:gd name="T41" fmla="*/ 2 h 30"/>
                  <a:gd name="T42" fmla="*/ 0 w 12"/>
                  <a:gd name="T43" fmla="*/ 2 h 30"/>
                  <a:gd name="T44" fmla="*/ 1 w 12"/>
                  <a:gd name="T45" fmla="*/ 2 h 30"/>
                  <a:gd name="T46" fmla="*/ 0 w 12"/>
                  <a:gd name="T47" fmla="*/ 2 h 30"/>
                  <a:gd name="T48" fmla="*/ 0 w 12"/>
                  <a:gd name="T49" fmla="*/ 1 h 30"/>
                  <a:gd name="T50" fmla="*/ 0 w 12"/>
                  <a:gd name="T51" fmla="*/ 0 h 30"/>
                  <a:gd name="T52" fmla="*/ 1 w 12"/>
                  <a:gd name="T53" fmla="*/ 0 h 30"/>
                  <a:gd name="T54" fmla="*/ 1 w 12"/>
                  <a:gd name="T55" fmla="*/ 1 h 30"/>
                  <a:gd name="T56" fmla="*/ 1 w 12"/>
                  <a:gd name="T57" fmla="*/ 0 h 30"/>
                  <a:gd name="T58" fmla="*/ 1 w 12"/>
                  <a:gd name="T59" fmla="*/ 1 h 30"/>
                  <a:gd name="T60" fmla="*/ 1 w 12"/>
                  <a:gd name="T61" fmla="*/ 1 h 30"/>
                  <a:gd name="T62" fmla="*/ 1 w 12"/>
                  <a:gd name="T63" fmla="*/ 0 h 30"/>
                  <a:gd name="T64" fmla="*/ 1 w 12"/>
                  <a:gd name="T65" fmla="*/ 1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2" h="30">
                    <a:moveTo>
                      <a:pt x="12" y="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2" y="6"/>
                    </a:lnTo>
                    <a:close/>
                  </a:path>
                </a:pathLst>
              </a:custGeom>
              <a:solidFill>
                <a:srgbClr val="D5CB99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83" name="Freeform 75"/>
              <p:cNvSpPr>
                <a:spLocks noChangeAspect="1"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5001" y="2192"/>
                <a:ext cx="12" cy="23"/>
              </a:xfrm>
              <a:custGeom>
                <a:avLst/>
                <a:gdLst>
                  <a:gd name="T0" fmla="*/ 0 w 18"/>
                  <a:gd name="T1" fmla="*/ 2 h 36"/>
                  <a:gd name="T2" fmla="*/ 0 w 18"/>
                  <a:gd name="T3" fmla="*/ 1 h 36"/>
                  <a:gd name="T4" fmla="*/ 1 w 18"/>
                  <a:gd name="T5" fmla="*/ 1 h 36"/>
                  <a:gd name="T6" fmla="*/ 1 w 18"/>
                  <a:gd name="T7" fmla="*/ 0 h 36"/>
                  <a:gd name="T8" fmla="*/ 1 w 18"/>
                  <a:gd name="T9" fmla="*/ 1 h 36"/>
                  <a:gd name="T10" fmla="*/ 2 w 18"/>
                  <a:gd name="T11" fmla="*/ 2 h 36"/>
                  <a:gd name="T12" fmla="*/ 2 w 18"/>
                  <a:gd name="T13" fmla="*/ 3 h 36"/>
                  <a:gd name="T14" fmla="*/ 2 w 18"/>
                  <a:gd name="T15" fmla="*/ 4 h 36"/>
                  <a:gd name="T16" fmla="*/ 3 w 18"/>
                  <a:gd name="T17" fmla="*/ 4 h 36"/>
                  <a:gd name="T18" fmla="*/ 3 w 18"/>
                  <a:gd name="T19" fmla="*/ 3 h 36"/>
                  <a:gd name="T20" fmla="*/ 3 w 18"/>
                  <a:gd name="T21" fmla="*/ 4 h 36"/>
                  <a:gd name="T22" fmla="*/ 3 w 18"/>
                  <a:gd name="T23" fmla="*/ 5 h 36"/>
                  <a:gd name="T24" fmla="*/ 3 w 18"/>
                  <a:gd name="T25" fmla="*/ 6 h 36"/>
                  <a:gd name="T26" fmla="*/ 2 w 18"/>
                  <a:gd name="T27" fmla="*/ 6 h 36"/>
                  <a:gd name="T28" fmla="*/ 2 w 18"/>
                  <a:gd name="T29" fmla="*/ 5 h 36"/>
                  <a:gd name="T30" fmla="*/ 1 w 18"/>
                  <a:gd name="T31" fmla="*/ 5 h 36"/>
                  <a:gd name="T32" fmla="*/ 1 w 18"/>
                  <a:gd name="T33" fmla="*/ 4 h 36"/>
                  <a:gd name="T34" fmla="*/ 1 w 18"/>
                  <a:gd name="T35" fmla="*/ 5 h 36"/>
                  <a:gd name="T36" fmla="*/ 0 w 18"/>
                  <a:gd name="T37" fmla="*/ 4 h 36"/>
                  <a:gd name="T38" fmla="*/ 0 w 18"/>
                  <a:gd name="T39" fmla="*/ 3 h 36"/>
                  <a:gd name="T40" fmla="*/ 0 w 18"/>
                  <a:gd name="T41" fmla="*/ 2 h 36"/>
                  <a:gd name="T42" fmla="*/ 0 w 18"/>
                  <a:gd name="T43" fmla="*/ 1 h 36"/>
                  <a:gd name="T44" fmla="*/ 0 w 18"/>
                  <a:gd name="T45" fmla="*/ 2 h 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8" h="36">
                    <a:moveTo>
                      <a:pt x="0" y="12"/>
                    </a:move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D5CB99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4623" name="Freeform 76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5521" y="2324"/>
              <a:ext cx="15" cy="21"/>
            </a:xfrm>
            <a:custGeom>
              <a:avLst/>
              <a:gdLst>
                <a:gd name="T0" fmla="*/ 2 w 24"/>
                <a:gd name="T1" fmla="*/ 0 h 30"/>
                <a:gd name="T2" fmla="*/ 3 w 24"/>
                <a:gd name="T3" fmla="*/ 0 h 30"/>
                <a:gd name="T4" fmla="*/ 3 w 24"/>
                <a:gd name="T5" fmla="*/ 1 h 30"/>
                <a:gd name="T6" fmla="*/ 4 w 24"/>
                <a:gd name="T7" fmla="*/ 1 h 30"/>
                <a:gd name="T8" fmla="*/ 4 w 24"/>
                <a:gd name="T9" fmla="*/ 3 h 30"/>
                <a:gd name="T10" fmla="*/ 4 w 24"/>
                <a:gd name="T11" fmla="*/ 1 h 30"/>
                <a:gd name="T12" fmla="*/ 4 w 24"/>
                <a:gd name="T13" fmla="*/ 3 h 30"/>
                <a:gd name="T14" fmla="*/ 4 w 24"/>
                <a:gd name="T15" fmla="*/ 4 h 30"/>
                <a:gd name="T16" fmla="*/ 3 w 24"/>
                <a:gd name="T17" fmla="*/ 4 h 30"/>
                <a:gd name="T18" fmla="*/ 3 w 24"/>
                <a:gd name="T19" fmla="*/ 6 h 30"/>
                <a:gd name="T20" fmla="*/ 2 w 24"/>
                <a:gd name="T21" fmla="*/ 6 h 30"/>
                <a:gd name="T22" fmla="*/ 2 w 24"/>
                <a:gd name="T23" fmla="*/ 8 h 30"/>
                <a:gd name="T24" fmla="*/ 1 w 24"/>
                <a:gd name="T25" fmla="*/ 6 h 30"/>
                <a:gd name="T26" fmla="*/ 0 w 24"/>
                <a:gd name="T27" fmla="*/ 6 h 30"/>
                <a:gd name="T28" fmla="*/ 1 w 24"/>
                <a:gd name="T29" fmla="*/ 6 h 30"/>
                <a:gd name="T30" fmla="*/ 0 w 24"/>
                <a:gd name="T31" fmla="*/ 4 h 30"/>
                <a:gd name="T32" fmla="*/ 1 w 24"/>
                <a:gd name="T33" fmla="*/ 4 h 30"/>
                <a:gd name="T34" fmla="*/ 0 w 24"/>
                <a:gd name="T35" fmla="*/ 4 h 30"/>
                <a:gd name="T36" fmla="*/ 1 w 24"/>
                <a:gd name="T37" fmla="*/ 4 h 30"/>
                <a:gd name="T38" fmla="*/ 0 w 24"/>
                <a:gd name="T39" fmla="*/ 4 h 30"/>
                <a:gd name="T40" fmla="*/ 1 w 24"/>
                <a:gd name="T41" fmla="*/ 4 h 30"/>
                <a:gd name="T42" fmla="*/ 0 w 24"/>
                <a:gd name="T43" fmla="*/ 4 h 30"/>
                <a:gd name="T44" fmla="*/ 1 w 24"/>
                <a:gd name="T45" fmla="*/ 3 h 30"/>
                <a:gd name="T46" fmla="*/ 2 w 24"/>
                <a:gd name="T47" fmla="*/ 1 h 30"/>
                <a:gd name="T48" fmla="*/ 2 w 24"/>
                <a:gd name="T49" fmla="*/ 0 h 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4" h="30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24" name="Freeform 77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5463" y="2466"/>
              <a:ext cx="17" cy="18"/>
            </a:xfrm>
            <a:custGeom>
              <a:avLst/>
              <a:gdLst>
                <a:gd name="T0" fmla="*/ 0 w 30"/>
                <a:gd name="T1" fmla="*/ 1 h 30"/>
                <a:gd name="T2" fmla="*/ 1 w 30"/>
                <a:gd name="T3" fmla="*/ 1 h 30"/>
                <a:gd name="T4" fmla="*/ 1 w 30"/>
                <a:gd name="T5" fmla="*/ 0 h 30"/>
                <a:gd name="T6" fmla="*/ 1 w 30"/>
                <a:gd name="T7" fmla="*/ 0 h 30"/>
                <a:gd name="T8" fmla="*/ 2 w 30"/>
                <a:gd name="T9" fmla="*/ 0 h 30"/>
                <a:gd name="T10" fmla="*/ 2 w 30"/>
                <a:gd name="T11" fmla="*/ 1 h 30"/>
                <a:gd name="T12" fmla="*/ 3 w 30"/>
                <a:gd name="T13" fmla="*/ 1 h 30"/>
                <a:gd name="T14" fmla="*/ 3 w 30"/>
                <a:gd name="T15" fmla="*/ 1 h 30"/>
                <a:gd name="T16" fmla="*/ 3 w 30"/>
                <a:gd name="T17" fmla="*/ 2 h 30"/>
                <a:gd name="T18" fmla="*/ 3 w 30"/>
                <a:gd name="T19" fmla="*/ 3 h 30"/>
                <a:gd name="T20" fmla="*/ 3 w 30"/>
                <a:gd name="T21" fmla="*/ 3 h 30"/>
                <a:gd name="T22" fmla="*/ 2 w 30"/>
                <a:gd name="T23" fmla="*/ 4 h 30"/>
                <a:gd name="T24" fmla="*/ 2 w 30"/>
                <a:gd name="T25" fmla="*/ 3 h 30"/>
                <a:gd name="T26" fmla="*/ 2 w 30"/>
                <a:gd name="T27" fmla="*/ 4 h 30"/>
                <a:gd name="T28" fmla="*/ 2 w 30"/>
                <a:gd name="T29" fmla="*/ 3 h 30"/>
                <a:gd name="T30" fmla="*/ 1 w 30"/>
                <a:gd name="T31" fmla="*/ 3 h 30"/>
                <a:gd name="T32" fmla="*/ 1 w 30"/>
                <a:gd name="T33" fmla="*/ 3 h 30"/>
                <a:gd name="T34" fmla="*/ 1 w 30"/>
                <a:gd name="T35" fmla="*/ 2 h 30"/>
                <a:gd name="T36" fmla="*/ 0 w 30"/>
                <a:gd name="T37" fmla="*/ 2 h 30"/>
                <a:gd name="T38" fmla="*/ 0 w 30"/>
                <a:gd name="T39" fmla="*/ 1 h 30"/>
                <a:gd name="T40" fmla="*/ 0 w 30"/>
                <a:gd name="T41" fmla="*/ 1 h 30"/>
                <a:gd name="T42" fmla="*/ 1 w 30"/>
                <a:gd name="T43" fmla="*/ 1 h 30"/>
                <a:gd name="T44" fmla="*/ 0 w 30"/>
                <a:gd name="T45" fmla="*/ 1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0" h="30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E56F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4625" name="Group 78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5466" y="1917"/>
              <a:ext cx="29" cy="109"/>
              <a:chOff x="4396" y="2524"/>
              <a:chExt cx="40" cy="143"/>
            </a:xfrm>
          </p:grpSpPr>
          <p:sp>
            <p:nvSpPr>
              <p:cNvPr id="24673" name="Freeform 79"/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396" y="2555"/>
                <a:ext cx="5" cy="10"/>
              </a:xfrm>
              <a:custGeom>
                <a:avLst/>
                <a:gdLst>
                  <a:gd name="T0" fmla="*/ 3 w 6"/>
                  <a:gd name="T1" fmla="*/ 6 h 12"/>
                  <a:gd name="T2" fmla="*/ 3 w 6"/>
                  <a:gd name="T3" fmla="*/ 3 h 12"/>
                  <a:gd name="T4" fmla="*/ 0 w 6"/>
                  <a:gd name="T5" fmla="*/ 3 h 12"/>
                  <a:gd name="T6" fmla="*/ 3 w 6"/>
                  <a:gd name="T7" fmla="*/ 0 h 12"/>
                  <a:gd name="T8" fmla="*/ 3 w 6"/>
                  <a:gd name="T9" fmla="*/ 3 h 12"/>
                  <a:gd name="T10" fmla="*/ 3 w 6"/>
                  <a:gd name="T11" fmla="*/ 6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74" name="Freeform 80"/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406" y="2524"/>
                <a:ext cx="5" cy="0"/>
              </a:xfrm>
              <a:custGeom>
                <a:avLst/>
                <a:gdLst>
                  <a:gd name="T0" fmla="*/ 0 w 6"/>
                  <a:gd name="T1" fmla="*/ 3 w 6"/>
                  <a:gd name="T2" fmla="*/ 0 w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75" name="Freeform 81"/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411" y="2544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76" name="Freeform 82"/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4431" y="2662"/>
                <a:ext cx="5" cy="5"/>
              </a:xfrm>
              <a:custGeom>
                <a:avLst/>
                <a:gdLst>
                  <a:gd name="T0" fmla="*/ 0 w 6"/>
                  <a:gd name="T1" fmla="*/ 3 h 6"/>
                  <a:gd name="T2" fmla="*/ 0 w 6"/>
                  <a:gd name="T3" fmla="*/ 0 h 6"/>
                  <a:gd name="T4" fmla="*/ 3 w 6"/>
                  <a:gd name="T5" fmla="*/ 0 h 6"/>
                  <a:gd name="T6" fmla="*/ 0 w 6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77" name="Freeform 83"/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4421" y="2555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78" name="Freeform 84"/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4416" y="2544"/>
                <a:ext cx="5" cy="5"/>
              </a:xfrm>
              <a:custGeom>
                <a:avLst/>
                <a:gdLst>
                  <a:gd name="T0" fmla="*/ 0 w 6"/>
                  <a:gd name="T1" fmla="*/ 3 h 6"/>
                  <a:gd name="T2" fmla="*/ 0 w 6"/>
                  <a:gd name="T3" fmla="*/ 0 h 6"/>
                  <a:gd name="T4" fmla="*/ 3 w 6"/>
                  <a:gd name="T5" fmla="*/ 3 h 6"/>
                  <a:gd name="T6" fmla="*/ 0 w 6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79" name="Freeform 85"/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4416" y="2544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E56F"/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4626" name="Freeform 86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3362" y="632"/>
              <a:ext cx="373" cy="270"/>
            </a:xfrm>
            <a:custGeom>
              <a:avLst/>
              <a:gdLst>
                <a:gd name="T0" fmla="*/ 1 w 600"/>
                <a:gd name="T1" fmla="*/ 72 h 414"/>
                <a:gd name="T2" fmla="*/ 6 w 600"/>
                <a:gd name="T3" fmla="*/ 70 h 414"/>
                <a:gd name="T4" fmla="*/ 10 w 600"/>
                <a:gd name="T5" fmla="*/ 69 h 414"/>
                <a:gd name="T6" fmla="*/ 14 w 600"/>
                <a:gd name="T7" fmla="*/ 67 h 414"/>
                <a:gd name="T8" fmla="*/ 15 w 600"/>
                <a:gd name="T9" fmla="*/ 64 h 414"/>
                <a:gd name="T10" fmla="*/ 20 w 600"/>
                <a:gd name="T11" fmla="*/ 62 h 414"/>
                <a:gd name="T12" fmla="*/ 22 w 600"/>
                <a:gd name="T13" fmla="*/ 59 h 414"/>
                <a:gd name="T14" fmla="*/ 23 w 600"/>
                <a:gd name="T15" fmla="*/ 55 h 414"/>
                <a:gd name="T16" fmla="*/ 26 w 600"/>
                <a:gd name="T17" fmla="*/ 51 h 414"/>
                <a:gd name="T18" fmla="*/ 24 w 600"/>
                <a:gd name="T19" fmla="*/ 48 h 414"/>
                <a:gd name="T20" fmla="*/ 24 w 600"/>
                <a:gd name="T21" fmla="*/ 42 h 414"/>
                <a:gd name="T22" fmla="*/ 25 w 600"/>
                <a:gd name="T23" fmla="*/ 39 h 414"/>
                <a:gd name="T24" fmla="*/ 28 w 600"/>
                <a:gd name="T25" fmla="*/ 35 h 414"/>
                <a:gd name="T26" fmla="*/ 29 w 600"/>
                <a:gd name="T27" fmla="*/ 31 h 414"/>
                <a:gd name="T28" fmla="*/ 32 w 600"/>
                <a:gd name="T29" fmla="*/ 27 h 414"/>
                <a:gd name="T30" fmla="*/ 35 w 600"/>
                <a:gd name="T31" fmla="*/ 24 h 414"/>
                <a:gd name="T32" fmla="*/ 39 w 600"/>
                <a:gd name="T33" fmla="*/ 22 h 414"/>
                <a:gd name="T34" fmla="*/ 42 w 600"/>
                <a:gd name="T35" fmla="*/ 20 h 414"/>
                <a:gd name="T36" fmla="*/ 45 w 600"/>
                <a:gd name="T37" fmla="*/ 19 h 414"/>
                <a:gd name="T38" fmla="*/ 48 w 600"/>
                <a:gd name="T39" fmla="*/ 15 h 414"/>
                <a:gd name="T40" fmla="*/ 50 w 600"/>
                <a:gd name="T41" fmla="*/ 10 h 414"/>
                <a:gd name="T42" fmla="*/ 52 w 600"/>
                <a:gd name="T43" fmla="*/ 5 h 414"/>
                <a:gd name="T44" fmla="*/ 53 w 600"/>
                <a:gd name="T45" fmla="*/ 1 h 414"/>
                <a:gd name="T46" fmla="*/ 58 w 600"/>
                <a:gd name="T47" fmla="*/ 0 h 414"/>
                <a:gd name="T48" fmla="*/ 59 w 600"/>
                <a:gd name="T49" fmla="*/ 3 h 414"/>
                <a:gd name="T50" fmla="*/ 62 w 600"/>
                <a:gd name="T51" fmla="*/ 7 h 414"/>
                <a:gd name="T52" fmla="*/ 65 w 600"/>
                <a:gd name="T53" fmla="*/ 7 h 414"/>
                <a:gd name="T54" fmla="*/ 70 w 600"/>
                <a:gd name="T55" fmla="*/ 7 h 414"/>
                <a:gd name="T56" fmla="*/ 73 w 600"/>
                <a:gd name="T57" fmla="*/ 7 h 414"/>
                <a:gd name="T58" fmla="*/ 76 w 600"/>
                <a:gd name="T59" fmla="*/ 7 h 414"/>
                <a:gd name="T60" fmla="*/ 75 w 600"/>
                <a:gd name="T61" fmla="*/ 7 h 414"/>
                <a:gd name="T62" fmla="*/ 76 w 600"/>
                <a:gd name="T63" fmla="*/ 7 h 414"/>
                <a:gd name="T64" fmla="*/ 80 w 600"/>
                <a:gd name="T65" fmla="*/ 8 h 414"/>
                <a:gd name="T66" fmla="*/ 82 w 600"/>
                <a:gd name="T67" fmla="*/ 10 h 414"/>
                <a:gd name="T68" fmla="*/ 85 w 600"/>
                <a:gd name="T69" fmla="*/ 13 h 414"/>
                <a:gd name="T70" fmla="*/ 85 w 600"/>
                <a:gd name="T71" fmla="*/ 19 h 414"/>
                <a:gd name="T72" fmla="*/ 85 w 600"/>
                <a:gd name="T73" fmla="*/ 22 h 414"/>
                <a:gd name="T74" fmla="*/ 86 w 600"/>
                <a:gd name="T75" fmla="*/ 26 h 414"/>
                <a:gd name="T76" fmla="*/ 90 w 600"/>
                <a:gd name="T77" fmla="*/ 31 h 414"/>
                <a:gd name="T78" fmla="*/ 88 w 600"/>
                <a:gd name="T79" fmla="*/ 35 h 414"/>
                <a:gd name="T80" fmla="*/ 86 w 600"/>
                <a:gd name="T81" fmla="*/ 34 h 414"/>
                <a:gd name="T82" fmla="*/ 81 w 600"/>
                <a:gd name="T83" fmla="*/ 34 h 414"/>
                <a:gd name="T84" fmla="*/ 76 w 600"/>
                <a:gd name="T85" fmla="*/ 35 h 414"/>
                <a:gd name="T86" fmla="*/ 76 w 600"/>
                <a:gd name="T87" fmla="*/ 38 h 414"/>
                <a:gd name="T88" fmla="*/ 71 w 600"/>
                <a:gd name="T89" fmla="*/ 39 h 414"/>
                <a:gd name="T90" fmla="*/ 69 w 600"/>
                <a:gd name="T91" fmla="*/ 42 h 414"/>
                <a:gd name="T92" fmla="*/ 71 w 600"/>
                <a:gd name="T93" fmla="*/ 46 h 414"/>
                <a:gd name="T94" fmla="*/ 67 w 600"/>
                <a:gd name="T95" fmla="*/ 47 h 414"/>
                <a:gd name="T96" fmla="*/ 63 w 600"/>
                <a:gd name="T97" fmla="*/ 48 h 414"/>
                <a:gd name="T98" fmla="*/ 61 w 600"/>
                <a:gd name="T99" fmla="*/ 51 h 414"/>
                <a:gd name="T100" fmla="*/ 58 w 600"/>
                <a:gd name="T101" fmla="*/ 53 h 414"/>
                <a:gd name="T102" fmla="*/ 55 w 600"/>
                <a:gd name="T103" fmla="*/ 55 h 414"/>
                <a:gd name="T104" fmla="*/ 50 w 600"/>
                <a:gd name="T105" fmla="*/ 56 h 414"/>
                <a:gd name="T106" fmla="*/ 47 w 600"/>
                <a:gd name="T107" fmla="*/ 56 h 414"/>
                <a:gd name="T108" fmla="*/ 43 w 600"/>
                <a:gd name="T109" fmla="*/ 57 h 414"/>
                <a:gd name="T110" fmla="*/ 40 w 600"/>
                <a:gd name="T111" fmla="*/ 59 h 414"/>
                <a:gd name="T112" fmla="*/ 37 w 600"/>
                <a:gd name="T113" fmla="*/ 62 h 414"/>
                <a:gd name="T114" fmla="*/ 33 w 600"/>
                <a:gd name="T115" fmla="*/ 65 h 414"/>
                <a:gd name="T116" fmla="*/ 0 w 600"/>
                <a:gd name="T117" fmla="*/ 74 h 4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00" h="414">
                  <a:moveTo>
                    <a:pt x="0" y="408"/>
                  </a:moveTo>
                  <a:lnTo>
                    <a:pt x="6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24" y="396"/>
                  </a:lnTo>
                  <a:lnTo>
                    <a:pt x="30" y="396"/>
                  </a:lnTo>
                  <a:lnTo>
                    <a:pt x="36" y="390"/>
                  </a:lnTo>
                  <a:lnTo>
                    <a:pt x="42" y="390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54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72" y="384"/>
                  </a:lnTo>
                  <a:lnTo>
                    <a:pt x="78" y="378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114" y="354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62" y="306"/>
                  </a:lnTo>
                  <a:lnTo>
                    <a:pt x="168" y="300"/>
                  </a:lnTo>
                  <a:lnTo>
                    <a:pt x="168" y="294"/>
                  </a:lnTo>
                  <a:lnTo>
                    <a:pt x="174" y="288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2" y="252"/>
                  </a:lnTo>
                  <a:lnTo>
                    <a:pt x="162" y="246"/>
                  </a:lnTo>
                  <a:lnTo>
                    <a:pt x="162" y="240"/>
                  </a:lnTo>
                  <a:lnTo>
                    <a:pt x="162" y="234"/>
                  </a:lnTo>
                  <a:lnTo>
                    <a:pt x="168" y="228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22"/>
                  </a:lnTo>
                  <a:lnTo>
                    <a:pt x="168" y="216"/>
                  </a:lnTo>
                  <a:lnTo>
                    <a:pt x="174" y="210"/>
                  </a:lnTo>
                  <a:lnTo>
                    <a:pt x="174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92"/>
                  </a:lnTo>
                  <a:lnTo>
                    <a:pt x="192" y="192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2" y="174"/>
                  </a:lnTo>
                  <a:lnTo>
                    <a:pt x="192" y="168"/>
                  </a:lnTo>
                  <a:lnTo>
                    <a:pt x="198" y="162"/>
                  </a:lnTo>
                  <a:lnTo>
                    <a:pt x="204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34" y="132"/>
                  </a:lnTo>
                  <a:lnTo>
                    <a:pt x="240" y="132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64" y="120"/>
                  </a:lnTo>
                  <a:lnTo>
                    <a:pt x="270" y="114"/>
                  </a:lnTo>
                  <a:lnTo>
                    <a:pt x="276" y="114"/>
                  </a:lnTo>
                  <a:lnTo>
                    <a:pt x="282" y="114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294" y="102"/>
                  </a:lnTo>
                  <a:lnTo>
                    <a:pt x="300" y="102"/>
                  </a:lnTo>
                  <a:lnTo>
                    <a:pt x="306" y="102"/>
                  </a:lnTo>
                  <a:lnTo>
                    <a:pt x="312" y="96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84"/>
                  </a:lnTo>
                  <a:lnTo>
                    <a:pt x="318" y="84"/>
                  </a:lnTo>
                  <a:lnTo>
                    <a:pt x="324" y="78"/>
                  </a:lnTo>
                  <a:lnTo>
                    <a:pt x="330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48" y="36"/>
                  </a:lnTo>
                  <a:lnTo>
                    <a:pt x="348" y="30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6"/>
                  </a:lnTo>
                  <a:lnTo>
                    <a:pt x="366" y="6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0"/>
                  </a:lnTo>
                  <a:lnTo>
                    <a:pt x="384" y="0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6" y="36"/>
                  </a:lnTo>
                  <a:lnTo>
                    <a:pt x="432" y="36"/>
                  </a:lnTo>
                  <a:lnTo>
                    <a:pt x="438" y="42"/>
                  </a:lnTo>
                  <a:lnTo>
                    <a:pt x="438" y="36"/>
                  </a:lnTo>
                  <a:lnTo>
                    <a:pt x="444" y="36"/>
                  </a:lnTo>
                  <a:lnTo>
                    <a:pt x="450" y="36"/>
                  </a:lnTo>
                  <a:lnTo>
                    <a:pt x="45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68" y="30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8" y="36"/>
                  </a:lnTo>
                  <a:lnTo>
                    <a:pt x="498" y="30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16" y="36"/>
                  </a:lnTo>
                  <a:lnTo>
                    <a:pt x="510" y="36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8" y="42"/>
                  </a:lnTo>
                  <a:lnTo>
                    <a:pt x="534" y="36"/>
                  </a:lnTo>
                  <a:lnTo>
                    <a:pt x="534" y="42"/>
                  </a:lnTo>
                  <a:lnTo>
                    <a:pt x="540" y="42"/>
                  </a:lnTo>
                  <a:lnTo>
                    <a:pt x="546" y="42"/>
                  </a:lnTo>
                  <a:lnTo>
                    <a:pt x="546" y="48"/>
                  </a:lnTo>
                  <a:lnTo>
                    <a:pt x="552" y="48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60"/>
                  </a:lnTo>
                  <a:lnTo>
                    <a:pt x="558" y="66"/>
                  </a:lnTo>
                  <a:lnTo>
                    <a:pt x="564" y="66"/>
                  </a:lnTo>
                  <a:lnTo>
                    <a:pt x="564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70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564" y="108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70" y="132"/>
                  </a:lnTo>
                  <a:lnTo>
                    <a:pt x="570" y="138"/>
                  </a:lnTo>
                  <a:lnTo>
                    <a:pt x="576" y="138"/>
                  </a:lnTo>
                  <a:lnTo>
                    <a:pt x="576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600" y="168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80"/>
                  </a:lnTo>
                  <a:lnTo>
                    <a:pt x="588" y="186"/>
                  </a:lnTo>
                  <a:lnTo>
                    <a:pt x="594" y="186"/>
                  </a:lnTo>
                  <a:lnTo>
                    <a:pt x="594" y="192"/>
                  </a:lnTo>
                  <a:lnTo>
                    <a:pt x="588" y="192"/>
                  </a:lnTo>
                  <a:lnTo>
                    <a:pt x="582" y="192"/>
                  </a:lnTo>
                  <a:lnTo>
                    <a:pt x="582" y="186"/>
                  </a:lnTo>
                  <a:lnTo>
                    <a:pt x="576" y="192"/>
                  </a:lnTo>
                  <a:lnTo>
                    <a:pt x="576" y="186"/>
                  </a:lnTo>
                  <a:lnTo>
                    <a:pt x="570" y="192"/>
                  </a:lnTo>
                  <a:lnTo>
                    <a:pt x="564" y="186"/>
                  </a:lnTo>
                  <a:lnTo>
                    <a:pt x="558" y="186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6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10" y="192"/>
                  </a:lnTo>
                  <a:lnTo>
                    <a:pt x="504" y="192"/>
                  </a:lnTo>
                  <a:lnTo>
                    <a:pt x="504" y="198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0" y="210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2" y="210"/>
                  </a:lnTo>
                  <a:lnTo>
                    <a:pt x="486" y="210"/>
                  </a:lnTo>
                  <a:lnTo>
                    <a:pt x="474" y="216"/>
                  </a:lnTo>
                  <a:lnTo>
                    <a:pt x="468" y="216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62" y="228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8" y="240"/>
                  </a:lnTo>
                  <a:lnTo>
                    <a:pt x="474" y="240"/>
                  </a:lnTo>
                  <a:lnTo>
                    <a:pt x="474" y="246"/>
                  </a:lnTo>
                  <a:lnTo>
                    <a:pt x="474" y="252"/>
                  </a:lnTo>
                  <a:lnTo>
                    <a:pt x="468" y="252"/>
                  </a:lnTo>
                  <a:lnTo>
                    <a:pt x="462" y="252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44" y="258"/>
                  </a:lnTo>
                  <a:lnTo>
                    <a:pt x="438" y="258"/>
                  </a:lnTo>
                  <a:lnTo>
                    <a:pt x="432" y="258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0" y="264"/>
                  </a:lnTo>
                  <a:lnTo>
                    <a:pt x="414" y="264"/>
                  </a:lnTo>
                  <a:lnTo>
                    <a:pt x="408" y="264"/>
                  </a:lnTo>
                  <a:lnTo>
                    <a:pt x="408" y="270"/>
                  </a:lnTo>
                  <a:lnTo>
                    <a:pt x="408" y="276"/>
                  </a:lnTo>
                  <a:lnTo>
                    <a:pt x="408" y="282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402" y="294"/>
                  </a:lnTo>
                  <a:lnTo>
                    <a:pt x="396" y="294"/>
                  </a:lnTo>
                  <a:lnTo>
                    <a:pt x="390" y="294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78" y="300"/>
                  </a:lnTo>
                  <a:lnTo>
                    <a:pt x="372" y="306"/>
                  </a:lnTo>
                  <a:lnTo>
                    <a:pt x="366" y="306"/>
                  </a:lnTo>
                  <a:lnTo>
                    <a:pt x="360" y="306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42" y="312"/>
                  </a:lnTo>
                  <a:lnTo>
                    <a:pt x="336" y="312"/>
                  </a:lnTo>
                  <a:lnTo>
                    <a:pt x="330" y="312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8" y="318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0" y="312"/>
                  </a:lnTo>
                  <a:lnTo>
                    <a:pt x="294" y="312"/>
                  </a:lnTo>
                  <a:lnTo>
                    <a:pt x="294" y="318"/>
                  </a:lnTo>
                  <a:lnTo>
                    <a:pt x="288" y="318"/>
                  </a:lnTo>
                  <a:lnTo>
                    <a:pt x="288" y="324"/>
                  </a:lnTo>
                  <a:lnTo>
                    <a:pt x="282" y="324"/>
                  </a:lnTo>
                  <a:lnTo>
                    <a:pt x="276" y="324"/>
                  </a:lnTo>
                  <a:lnTo>
                    <a:pt x="270" y="324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64" y="336"/>
                  </a:lnTo>
                  <a:lnTo>
                    <a:pt x="258" y="336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8"/>
                  </a:lnTo>
                  <a:lnTo>
                    <a:pt x="234" y="348"/>
                  </a:lnTo>
                  <a:lnTo>
                    <a:pt x="234" y="354"/>
                  </a:lnTo>
                  <a:lnTo>
                    <a:pt x="228" y="354"/>
                  </a:lnTo>
                  <a:lnTo>
                    <a:pt x="222" y="360"/>
                  </a:lnTo>
                  <a:lnTo>
                    <a:pt x="222" y="414"/>
                  </a:lnTo>
                  <a:lnTo>
                    <a:pt x="150" y="408"/>
                  </a:lnTo>
                  <a:lnTo>
                    <a:pt x="78" y="408"/>
                  </a:lnTo>
                  <a:lnTo>
                    <a:pt x="66" y="408"/>
                  </a:lnTo>
                  <a:lnTo>
                    <a:pt x="0" y="40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27" name="Freeform 87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3240" y="911"/>
              <a:ext cx="378" cy="407"/>
            </a:xfrm>
            <a:custGeom>
              <a:avLst/>
              <a:gdLst>
                <a:gd name="T0" fmla="*/ 82 w 612"/>
                <a:gd name="T1" fmla="*/ 14 h 624"/>
                <a:gd name="T2" fmla="*/ 76 w 612"/>
                <a:gd name="T3" fmla="*/ 20 h 624"/>
                <a:gd name="T4" fmla="*/ 78 w 612"/>
                <a:gd name="T5" fmla="*/ 35 h 624"/>
                <a:gd name="T6" fmla="*/ 78 w 612"/>
                <a:gd name="T7" fmla="*/ 41 h 624"/>
                <a:gd name="T8" fmla="*/ 80 w 612"/>
                <a:gd name="T9" fmla="*/ 64 h 624"/>
                <a:gd name="T10" fmla="*/ 82 w 612"/>
                <a:gd name="T11" fmla="*/ 72 h 624"/>
                <a:gd name="T12" fmla="*/ 83 w 612"/>
                <a:gd name="T13" fmla="*/ 93 h 624"/>
                <a:gd name="T14" fmla="*/ 83 w 612"/>
                <a:gd name="T15" fmla="*/ 106 h 624"/>
                <a:gd name="T16" fmla="*/ 72 w 612"/>
                <a:gd name="T17" fmla="*/ 106 h 624"/>
                <a:gd name="T18" fmla="*/ 63 w 612"/>
                <a:gd name="T19" fmla="*/ 106 h 624"/>
                <a:gd name="T20" fmla="*/ 56 w 612"/>
                <a:gd name="T21" fmla="*/ 104 h 624"/>
                <a:gd name="T22" fmla="*/ 53 w 612"/>
                <a:gd name="T23" fmla="*/ 106 h 624"/>
                <a:gd name="T24" fmla="*/ 49 w 612"/>
                <a:gd name="T25" fmla="*/ 106 h 624"/>
                <a:gd name="T26" fmla="*/ 46 w 612"/>
                <a:gd name="T27" fmla="*/ 107 h 624"/>
                <a:gd name="T28" fmla="*/ 44 w 612"/>
                <a:gd name="T29" fmla="*/ 110 h 624"/>
                <a:gd name="T30" fmla="*/ 43 w 612"/>
                <a:gd name="T31" fmla="*/ 106 h 624"/>
                <a:gd name="T32" fmla="*/ 40 w 612"/>
                <a:gd name="T33" fmla="*/ 104 h 624"/>
                <a:gd name="T34" fmla="*/ 38 w 612"/>
                <a:gd name="T35" fmla="*/ 106 h 624"/>
                <a:gd name="T36" fmla="*/ 38 w 612"/>
                <a:gd name="T37" fmla="*/ 111 h 624"/>
                <a:gd name="T38" fmla="*/ 36 w 612"/>
                <a:gd name="T39" fmla="*/ 112 h 624"/>
                <a:gd name="T40" fmla="*/ 33 w 612"/>
                <a:gd name="T41" fmla="*/ 111 h 624"/>
                <a:gd name="T42" fmla="*/ 30 w 612"/>
                <a:gd name="T43" fmla="*/ 108 h 624"/>
                <a:gd name="T44" fmla="*/ 30 w 612"/>
                <a:gd name="T45" fmla="*/ 106 h 624"/>
                <a:gd name="T46" fmla="*/ 28 w 612"/>
                <a:gd name="T47" fmla="*/ 104 h 624"/>
                <a:gd name="T48" fmla="*/ 27 w 612"/>
                <a:gd name="T49" fmla="*/ 100 h 624"/>
                <a:gd name="T50" fmla="*/ 23 w 612"/>
                <a:gd name="T51" fmla="*/ 98 h 624"/>
                <a:gd name="T52" fmla="*/ 22 w 612"/>
                <a:gd name="T53" fmla="*/ 97 h 624"/>
                <a:gd name="T54" fmla="*/ 20 w 612"/>
                <a:gd name="T55" fmla="*/ 95 h 624"/>
                <a:gd name="T56" fmla="*/ 15 w 612"/>
                <a:gd name="T57" fmla="*/ 95 h 624"/>
                <a:gd name="T58" fmla="*/ 15 w 612"/>
                <a:gd name="T59" fmla="*/ 95 h 624"/>
                <a:gd name="T60" fmla="*/ 14 w 612"/>
                <a:gd name="T61" fmla="*/ 95 h 624"/>
                <a:gd name="T62" fmla="*/ 12 w 612"/>
                <a:gd name="T63" fmla="*/ 95 h 624"/>
                <a:gd name="T64" fmla="*/ 9 w 612"/>
                <a:gd name="T65" fmla="*/ 97 h 624"/>
                <a:gd name="T66" fmla="*/ 7 w 612"/>
                <a:gd name="T67" fmla="*/ 95 h 624"/>
                <a:gd name="T68" fmla="*/ 6 w 612"/>
                <a:gd name="T69" fmla="*/ 98 h 624"/>
                <a:gd name="T70" fmla="*/ 4 w 612"/>
                <a:gd name="T71" fmla="*/ 100 h 624"/>
                <a:gd name="T72" fmla="*/ 4 w 612"/>
                <a:gd name="T73" fmla="*/ 98 h 624"/>
                <a:gd name="T74" fmla="*/ 6 w 612"/>
                <a:gd name="T75" fmla="*/ 93 h 624"/>
                <a:gd name="T76" fmla="*/ 7 w 612"/>
                <a:gd name="T77" fmla="*/ 86 h 624"/>
                <a:gd name="T78" fmla="*/ 7 w 612"/>
                <a:gd name="T79" fmla="*/ 82 h 624"/>
                <a:gd name="T80" fmla="*/ 7 w 612"/>
                <a:gd name="T81" fmla="*/ 77 h 624"/>
                <a:gd name="T82" fmla="*/ 6 w 612"/>
                <a:gd name="T83" fmla="*/ 73 h 624"/>
                <a:gd name="T84" fmla="*/ 6 w 612"/>
                <a:gd name="T85" fmla="*/ 70 h 624"/>
                <a:gd name="T86" fmla="*/ 6 w 612"/>
                <a:gd name="T87" fmla="*/ 70 h 624"/>
                <a:gd name="T88" fmla="*/ 6 w 612"/>
                <a:gd name="T89" fmla="*/ 68 h 624"/>
                <a:gd name="T90" fmla="*/ 6 w 612"/>
                <a:gd name="T91" fmla="*/ 65 h 624"/>
                <a:gd name="T92" fmla="*/ 6 w 612"/>
                <a:gd name="T93" fmla="*/ 62 h 624"/>
                <a:gd name="T94" fmla="*/ 4 w 612"/>
                <a:gd name="T95" fmla="*/ 59 h 624"/>
                <a:gd name="T96" fmla="*/ 4 w 612"/>
                <a:gd name="T97" fmla="*/ 59 h 624"/>
                <a:gd name="T98" fmla="*/ 1 w 612"/>
                <a:gd name="T99" fmla="*/ 57 h 624"/>
                <a:gd name="T100" fmla="*/ 1 w 612"/>
                <a:gd name="T101" fmla="*/ 55 h 624"/>
                <a:gd name="T102" fmla="*/ 1 w 612"/>
                <a:gd name="T103" fmla="*/ 55 h 624"/>
                <a:gd name="T104" fmla="*/ 1 w 612"/>
                <a:gd name="T105" fmla="*/ 53 h 624"/>
                <a:gd name="T106" fmla="*/ 1 w 612"/>
                <a:gd name="T107" fmla="*/ 57 h 624"/>
                <a:gd name="T108" fmla="*/ 0 w 612"/>
                <a:gd name="T109" fmla="*/ 59 h 624"/>
                <a:gd name="T110" fmla="*/ 1 w 612"/>
                <a:gd name="T111" fmla="*/ 55 h 624"/>
                <a:gd name="T112" fmla="*/ 15 w 612"/>
                <a:gd name="T113" fmla="*/ 53 h 624"/>
                <a:gd name="T114" fmla="*/ 28 w 612"/>
                <a:gd name="T115" fmla="*/ 48 h 624"/>
                <a:gd name="T116" fmla="*/ 30 w 612"/>
                <a:gd name="T117" fmla="*/ 37 h 624"/>
                <a:gd name="T118" fmla="*/ 32 w 612"/>
                <a:gd name="T119" fmla="*/ 35 h 624"/>
                <a:gd name="T120" fmla="*/ 36 w 612"/>
                <a:gd name="T121" fmla="*/ 10 h 6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12" h="624">
                  <a:moveTo>
                    <a:pt x="420" y="0"/>
                  </a:moveTo>
                  <a:lnTo>
                    <a:pt x="474" y="30"/>
                  </a:lnTo>
                  <a:lnTo>
                    <a:pt x="504" y="42"/>
                  </a:lnTo>
                  <a:lnTo>
                    <a:pt x="558" y="78"/>
                  </a:lnTo>
                  <a:lnTo>
                    <a:pt x="582" y="96"/>
                  </a:lnTo>
                  <a:lnTo>
                    <a:pt x="612" y="114"/>
                  </a:lnTo>
                  <a:lnTo>
                    <a:pt x="60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8" y="162"/>
                  </a:lnTo>
                  <a:lnTo>
                    <a:pt x="534" y="180"/>
                  </a:lnTo>
                  <a:lnTo>
                    <a:pt x="534" y="192"/>
                  </a:lnTo>
                  <a:lnTo>
                    <a:pt x="534" y="198"/>
                  </a:lnTo>
                  <a:lnTo>
                    <a:pt x="534" y="204"/>
                  </a:lnTo>
                  <a:lnTo>
                    <a:pt x="534" y="210"/>
                  </a:lnTo>
                  <a:lnTo>
                    <a:pt x="540" y="228"/>
                  </a:lnTo>
                  <a:lnTo>
                    <a:pt x="540" y="252"/>
                  </a:lnTo>
                  <a:lnTo>
                    <a:pt x="546" y="306"/>
                  </a:lnTo>
                  <a:lnTo>
                    <a:pt x="552" y="342"/>
                  </a:lnTo>
                  <a:lnTo>
                    <a:pt x="552" y="354"/>
                  </a:lnTo>
                  <a:lnTo>
                    <a:pt x="552" y="360"/>
                  </a:lnTo>
                  <a:lnTo>
                    <a:pt x="552" y="366"/>
                  </a:lnTo>
                  <a:lnTo>
                    <a:pt x="552" y="384"/>
                  </a:lnTo>
                  <a:lnTo>
                    <a:pt x="558" y="396"/>
                  </a:lnTo>
                  <a:lnTo>
                    <a:pt x="564" y="462"/>
                  </a:lnTo>
                  <a:lnTo>
                    <a:pt x="564" y="468"/>
                  </a:lnTo>
                  <a:lnTo>
                    <a:pt x="564" y="486"/>
                  </a:lnTo>
                  <a:lnTo>
                    <a:pt x="570" y="510"/>
                  </a:lnTo>
                  <a:lnTo>
                    <a:pt x="570" y="534"/>
                  </a:lnTo>
                  <a:lnTo>
                    <a:pt x="588" y="540"/>
                  </a:lnTo>
                  <a:lnTo>
                    <a:pt x="576" y="582"/>
                  </a:lnTo>
                  <a:lnTo>
                    <a:pt x="570" y="582"/>
                  </a:lnTo>
                  <a:lnTo>
                    <a:pt x="552" y="582"/>
                  </a:lnTo>
                  <a:lnTo>
                    <a:pt x="516" y="582"/>
                  </a:lnTo>
                  <a:lnTo>
                    <a:pt x="498" y="582"/>
                  </a:lnTo>
                  <a:lnTo>
                    <a:pt x="492" y="582"/>
                  </a:lnTo>
                  <a:lnTo>
                    <a:pt x="468" y="582"/>
                  </a:lnTo>
                  <a:lnTo>
                    <a:pt x="456" y="582"/>
                  </a:lnTo>
                  <a:lnTo>
                    <a:pt x="438" y="582"/>
                  </a:lnTo>
                  <a:lnTo>
                    <a:pt x="432" y="582"/>
                  </a:lnTo>
                  <a:lnTo>
                    <a:pt x="420" y="582"/>
                  </a:lnTo>
                  <a:lnTo>
                    <a:pt x="384" y="582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78" y="576"/>
                  </a:lnTo>
                  <a:lnTo>
                    <a:pt x="384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18" y="588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600"/>
                  </a:lnTo>
                  <a:lnTo>
                    <a:pt x="306" y="600"/>
                  </a:lnTo>
                  <a:lnTo>
                    <a:pt x="306" y="606"/>
                  </a:lnTo>
                  <a:lnTo>
                    <a:pt x="306" y="600"/>
                  </a:lnTo>
                  <a:lnTo>
                    <a:pt x="306" y="594"/>
                  </a:lnTo>
                  <a:lnTo>
                    <a:pt x="300" y="594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64" y="582"/>
                  </a:lnTo>
                  <a:lnTo>
                    <a:pt x="264" y="588"/>
                  </a:lnTo>
                  <a:lnTo>
                    <a:pt x="264" y="594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64" y="612"/>
                  </a:lnTo>
                  <a:lnTo>
                    <a:pt x="258" y="618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46" y="618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28" y="612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0"/>
                  </a:lnTo>
                  <a:lnTo>
                    <a:pt x="210" y="600"/>
                  </a:lnTo>
                  <a:lnTo>
                    <a:pt x="210" y="594"/>
                  </a:lnTo>
                  <a:lnTo>
                    <a:pt x="204" y="588"/>
                  </a:lnTo>
                  <a:lnTo>
                    <a:pt x="210" y="588"/>
                  </a:lnTo>
                  <a:lnTo>
                    <a:pt x="204" y="588"/>
                  </a:lnTo>
                  <a:lnTo>
                    <a:pt x="204" y="582"/>
                  </a:lnTo>
                  <a:lnTo>
                    <a:pt x="198" y="582"/>
                  </a:lnTo>
                  <a:lnTo>
                    <a:pt x="198" y="576"/>
                  </a:lnTo>
                  <a:lnTo>
                    <a:pt x="192" y="576"/>
                  </a:lnTo>
                  <a:lnTo>
                    <a:pt x="192" y="570"/>
                  </a:lnTo>
                  <a:lnTo>
                    <a:pt x="186" y="564"/>
                  </a:lnTo>
                  <a:lnTo>
                    <a:pt x="186" y="558"/>
                  </a:lnTo>
                  <a:lnTo>
                    <a:pt x="180" y="552"/>
                  </a:lnTo>
                  <a:lnTo>
                    <a:pt x="174" y="552"/>
                  </a:lnTo>
                  <a:lnTo>
                    <a:pt x="168" y="552"/>
                  </a:lnTo>
                  <a:lnTo>
                    <a:pt x="162" y="552"/>
                  </a:lnTo>
                  <a:lnTo>
                    <a:pt x="162" y="546"/>
                  </a:lnTo>
                  <a:lnTo>
                    <a:pt x="156" y="546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28"/>
                  </a:lnTo>
                  <a:lnTo>
                    <a:pt x="138" y="528"/>
                  </a:lnTo>
                  <a:lnTo>
                    <a:pt x="132" y="528"/>
                  </a:lnTo>
                  <a:lnTo>
                    <a:pt x="126" y="528"/>
                  </a:lnTo>
                  <a:lnTo>
                    <a:pt x="120" y="528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8" y="522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8"/>
                  </a:lnTo>
                  <a:lnTo>
                    <a:pt x="78" y="534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48" y="534"/>
                  </a:lnTo>
                  <a:lnTo>
                    <a:pt x="48" y="528"/>
                  </a:lnTo>
                  <a:lnTo>
                    <a:pt x="48" y="534"/>
                  </a:lnTo>
                  <a:lnTo>
                    <a:pt x="42" y="534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30" y="552"/>
                  </a:lnTo>
                  <a:lnTo>
                    <a:pt x="30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6" y="528"/>
                  </a:lnTo>
                  <a:lnTo>
                    <a:pt x="36" y="522"/>
                  </a:lnTo>
                  <a:lnTo>
                    <a:pt x="36" y="516"/>
                  </a:lnTo>
                  <a:lnTo>
                    <a:pt x="48" y="498"/>
                  </a:lnTo>
                  <a:lnTo>
                    <a:pt x="48" y="486"/>
                  </a:lnTo>
                  <a:lnTo>
                    <a:pt x="54" y="480"/>
                  </a:lnTo>
                  <a:lnTo>
                    <a:pt x="54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54" y="444"/>
                  </a:lnTo>
                  <a:lnTo>
                    <a:pt x="54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08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0" y="396"/>
                  </a:lnTo>
                  <a:lnTo>
                    <a:pt x="30" y="390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36" y="384"/>
                  </a:lnTo>
                  <a:lnTo>
                    <a:pt x="36" y="390"/>
                  </a:lnTo>
                  <a:lnTo>
                    <a:pt x="30" y="390"/>
                  </a:lnTo>
                  <a:lnTo>
                    <a:pt x="30" y="384"/>
                  </a:lnTo>
                  <a:lnTo>
                    <a:pt x="36" y="384"/>
                  </a:lnTo>
                  <a:lnTo>
                    <a:pt x="36" y="378"/>
                  </a:lnTo>
                  <a:lnTo>
                    <a:pt x="42" y="378"/>
                  </a:lnTo>
                  <a:lnTo>
                    <a:pt x="42" y="372"/>
                  </a:lnTo>
                  <a:lnTo>
                    <a:pt x="42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8" y="348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6" y="330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8" y="312"/>
                  </a:lnTo>
                  <a:lnTo>
                    <a:pt x="12" y="312"/>
                  </a:lnTo>
                  <a:lnTo>
                    <a:pt x="12" y="306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306"/>
                  </a:lnTo>
                  <a:lnTo>
                    <a:pt x="6" y="312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294"/>
                  </a:lnTo>
                  <a:lnTo>
                    <a:pt x="12" y="294"/>
                  </a:lnTo>
                  <a:lnTo>
                    <a:pt x="60" y="294"/>
                  </a:lnTo>
                  <a:lnTo>
                    <a:pt x="108" y="294"/>
                  </a:lnTo>
                  <a:lnTo>
                    <a:pt x="162" y="294"/>
                  </a:lnTo>
                  <a:lnTo>
                    <a:pt x="204" y="294"/>
                  </a:lnTo>
                  <a:lnTo>
                    <a:pt x="204" y="276"/>
                  </a:lnTo>
                  <a:lnTo>
                    <a:pt x="198" y="264"/>
                  </a:lnTo>
                  <a:lnTo>
                    <a:pt x="198" y="222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10" y="192"/>
                  </a:lnTo>
                  <a:lnTo>
                    <a:pt x="216" y="192"/>
                  </a:lnTo>
                  <a:lnTo>
                    <a:pt x="246" y="186"/>
                  </a:lnTo>
                  <a:lnTo>
                    <a:pt x="252" y="186"/>
                  </a:lnTo>
                  <a:lnTo>
                    <a:pt x="252" y="120"/>
                  </a:lnTo>
                  <a:lnTo>
                    <a:pt x="252" y="60"/>
                  </a:lnTo>
                  <a:lnTo>
                    <a:pt x="420" y="60"/>
                  </a:lnTo>
                  <a:lnTo>
                    <a:pt x="420" y="6"/>
                  </a:lnTo>
                  <a:lnTo>
                    <a:pt x="420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28" name="Freeform 88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3240" y="899"/>
              <a:ext cx="262" cy="225"/>
            </a:xfrm>
            <a:custGeom>
              <a:avLst/>
              <a:gdLst>
                <a:gd name="T0" fmla="*/ 40 w 420"/>
                <a:gd name="T1" fmla="*/ 0 h 348"/>
                <a:gd name="T2" fmla="*/ 52 w 420"/>
                <a:gd name="T3" fmla="*/ 0 h 348"/>
                <a:gd name="T4" fmla="*/ 64 w 420"/>
                <a:gd name="T5" fmla="*/ 4 h 348"/>
                <a:gd name="T6" fmla="*/ 64 w 420"/>
                <a:gd name="T7" fmla="*/ 15 h 348"/>
                <a:gd name="T8" fmla="*/ 38 w 420"/>
                <a:gd name="T9" fmla="*/ 25 h 348"/>
                <a:gd name="T10" fmla="*/ 37 w 420"/>
                <a:gd name="T11" fmla="*/ 37 h 348"/>
                <a:gd name="T12" fmla="*/ 32 w 420"/>
                <a:gd name="T13" fmla="*/ 38 h 348"/>
                <a:gd name="T14" fmla="*/ 31 w 420"/>
                <a:gd name="T15" fmla="*/ 39 h 348"/>
                <a:gd name="T16" fmla="*/ 31 w 420"/>
                <a:gd name="T17" fmla="*/ 41 h 348"/>
                <a:gd name="T18" fmla="*/ 30 w 420"/>
                <a:gd name="T19" fmla="*/ 43 h 348"/>
                <a:gd name="T20" fmla="*/ 31 w 420"/>
                <a:gd name="T21" fmla="*/ 52 h 348"/>
                <a:gd name="T22" fmla="*/ 24 w 420"/>
                <a:gd name="T23" fmla="*/ 56 h 348"/>
                <a:gd name="T24" fmla="*/ 9 w 420"/>
                <a:gd name="T25" fmla="*/ 56 h 348"/>
                <a:gd name="T26" fmla="*/ 1 w 420"/>
                <a:gd name="T27" fmla="*/ 56 h 348"/>
                <a:gd name="T28" fmla="*/ 1 w 420"/>
                <a:gd name="T29" fmla="*/ 59 h 348"/>
                <a:gd name="T30" fmla="*/ 0 w 420"/>
                <a:gd name="T31" fmla="*/ 59 h 348"/>
                <a:gd name="T32" fmla="*/ 0 w 420"/>
                <a:gd name="T33" fmla="*/ 59 h 348"/>
                <a:gd name="T34" fmla="*/ 0 w 420"/>
                <a:gd name="T35" fmla="*/ 58 h 348"/>
                <a:gd name="T36" fmla="*/ 1 w 420"/>
                <a:gd name="T37" fmla="*/ 56 h 348"/>
                <a:gd name="T38" fmla="*/ 1 w 420"/>
                <a:gd name="T39" fmla="*/ 54 h 348"/>
                <a:gd name="T40" fmla="*/ 1 w 420"/>
                <a:gd name="T41" fmla="*/ 52 h 348"/>
                <a:gd name="T42" fmla="*/ 1 w 420"/>
                <a:gd name="T43" fmla="*/ 49 h 348"/>
                <a:gd name="T44" fmla="*/ 2 w 420"/>
                <a:gd name="T45" fmla="*/ 48 h 348"/>
                <a:gd name="T46" fmla="*/ 4 w 420"/>
                <a:gd name="T47" fmla="*/ 47 h 348"/>
                <a:gd name="T48" fmla="*/ 4 w 420"/>
                <a:gd name="T49" fmla="*/ 47 h 348"/>
                <a:gd name="T50" fmla="*/ 6 w 420"/>
                <a:gd name="T51" fmla="*/ 44 h 348"/>
                <a:gd name="T52" fmla="*/ 6 w 420"/>
                <a:gd name="T53" fmla="*/ 43 h 348"/>
                <a:gd name="T54" fmla="*/ 7 w 420"/>
                <a:gd name="T55" fmla="*/ 42 h 348"/>
                <a:gd name="T56" fmla="*/ 7 w 420"/>
                <a:gd name="T57" fmla="*/ 39 h 348"/>
                <a:gd name="T58" fmla="*/ 7 w 420"/>
                <a:gd name="T59" fmla="*/ 39 h 348"/>
                <a:gd name="T60" fmla="*/ 8 w 420"/>
                <a:gd name="T61" fmla="*/ 39 h 348"/>
                <a:gd name="T62" fmla="*/ 9 w 420"/>
                <a:gd name="T63" fmla="*/ 37 h 348"/>
                <a:gd name="T64" fmla="*/ 9 w 420"/>
                <a:gd name="T65" fmla="*/ 37 h 348"/>
                <a:gd name="T66" fmla="*/ 10 w 420"/>
                <a:gd name="T67" fmla="*/ 35 h 348"/>
                <a:gd name="T68" fmla="*/ 11 w 420"/>
                <a:gd name="T69" fmla="*/ 34 h 348"/>
                <a:gd name="T70" fmla="*/ 11 w 420"/>
                <a:gd name="T71" fmla="*/ 34 h 348"/>
                <a:gd name="T72" fmla="*/ 9 w 420"/>
                <a:gd name="T73" fmla="*/ 34 h 348"/>
                <a:gd name="T74" fmla="*/ 9 w 420"/>
                <a:gd name="T75" fmla="*/ 36 h 348"/>
                <a:gd name="T76" fmla="*/ 8 w 420"/>
                <a:gd name="T77" fmla="*/ 35 h 348"/>
                <a:gd name="T78" fmla="*/ 9 w 420"/>
                <a:gd name="T79" fmla="*/ 34 h 348"/>
                <a:gd name="T80" fmla="*/ 11 w 420"/>
                <a:gd name="T81" fmla="*/ 32 h 348"/>
                <a:gd name="T82" fmla="*/ 12 w 420"/>
                <a:gd name="T83" fmla="*/ 31 h 348"/>
                <a:gd name="T84" fmla="*/ 12 w 420"/>
                <a:gd name="T85" fmla="*/ 30 h 348"/>
                <a:gd name="T86" fmla="*/ 14 w 420"/>
                <a:gd name="T87" fmla="*/ 28 h 348"/>
                <a:gd name="T88" fmla="*/ 16 w 420"/>
                <a:gd name="T89" fmla="*/ 27 h 348"/>
                <a:gd name="T90" fmla="*/ 16 w 420"/>
                <a:gd name="T91" fmla="*/ 27 h 348"/>
                <a:gd name="T92" fmla="*/ 17 w 420"/>
                <a:gd name="T93" fmla="*/ 25 h 348"/>
                <a:gd name="T94" fmla="*/ 17 w 420"/>
                <a:gd name="T95" fmla="*/ 22 h 348"/>
                <a:gd name="T96" fmla="*/ 17 w 420"/>
                <a:gd name="T97" fmla="*/ 20 h 348"/>
                <a:gd name="T98" fmla="*/ 18 w 420"/>
                <a:gd name="T99" fmla="*/ 18 h 348"/>
                <a:gd name="T100" fmla="*/ 19 w 420"/>
                <a:gd name="T101" fmla="*/ 17 h 348"/>
                <a:gd name="T102" fmla="*/ 20 w 420"/>
                <a:gd name="T103" fmla="*/ 15 h 348"/>
                <a:gd name="T104" fmla="*/ 20 w 420"/>
                <a:gd name="T105" fmla="*/ 12 h 348"/>
                <a:gd name="T106" fmla="*/ 22 w 420"/>
                <a:gd name="T107" fmla="*/ 12 h 348"/>
                <a:gd name="T108" fmla="*/ 24 w 420"/>
                <a:gd name="T109" fmla="*/ 10 h 348"/>
                <a:gd name="T110" fmla="*/ 26 w 420"/>
                <a:gd name="T111" fmla="*/ 10 h 348"/>
                <a:gd name="T112" fmla="*/ 27 w 420"/>
                <a:gd name="T113" fmla="*/ 8 h 348"/>
                <a:gd name="T114" fmla="*/ 27 w 420"/>
                <a:gd name="T115" fmla="*/ 5 h 348"/>
                <a:gd name="T116" fmla="*/ 28 w 420"/>
                <a:gd name="T117" fmla="*/ 4 h 348"/>
                <a:gd name="T118" fmla="*/ 29 w 420"/>
                <a:gd name="T119" fmla="*/ 3 h 348"/>
                <a:gd name="T120" fmla="*/ 29 w 420"/>
                <a:gd name="T121" fmla="*/ 3 h 348"/>
                <a:gd name="T122" fmla="*/ 29 w 420"/>
                <a:gd name="T123" fmla="*/ 1 h 348"/>
                <a:gd name="T124" fmla="*/ 30 w 420"/>
                <a:gd name="T125" fmla="*/ 0 h 3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0" h="348">
                  <a:moveTo>
                    <a:pt x="198" y="0"/>
                  </a:moveTo>
                  <a:lnTo>
                    <a:pt x="264" y="0"/>
                  </a:lnTo>
                  <a:lnTo>
                    <a:pt x="276" y="0"/>
                  </a:lnTo>
                  <a:lnTo>
                    <a:pt x="348" y="0"/>
                  </a:lnTo>
                  <a:lnTo>
                    <a:pt x="420" y="6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84"/>
                  </a:lnTo>
                  <a:lnTo>
                    <a:pt x="252" y="84"/>
                  </a:lnTo>
                  <a:lnTo>
                    <a:pt x="252" y="144"/>
                  </a:lnTo>
                  <a:lnTo>
                    <a:pt x="252" y="210"/>
                  </a:lnTo>
                  <a:lnTo>
                    <a:pt x="246" y="210"/>
                  </a:lnTo>
                  <a:lnTo>
                    <a:pt x="216" y="216"/>
                  </a:lnTo>
                  <a:lnTo>
                    <a:pt x="210" y="216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04" y="234"/>
                  </a:lnTo>
                  <a:lnTo>
                    <a:pt x="198" y="234"/>
                  </a:lnTo>
                  <a:lnTo>
                    <a:pt x="198" y="246"/>
                  </a:lnTo>
                  <a:lnTo>
                    <a:pt x="198" y="288"/>
                  </a:lnTo>
                  <a:lnTo>
                    <a:pt x="204" y="300"/>
                  </a:lnTo>
                  <a:lnTo>
                    <a:pt x="204" y="318"/>
                  </a:lnTo>
                  <a:lnTo>
                    <a:pt x="162" y="318"/>
                  </a:lnTo>
                  <a:lnTo>
                    <a:pt x="108" y="318"/>
                  </a:lnTo>
                  <a:lnTo>
                    <a:pt x="60" y="318"/>
                  </a:lnTo>
                  <a:lnTo>
                    <a:pt x="12" y="318"/>
                  </a:lnTo>
                  <a:lnTo>
                    <a:pt x="6" y="318"/>
                  </a:lnTo>
                  <a:lnTo>
                    <a:pt x="6" y="330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0" y="330"/>
                  </a:lnTo>
                  <a:lnTo>
                    <a:pt x="6" y="324"/>
                  </a:lnTo>
                  <a:lnTo>
                    <a:pt x="6" y="318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300"/>
                  </a:lnTo>
                  <a:lnTo>
                    <a:pt x="6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70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8" y="228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60" y="192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0" y="192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29" name="Freeform 89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3502" y="595"/>
              <a:ext cx="632" cy="586"/>
            </a:xfrm>
            <a:custGeom>
              <a:avLst/>
              <a:gdLst>
                <a:gd name="T0" fmla="*/ 2 w 1026"/>
                <a:gd name="T1" fmla="*/ 72 h 906"/>
                <a:gd name="T2" fmla="*/ 7 w 1026"/>
                <a:gd name="T3" fmla="*/ 67 h 906"/>
                <a:gd name="T4" fmla="*/ 11 w 1026"/>
                <a:gd name="T5" fmla="*/ 65 h 906"/>
                <a:gd name="T6" fmla="*/ 16 w 1026"/>
                <a:gd name="T7" fmla="*/ 65 h 906"/>
                <a:gd name="T8" fmla="*/ 22 w 1026"/>
                <a:gd name="T9" fmla="*/ 63 h 906"/>
                <a:gd name="T10" fmla="*/ 26 w 1026"/>
                <a:gd name="T11" fmla="*/ 60 h 906"/>
                <a:gd name="T12" fmla="*/ 28 w 1026"/>
                <a:gd name="T13" fmla="*/ 56 h 906"/>
                <a:gd name="T14" fmla="*/ 34 w 1026"/>
                <a:gd name="T15" fmla="*/ 55 h 906"/>
                <a:gd name="T16" fmla="*/ 34 w 1026"/>
                <a:gd name="T17" fmla="*/ 52 h 906"/>
                <a:gd name="T18" fmla="*/ 39 w 1026"/>
                <a:gd name="T19" fmla="*/ 47 h 906"/>
                <a:gd name="T20" fmla="*/ 41 w 1026"/>
                <a:gd name="T21" fmla="*/ 44 h 906"/>
                <a:gd name="T22" fmla="*/ 47 w 1026"/>
                <a:gd name="T23" fmla="*/ 43 h 906"/>
                <a:gd name="T24" fmla="*/ 52 w 1026"/>
                <a:gd name="T25" fmla="*/ 44 h 906"/>
                <a:gd name="T26" fmla="*/ 55 w 1026"/>
                <a:gd name="T27" fmla="*/ 41 h 906"/>
                <a:gd name="T28" fmla="*/ 50 w 1026"/>
                <a:gd name="T29" fmla="*/ 35 h 906"/>
                <a:gd name="T30" fmla="*/ 50 w 1026"/>
                <a:gd name="T31" fmla="*/ 30 h 906"/>
                <a:gd name="T32" fmla="*/ 49 w 1026"/>
                <a:gd name="T33" fmla="*/ 22 h 906"/>
                <a:gd name="T34" fmla="*/ 47 w 1026"/>
                <a:gd name="T35" fmla="*/ 18 h 906"/>
                <a:gd name="T36" fmla="*/ 51 w 1026"/>
                <a:gd name="T37" fmla="*/ 17 h 906"/>
                <a:gd name="T38" fmla="*/ 55 w 1026"/>
                <a:gd name="T39" fmla="*/ 12 h 906"/>
                <a:gd name="T40" fmla="*/ 58 w 1026"/>
                <a:gd name="T41" fmla="*/ 12 h 906"/>
                <a:gd name="T42" fmla="*/ 62 w 1026"/>
                <a:gd name="T43" fmla="*/ 12 h 906"/>
                <a:gd name="T44" fmla="*/ 66 w 1026"/>
                <a:gd name="T45" fmla="*/ 7 h 906"/>
                <a:gd name="T46" fmla="*/ 71 w 1026"/>
                <a:gd name="T47" fmla="*/ 5 h 906"/>
                <a:gd name="T48" fmla="*/ 77 w 1026"/>
                <a:gd name="T49" fmla="*/ 5 h 906"/>
                <a:gd name="T50" fmla="*/ 81 w 1026"/>
                <a:gd name="T51" fmla="*/ 4 h 906"/>
                <a:gd name="T52" fmla="*/ 86 w 1026"/>
                <a:gd name="T53" fmla="*/ 3 h 906"/>
                <a:gd name="T54" fmla="*/ 91 w 1026"/>
                <a:gd name="T55" fmla="*/ 2 h 906"/>
                <a:gd name="T56" fmla="*/ 97 w 1026"/>
                <a:gd name="T57" fmla="*/ 3 h 906"/>
                <a:gd name="T58" fmla="*/ 102 w 1026"/>
                <a:gd name="T59" fmla="*/ 3 h 906"/>
                <a:gd name="T60" fmla="*/ 107 w 1026"/>
                <a:gd name="T61" fmla="*/ 1 h 906"/>
                <a:gd name="T62" fmla="*/ 110 w 1026"/>
                <a:gd name="T63" fmla="*/ 1 h 906"/>
                <a:gd name="T64" fmla="*/ 113 w 1026"/>
                <a:gd name="T65" fmla="*/ 2 h 906"/>
                <a:gd name="T66" fmla="*/ 115 w 1026"/>
                <a:gd name="T67" fmla="*/ 1 h 906"/>
                <a:gd name="T68" fmla="*/ 118 w 1026"/>
                <a:gd name="T69" fmla="*/ 2 h 906"/>
                <a:gd name="T70" fmla="*/ 123 w 1026"/>
                <a:gd name="T71" fmla="*/ 3 h 906"/>
                <a:gd name="T72" fmla="*/ 120 w 1026"/>
                <a:gd name="T73" fmla="*/ 5 h 906"/>
                <a:gd name="T74" fmla="*/ 122 w 1026"/>
                <a:gd name="T75" fmla="*/ 8 h 906"/>
                <a:gd name="T76" fmla="*/ 122 w 1026"/>
                <a:gd name="T77" fmla="*/ 14 h 906"/>
                <a:gd name="T78" fmla="*/ 122 w 1026"/>
                <a:gd name="T79" fmla="*/ 18 h 906"/>
                <a:gd name="T80" fmla="*/ 120 w 1026"/>
                <a:gd name="T81" fmla="*/ 23 h 906"/>
                <a:gd name="T82" fmla="*/ 116 w 1026"/>
                <a:gd name="T83" fmla="*/ 27 h 906"/>
                <a:gd name="T84" fmla="*/ 118 w 1026"/>
                <a:gd name="T85" fmla="*/ 35 h 906"/>
                <a:gd name="T86" fmla="*/ 127 w 1026"/>
                <a:gd name="T87" fmla="*/ 44 h 906"/>
                <a:gd name="T88" fmla="*/ 129 w 1026"/>
                <a:gd name="T89" fmla="*/ 60 h 906"/>
                <a:gd name="T90" fmla="*/ 132 w 1026"/>
                <a:gd name="T91" fmla="*/ 72 h 906"/>
                <a:gd name="T92" fmla="*/ 132 w 1026"/>
                <a:gd name="T93" fmla="*/ 79 h 906"/>
                <a:gd name="T94" fmla="*/ 132 w 1026"/>
                <a:gd name="T95" fmla="*/ 86 h 906"/>
                <a:gd name="T96" fmla="*/ 132 w 1026"/>
                <a:gd name="T97" fmla="*/ 92 h 906"/>
                <a:gd name="T98" fmla="*/ 132 w 1026"/>
                <a:gd name="T99" fmla="*/ 100 h 906"/>
                <a:gd name="T100" fmla="*/ 137 w 1026"/>
                <a:gd name="T101" fmla="*/ 109 h 906"/>
                <a:gd name="T102" fmla="*/ 145 w 1026"/>
                <a:gd name="T103" fmla="*/ 112 h 906"/>
                <a:gd name="T104" fmla="*/ 113 w 1026"/>
                <a:gd name="T105" fmla="*/ 144 h 906"/>
                <a:gd name="T106" fmla="*/ 86 w 1026"/>
                <a:gd name="T107" fmla="*/ 157 h 906"/>
                <a:gd name="T108" fmla="*/ 84 w 1026"/>
                <a:gd name="T109" fmla="*/ 153 h 906"/>
                <a:gd name="T110" fmla="*/ 83 w 1026"/>
                <a:gd name="T111" fmla="*/ 149 h 906"/>
                <a:gd name="T112" fmla="*/ 79 w 1026"/>
                <a:gd name="T113" fmla="*/ 148 h 906"/>
                <a:gd name="T114" fmla="*/ 75 w 1026"/>
                <a:gd name="T115" fmla="*/ 147 h 906"/>
                <a:gd name="T116" fmla="*/ 71 w 1026"/>
                <a:gd name="T117" fmla="*/ 143 h 906"/>
                <a:gd name="T118" fmla="*/ 61 w 1026"/>
                <a:gd name="T119" fmla="*/ 131 h 906"/>
                <a:gd name="T120" fmla="*/ 23 w 1026"/>
                <a:gd name="T121" fmla="*/ 103 h 90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26" h="906">
                  <a:moveTo>
                    <a:pt x="0" y="492"/>
                  </a:moveTo>
                  <a:lnTo>
                    <a:pt x="0" y="474"/>
                  </a:lnTo>
                  <a:lnTo>
                    <a:pt x="0" y="420"/>
                  </a:lnTo>
                  <a:lnTo>
                    <a:pt x="6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24" y="402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8" y="390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72" y="378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8" y="378"/>
                  </a:lnTo>
                  <a:lnTo>
                    <a:pt x="108" y="372"/>
                  </a:lnTo>
                  <a:lnTo>
                    <a:pt x="114" y="372"/>
                  </a:lnTo>
                  <a:lnTo>
                    <a:pt x="120" y="372"/>
                  </a:lnTo>
                  <a:lnTo>
                    <a:pt x="126" y="372"/>
                  </a:lnTo>
                  <a:lnTo>
                    <a:pt x="132" y="366"/>
                  </a:lnTo>
                  <a:lnTo>
                    <a:pt x="138" y="366"/>
                  </a:lnTo>
                  <a:lnTo>
                    <a:pt x="144" y="366"/>
                  </a:lnTo>
                  <a:lnTo>
                    <a:pt x="150" y="366"/>
                  </a:lnTo>
                  <a:lnTo>
                    <a:pt x="156" y="360"/>
                  </a:lnTo>
                  <a:lnTo>
                    <a:pt x="162" y="360"/>
                  </a:lnTo>
                  <a:lnTo>
                    <a:pt x="168" y="360"/>
                  </a:lnTo>
                  <a:lnTo>
                    <a:pt x="168" y="354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80" y="348"/>
                  </a:lnTo>
                  <a:lnTo>
                    <a:pt x="180" y="342"/>
                  </a:lnTo>
                  <a:lnTo>
                    <a:pt x="186" y="342"/>
                  </a:lnTo>
                  <a:lnTo>
                    <a:pt x="186" y="336"/>
                  </a:lnTo>
                  <a:lnTo>
                    <a:pt x="186" y="330"/>
                  </a:lnTo>
                  <a:lnTo>
                    <a:pt x="186" y="324"/>
                  </a:lnTo>
                  <a:lnTo>
                    <a:pt x="192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204" y="318"/>
                  </a:lnTo>
                  <a:lnTo>
                    <a:pt x="210" y="318"/>
                  </a:lnTo>
                  <a:lnTo>
                    <a:pt x="216" y="318"/>
                  </a:lnTo>
                  <a:lnTo>
                    <a:pt x="222" y="318"/>
                  </a:lnTo>
                  <a:lnTo>
                    <a:pt x="228" y="312"/>
                  </a:lnTo>
                  <a:lnTo>
                    <a:pt x="234" y="312"/>
                  </a:lnTo>
                  <a:lnTo>
                    <a:pt x="240" y="312"/>
                  </a:lnTo>
                  <a:lnTo>
                    <a:pt x="246" y="312"/>
                  </a:lnTo>
                  <a:lnTo>
                    <a:pt x="252" y="312"/>
                  </a:lnTo>
                  <a:lnTo>
                    <a:pt x="252" y="306"/>
                  </a:lnTo>
                  <a:lnTo>
                    <a:pt x="252" y="300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8"/>
                  </a:lnTo>
                  <a:lnTo>
                    <a:pt x="246" y="282"/>
                  </a:lnTo>
                  <a:lnTo>
                    <a:pt x="246" y="276"/>
                  </a:lnTo>
                  <a:lnTo>
                    <a:pt x="252" y="276"/>
                  </a:lnTo>
                  <a:lnTo>
                    <a:pt x="264" y="270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82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300" y="252"/>
                  </a:lnTo>
                  <a:lnTo>
                    <a:pt x="306" y="246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52"/>
                  </a:lnTo>
                  <a:lnTo>
                    <a:pt x="372" y="246"/>
                  </a:lnTo>
                  <a:lnTo>
                    <a:pt x="366" y="246"/>
                  </a:lnTo>
                  <a:lnTo>
                    <a:pt x="366" y="240"/>
                  </a:lnTo>
                  <a:lnTo>
                    <a:pt x="372" y="234"/>
                  </a:lnTo>
                  <a:lnTo>
                    <a:pt x="378" y="234"/>
                  </a:lnTo>
                  <a:lnTo>
                    <a:pt x="378" y="228"/>
                  </a:lnTo>
                  <a:lnTo>
                    <a:pt x="366" y="222"/>
                  </a:lnTo>
                  <a:lnTo>
                    <a:pt x="360" y="216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198"/>
                  </a:lnTo>
                  <a:lnTo>
                    <a:pt x="348" y="198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48" y="174"/>
                  </a:lnTo>
                  <a:lnTo>
                    <a:pt x="342" y="174"/>
                  </a:lnTo>
                  <a:lnTo>
                    <a:pt x="342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48" y="150"/>
                  </a:lnTo>
                  <a:lnTo>
                    <a:pt x="342" y="138"/>
                  </a:lnTo>
                  <a:lnTo>
                    <a:pt x="348" y="132"/>
                  </a:lnTo>
                  <a:lnTo>
                    <a:pt x="342" y="132"/>
                  </a:lnTo>
                  <a:lnTo>
                    <a:pt x="342" y="126"/>
                  </a:lnTo>
                  <a:lnTo>
                    <a:pt x="336" y="126"/>
                  </a:lnTo>
                  <a:lnTo>
                    <a:pt x="342" y="120"/>
                  </a:lnTo>
                  <a:lnTo>
                    <a:pt x="336" y="114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24" y="108"/>
                  </a:lnTo>
                  <a:lnTo>
                    <a:pt x="324" y="102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42" y="102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54" y="90"/>
                  </a:lnTo>
                  <a:lnTo>
                    <a:pt x="360" y="90"/>
                  </a:lnTo>
                  <a:lnTo>
                    <a:pt x="366" y="90"/>
                  </a:lnTo>
                  <a:lnTo>
                    <a:pt x="366" y="84"/>
                  </a:lnTo>
                  <a:lnTo>
                    <a:pt x="372" y="78"/>
                  </a:lnTo>
                  <a:lnTo>
                    <a:pt x="378" y="78"/>
                  </a:lnTo>
                  <a:lnTo>
                    <a:pt x="378" y="72"/>
                  </a:lnTo>
                  <a:lnTo>
                    <a:pt x="384" y="72"/>
                  </a:lnTo>
                  <a:lnTo>
                    <a:pt x="390" y="72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96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14" y="60"/>
                  </a:lnTo>
                  <a:lnTo>
                    <a:pt x="414" y="66"/>
                  </a:lnTo>
                  <a:lnTo>
                    <a:pt x="420" y="66"/>
                  </a:lnTo>
                  <a:lnTo>
                    <a:pt x="426" y="66"/>
                  </a:lnTo>
                  <a:lnTo>
                    <a:pt x="432" y="66"/>
                  </a:lnTo>
                  <a:lnTo>
                    <a:pt x="432" y="60"/>
                  </a:lnTo>
                  <a:lnTo>
                    <a:pt x="438" y="60"/>
                  </a:lnTo>
                  <a:lnTo>
                    <a:pt x="438" y="54"/>
                  </a:lnTo>
                  <a:lnTo>
                    <a:pt x="444" y="48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2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504" y="30"/>
                  </a:lnTo>
                  <a:lnTo>
                    <a:pt x="510" y="30"/>
                  </a:lnTo>
                  <a:lnTo>
                    <a:pt x="516" y="30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24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58" y="24"/>
                  </a:lnTo>
                  <a:lnTo>
                    <a:pt x="564" y="24"/>
                  </a:lnTo>
                  <a:lnTo>
                    <a:pt x="570" y="24"/>
                  </a:lnTo>
                  <a:lnTo>
                    <a:pt x="570" y="18"/>
                  </a:lnTo>
                  <a:lnTo>
                    <a:pt x="576" y="18"/>
                  </a:lnTo>
                  <a:lnTo>
                    <a:pt x="582" y="18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6" y="12"/>
                  </a:lnTo>
                  <a:lnTo>
                    <a:pt x="672" y="12"/>
                  </a:lnTo>
                  <a:lnTo>
                    <a:pt x="678" y="18"/>
                  </a:lnTo>
                  <a:lnTo>
                    <a:pt x="684" y="18"/>
                  </a:lnTo>
                  <a:lnTo>
                    <a:pt x="684" y="24"/>
                  </a:lnTo>
                  <a:lnTo>
                    <a:pt x="690" y="24"/>
                  </a:lnTo>
                  <a:lnTo>
                    <a:pt x="696" y="24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8" y="12"/>
                  </a:lnTo>
                  <a:lnTo>
                    <a:pt x="738" y="6"/>
                  </a:lnTo>
                  <a:lnTo>
                    <a:pt x="744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6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8" y="6"/>
                  </a:lnTo>
                  <a:lnTo>
                    <a:pt x="768" y="12"/>
                  </a:lnTo>
                  <a:lnTo>
                    <a:pt x="774" y="12"/>
                  </a:lnTo>
                  <a:lnTo>
                    <a:pt x="780" y="12"/>
                  </a:lnTo>
                  <a:lnTo>
                    <a:pt x="786" y="12"/>
                  </a:lnTo>
                  <a:lnTo>
                    <a:pt x="792" y="6"/>
                  </a:lnTo>
                  <a:lnTo>
                    <a:pt x="786" y="6"/>
                  </a:lnTo>
                  <a:lnTo>
                    <a:pt x="786" y="0"/>
                  </a:lnTo>
                  <a:lnTo>
                    <a:pt x="792" y="6"/>
                  </a:lnTo>
                  <a:lnTo>
                    <a:pt x="798" y="6"/>
                  </a:lnTo>
                  <a:lnTo>
                    <a:pt x="798" y="0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0" y="6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6" y="12"/>
                  </a:lnTo>
                  <a:lnTo>
                    <a:pt x="822" y="12"/>
                  </a:lnTo>
                  <a:lnTo>
                    <a:pt x="828" y="12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8" y="12"/>
                  </a:lnTo>
                  <a:lnTo>
                    <a:pt x="858" y="18"/>
                  </a:lnTo>
                  <a:lnTo>
                    <a:pt x="852" y="18"/>
                  </a:lnTo>
                  <a:lnTo>
                    <a:pt x="846" y="18"/>
                  </a:lnTo>
                  <a:lnTo>
                    <a:pt x="852" y="18"/>
                  </a:lnTo>
                  <a:lnTo>
                    <a:pt x="852" y="24"/>
                  </a:lnTo>
                  <a:lnTo>
                    <a:pt x="846" y="24"/>
                  </a:lnTo>
                  <a:lnTo>
                    <a:pt x="846" y="30"/>
                  </a:lnTo>
                  <a:lnTo>
                    <a:pt x="840" y="30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840" y="36"/>
                  </a:lnTo>
                  <a:lnTo>
                    <a:pt x="846" y="36"/>
                  </a:lnTo>
                  <a:lnTo>
                    <a:pt x="846" y="42"/>
                  </a:lnTo>
                  <a:lnTo>
                    <a:pt x="846" y="48"/>
                  </a:lnTo>
                  <a:lnTo>
                    <a:pt x="840" y="48"/>
                  </a:lnTo>
                  <a:lnTo>
                    <a:pt x="846" y="48"/>
                  </a:lnTo>
                  <a:lnTo>
                    <a:pt x="846" y="54"/>
                  </a:lnTo>
                  <a:lnTo>
                    <a:pt x="840" y="54"/>
                  </a:lnTo>
                  <a:lnTo>
                    <a:pt x="840" y="60"/>
                  </a:lnTo>
                  <a:lnTo>
                    <a:pt x="840" y="66"/>
                  </a:lnTo>
                  <a:lnTo>
                    <a:pt x="840" y="72"/>
                  </a:lnTo>
                  <a:lnTo>
                    <a:pt x="846" y="72"/>
                  </a:lnTo>
                  <a:lnTo>
                    <a:pt x="846" y="78"/>
                  </a:lnTo>
                  <a:lnTo>
                    <a:pt x="846" y="84"/>
                  </a:lnTo>
                  <a:lnTo>
                    <a:pt x="840" y="90"/>
                  </a:lnTo>
                  <a:lnTo>
                    <a:pt x="846" y="90"/>
                  </a:lnTo>
                  <a:lnTo>
                    <a:pt x="846" y="96"/>
                  </a:lnTo>
                  <a:lnTo>
                    <a:pt x="852" y="96"/>
                  </a:lnTo>
                  <a:lnTo>
                    <a:pt x="846" y="96"/>
                  </a:lnTo>
                  <a:lnTo>
                    <a:pt x="846" y="102"/>
                  </a:lnTo>
                  <a:lnTo>
                    <a:pt x="846" y="108"/>
                  </a:lnTo>
                  <a:lnTo>
                    <a:pt x="840" y="108"/>
                  </a:lnTo>
                  <a:lnTo>
                    <a:pt x="840" y="114"/>
                  </a:lnTo>
                  <a:lnTo>
                    <a:pt x="840" y="120"/>
                  </a:lnTo>
                  <a:lnTo>
                    <a:pt x="840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2"/>
                  </a:lnTo>
                  <a:lnTo>
                    <a:pt x="822" y="138"/>
                  </a:lnTo>
                  <a:lnTo>
                    <a:pt x="816" y="144"/>
                  </a:lnTo>
                  <a:lnTo>
                    <a:pt x="810" y="144"/>
                  </a:lnTo>
                  <a:lnTo>
                    <a:pt x="810" y="150"/>
                  </a:lnTo>
                  <a:lnTo>
                    <a:pt x="804" y="150"/>
                  </a:lnTo>
                  <a:lnTo>
                    <a:pt x="804" y="156"/>
                  </a:lnTo>
                  <a:lnTo>
                    <a:pt x="804" y="162"/>
                  </a:lnTo>
                  <a:lnTo>
                    <a:pt x="804" y="168"/>
                  </a:lnTo>
                  <a:lnTo>
                    <a:pt x="810" y="174"/>
                  </a:lnTo>
                  <a:lnTo>
                    <a:pt x="810" y="180"/>
                  </a:lnTo>
                  <a:lnTo>
                    <a:pt x="816" y="186"/>
                  </a:lnTo>
                  <a:lnTo>
                    <a:pt x="816" y="192"/>
                  </a:lnTo>
                  <a:lnTo>
                    <a:pt x="816" y="198"/>
                  </a:lnTo>
                  <a:lnTo>
                    <a:pt x="822" y="198"/>
                  </a:lnTo>
                  <a:lnTo>
                    <a:pt x="828" y="204"/>
                  </a:lnTo>
                  <a:lnTo>
                    <a:pt x="834" y="204"/>
                  </a:lnTo>
                  <a:lnTo>
                    <a:pt x="846" y="216"/>
                  </a:lnTo>
                  <a:lnTo>
                    <a:pt x="846" y="222"/>
                  </a:lnTo>
                  <a:lnTo>
                    <a:pt x="846" y="228"/>
                  </a:lnTo>
                  <a:lnTo>
                    <a:pt x="882" y="252"/>
                  </a:lnTo>
                  <a:lnTo>
                    <a:pt x="882" y="258"/>
                  </a:lnTo>
                  <a:lnTo>
                    <a:pt x="882" y="264"/>
                  </a:lnTo>
                  <a:lnTo>
                    <a:pt x="894" y="300"/>
                  </a:lnTo>
                  <a:lnTo>
                    <a:pt x="900" y="318"/>
                  </a:lnTo>
                  <a:lnTo>
                    <a:pt x="900" y="330"/>
                  </a:lnTo>
                  <a:lnTo>
                    <a:pt x="906" y="342"/>
                  </a:lnTo>
                  <a:lnTo>
                    <a:pt x="900" y="342"/>
                  </a:lnTo>
                  <a:lnTo>
                    <a:pt x="900" y="348"/>
                  </a:lnTo>
                  <a:lnTo>
                    <a:pt x="894" y="348"/>
                  </a:lnTo>
                  <a:lnTo>
                    <a:pt x="900" y="354"/>
                  </a:lnTo>
                  <a:lnTo>
                    <a:pt x="906" y="360"/>
                  </a:lnTo>
                  <a:lnTo>
                    <a:pt x="918" y="384"/>
                  </a:lnTo>
                  <a:lnTo>
                    <a:pt x="918" y="402"/>
                  </a:lnTo>
                  <a:lnTo>
                    <a:pt x="918" y="408"/>
                  </a:lnTo>
                  <a:lnTo>
                    <a:pt x="918" y="414"/>
                  </a:lnTo>
                  <a:lnTo>
                    <a:pt x="924" y="414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8" y="432"/>
                  </a:lnTo>
                  <a:lnTo>
                    <a:pt x="918" y="438"/>
                  </a:lnTo>
                  <a:lnTo>
                    <a:pt x="918" y="450"/>
                  </a:lnTo>
                  <a:lnTo>
                    <a:pt x="924" y="462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18" y="498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24" y="510"/>
                  </a:lnTo>
                  <a:lnTo>
                    <a:pt x="924" y="516"/>
                  </a:lnTo>
                  <a:lnTo>
                    <a:pt x="924" y="522"/>
                  </a:lnTo>
                  <a:lnTo>
                    <a:pt x="918" y="528"/>
                  </a:lnTo>
                  <a:lnTo>
                    <a:pt x="912" y="534"/>
                  </a:lnTo>
                  <a:lnTo>
                    <a:pt x="906" y="534"/>
                  </a:lnTo>
                  <a:lnTo>
                    <a:pt x="900" y="534"/>
                  </a:lnTo>
                  <a:lnTo>
                    <a:pt x="900" y="540"/>
                  </a:lnTo>
                  <a:lnTo>
                    <a:pt x="900" y="546"/>
                  </a:lnTo>
                  <a:lnTo>
                    <a:pt x="894" y="546"/>
                  </a:lnTo>
                  <a:lnTo>
                    <a:pt x="918" y="570"/>
                  </a:lnTo>
                  <a:lnTo>
                    <a:pt x="930" y="588"/>
                  </a:lnTo>
                  <a:lnTo>
                    <a:pt x="930" y="612"/>
                  </a:lnTo>
                  <a:lnTo>
                    <a:pt x="936" y="612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8" y="630"/>
                  </a:lnTo>
                  <a:lnTo>
                    <a:pt x="954" y="624"/>
                  </a:lnTo>
                  <a:lnTo>
                    <a:pt x="960" y="624"/>
                  </a:lnTo>
                  <a:lnTo>
                    <a:pt x="972" y="630"/>
                  </a:lnTo>
                  <a:lnTo>
                    <a:pt x="978" y="630"/>
                  </a:lnTo>
                  <a:lnTo>
                    <a:pt x="984" y="636"/>
                  </a:lnTo>
                  <a:lnTo>
                    <a:pt x="996" y="642"/>
                  </a:lnTo>
                  <a:lnTo>
                    <a:pt x="1002" y="642"/>
                  </a:lnTo>
                  <a:lnTo>
                    <a:pt x="1008" y="642"/>
                  </a:lnTo>
                  <a:lnTo>
                    <a:pt x="1014" y="654"/>
                  </a:lnTo>
                  <a:lnTo>
                    <a:pt x="1026" y="678"/>
                  </a:lnTo>
                  <a:lnTo>
                    <a:pt x="984" y="702"/>
                  </a:lnTo>
                  <a:lnTo>
                    <a:pt x="906" y="744"/>
                  </a:lnTo>
                  <a:lnTo>
                    <a:pt x="858" y="774"/>
                  </a:lnTo>
                  <a:lnTo>
                    <a:pt x="798" y="810"/>
                  </a:lnTo>
                  <a:lnTo>
                    <a:pt x="786" y="822"/>
                  </a:lnTo>
                  <a:lnTo>
                    <a:pt x="768" y="834"/>
                  </a:lnTo>
                  <a:lnTo>
                    <a:pt x="750" y="852"/>
                  </a:lnTo>
                  <a:lnTo>
                    <a:pt x="720" y="882"/>
                  </a:lnTo>
                  <a:lnTo>
                    <a:pt x="672" y="888"/>
                  </a:lnTo>
                  <a:lnTo>
                    <a:pt x="642" y="894"/>
                  </a:lnTo>
                  <a:lnTo>
                    <a:pt x="594" y="906"/>
                  </a:lnTo>
                  <a:lnTo>
                    <a:pt x="594" y="900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88" y="882"/>
                  </a:lnTo>
                  <a:lnTo>
                    <a:pt x="594" y="882"/>
                  </a:lnTo>
                  <a:lnTo>
                    <a:pt x="588" y="876"/>
                  </a:lnTo>
                  <a:lnTo>
                    <a:pt x="594" y="876"/>
                  </a:lnTo>
                  <a:lnTo>
                    <a:pt x="588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88" y="858"/>
                  </a:lnTo>
                  <a:lnTo>
                    <a:pt x="582" y="858"/>
                  </a:lnTo>
                  <a:lnTo>
                    <a:pt x="576" y="852"/>
                  </a:lnTo>
                  <a:lnTo>
                    <a:pt x="570" y="852"/>
                  </a:lnTo>
                  <a:lnTo>
                    <a:pt x="564" y="852"/>
                  </a:lnTo>
                  <a:lnTo>
                    <a:pt x="558" y="852"/>
                  </a:lnTo>
                  <a:lnTo>
                    <a:pt x="552" y="852"/>
                  </a:lnTo>
                  <a:lnTo>
                    <a:pt x="552" y="846"/>
                  </a:lnTo>
                  <a:lnTo>
                    <a:pt x="552" y="852"/>
                  </a:lnTo>
                  <a:lnTo>
                    <a:pt x="546" y="846"/>
                  </a:lnTo>
                  <a:lnTo>
                    <a:pt x="546" y="840"/>
                  </a:lnTo>
                  <a:lnTo>
                    <a:pt x="540" y="840"/>
                  </a:lnTo>
                  <a:lnTo>
                    <a:pt x="534" y="840"/>
                  </a:lnTo>
                  <a:lnTo>
                    <a:pt x="528" y="840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16" y="834"/>
                  </a:lnTo>
                  <a:lnTo>
                    <a:pt x="510" y="834"/>
                  </a:lnTo>
                  <a:lnTo>
                    <a:pt x="510" y="828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6" y="804"/>
                  </a:lnTo>
                  <a:lnTo>
                    <a:pt x="486" y="798"/>
                  </a:lnTo>
                  <a:lnTo>
                    <a:pt x="432" y="762"/>
                  </a:lnTo>
                  <a:lnTo>
                    <a:pt x="432" y="756"/>
                  </a:lnTo>
                  <a:lnTo>
                    <a:pt x="420" y="750"/>
                  </a:lnTo>
                  <a:lnTo>
                    <a:pt x="348" y="702"/>
                  </a:lnTo>
                  <a:lnTo>
                    <a:pt x="282" y="660"/>
                  </a:lnTo>
                  <a:lnTo>
                    <a:pt x="264" y="654"/>
                  </a:lnTo>
                  <a:lnTo>
                    <a:pt x="258" y="642"/>
                  </a:lnTo>
                  <a:lnTo>
                    <a:pt x="234" y="630"/>
                  </a:lnTo>
                  <a:lnTo>
                    <a:pt x="192" y="606"/>
                  </a:lnTo>
                  <a:lnTo>
                    <a:pt x="162" y="588"/>
                  </a:lnTo>
                  <a:lnTo>
                    <a:pt x="138" y="570"/>
                  </a:lnTo>
                  <a:lnTo>
                    <a:pt x="84" y="534"/>
                  </a:lnTo>
                  <a:lnTo>
                    <a:pt x="54" y="522"/>
                  </a:lnTo>
                  <a:lnTo>
                    <a:pt x="0" y="49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0" name="Freeform 90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3997" y="586"/>
              <a:ext cx="125" cy="228"/>
            </a:xfrm>
            <a:custGeom>
              <a:avLst/>
              <a:gdLst>
                <a:gd name="T0" fmla="*/ 9 w 204"/>
                <a:gd name="T1" fmla="*/ 3 h 354"/>
                <a:gd name="T2" fmla="*/ 12 w 204"/>
                <a:gd name="T3" fmla="*/ 1 h 354"/>
                <a:gd name="T4" fmla="*/ 15 w 204"/>
                <a:gd name="T5" fmla="*/ 0 h 354"/>
                <a:gd name="T6" fmla="*/ 16 w 204"/>
                <a:gd name="T7" fmla="*/ 1 h 354"/>
                <a:gd name="T8" fmla="*/ 16 w 204"/>
                <a:gd name="T9" fmla="*/ 1 h 354"/>
                <a:gd name="T10" fmla="*/ 19 w 204"/>
                <a:gd name="T11" fmla="*/ 2 h 354"/>
                <a:gd name="T12" fmla="*/ 20 w 204"/>
                <a:gd name="T13" fmla="*/ 4 h 354"/>
                <a:gd name="T14" fmla="*/ 21 w 204"/>
                <a:gd name="T15" fmla="*/ 5 h 354"/>
                <a:gd name="T16" fmla="*/ 24 w 204"/>
                <a:gd name="T17" fmla="*/ 3 h 354"/>
                <a:gd name="T18" fmla="*/ 25 w 204"/>
                <a:gd name="T19" fmla="*/ 4 h 354"/>
                <a:gd name="T20" fmla="*/ 24 w 204"/>
                <a:gd name="T21" fmla="*/ 7 h 354"/>
                <a:gd name="T22" fmla="*/ 21 w 204"/>
                <a:gd name="T23" fmla="*/ 8 h 354"/>
                <a:gd name="T24" fmla="*/ 20 w 204"/>
                <a:gd name="T25" fmla="*/ 12 h 354"/>
                <a:gd name="T26" fmla="*/ 23 w 204"/>
                <a:gd name="T27" fmla="*/ 14 h 354"/>
                <a:gd name="T28" fmla="*/ 25 w 204"/>
                <a:gd name="T29" fmla="*/ 15 h 354"/>
                <a:gd name="T30" fmla="*/ 25 w 204"/>
                <a:gd name="T31" fmla="*/ 19 h 354"/>
                <a:gd name="T32" fmla="*/ 24 w 204"/>
                <a:gd name="T33" fmla="*/ 21 h 354"/>
                <a:gd name="T34" fmla="*/ 21 w 204"/>
                <a:gd name="T35" fmla="*/ 24 h 354"/>
                <a:gd name="T36" fmla="*/ 20 w 204"/>
                <a:gd name="T37" fmla="*/ 25 h 354"/>
                <a:gd name="T38" fmla="*/ 18 w 204"/>
                <a:gd name="T39" fmla="*/ 26 h 354"/>
                <a:gd name="T40" fmla="*/ 19 w 204"/>
                <a:gd name="T41" fmla="*/ 30 h 354"/>
                <a:gd name="T42" fmla="*/ 20 w 204"/>
                <a:gd name="T43" fmla="*/ 31 h 354"/>
                <a:gd name="T44" fmla="*/ 22 w 204"/>
                <a:gd name="T45" fmla="*/ 31 h 354"/>
                <a:gd name="T46" fmla="*/ 23 w 204"/>
                <a:gd name="T47" fmla="*/ 32 h 354"/>
                <a:gd name="T48" fmla="*/ 24 w 204"/>
                <a:gd name="T49" fmla="*/ 33 h 354"/>
                <a:gd name="T50" fmla="*/ 25 w 204"/>
                <a:gd name="T51" fmla="*/ 34 h 354"/>
                <a:gd name="T52" fmla="*/ 25 w 204"/>
                <a:gd name="T53" fmla="*/ 36 h 354"/>
                <a:gd name="T54" fmla="*/ 26 w 204"/>
                <a:gd name="T55" fmla="*/ 35 h 354"/>
                <a:gd name="T56" fmla="*/ 28 w 204"/>
                <a:gd name="T57" fmla="*/ 37 h 354"/>
                <a:gd name="T58" fmla="*/ 28 w 204"/>
                <a:gd name="T59" fmla="*/ 41 h 354"/>
                <a:gd name="T60" fmla="*/ 27 w 204"/>
                <a:gd name="T61" fmla="*/ 43 h 354"/>
                <a:gd name="T62" fmla="*/ 24 w 204"/>
                <a:gd name="T63" fmla="*/ 45 h 354"/>
                <a:gd name="T64" fmla="*/ 22 w 204"/>
                <a:gd name="T65" fmla="*/ 48 h 354"/>
                <a:gd name="T66" fmla="*/ 20 w 204"/>
                <a:gd name="T67" fmla="*/ 48 h 354"/>
                <a:gd name="T68" fmla="*/ 19 w 204"/>
                <a:gd name="T69" fmla="*/ 53 h 354"/>
                <a:gd name="T70" fmla="*/ 19 w 204"/>
                <a:gd name="T71" fmla="*/ 57 h 354"/>
                <a:gd name="T72" fmla="*/ 17 w 204"/>
                <a:gd name="T73" fmla="*/ 59 h 354"/>
                <a:gd name="T74" fmla="*/ 15 w 204"/>
                <a:gd name="T75" fmla="*/ 61 h 354"/>
                <a:gd name="T76" fmla="*/ 11 w 204"/>
                <a:gd name="T77" fmla="*/ 48 h 354"/>
                <a:gd name="T78" fmla="*/ 6 w 204"/>
                <a:gd name="T79" fmla="*/ 40 h 354"/>
                <a:gd name="T80" fmla="*/ 2 w 204"/>
                <a:gd name="T81" fmla="*/ 36 h 354"/>
                <a:gd name="T82" fmla="*/ 1 w 204"/>
                <a:gd name="T83" fmla="*/ 33 h 354"/>
                <a:gd name="T84" fmla="*/ 0 w 204"/>
                <a:gd name="T85" fmla="*/ 29 h 354"/>
                <a:gd name="T86" fmla="*/ 1 w 204"/>
                <a:gd name="T87" fmla="*/ 26 h 354"/>
                <a:gd name="T88" fmla="*/ 4 w 204"/>
                <a:gd name="T89" fmla="*/ 24 h 354"/>
                <a:gd name="T90" fmla="*/ 5 w 204"/>
                <a:gd name="T91" fmla="*/ 21 h 354"/>
                <a:gd name="T92" fmla="*/ 7 w 204"/>
                <a:gd name="T93" fmla="*/ 19 h 354"/>
                <a:gd name="T94" fmla="*/ 6 w 204"/>
                <a:gd name="T95" fmla="*/ 17 h 354"/>
                <a:gd name="T96" fmla="*/ 5 w 204"/>
                <a:gd name="T97" fmla="*/ 14 h 354"/>
                <a:gd name="T98" fmla="*/ 6 w 204"/>
                <a:gd name="T99" fmla="*/ 10 h 354"/>
                <a:gd name="T100" fmla="*/ 6 w 204"/>
                <a:gd name="T101" fmla="*/ 8 h 354"/>
                <a:gd name="T102" fmla="*/ 5 w 204"/>
                <a:gd name="T103" fmla="*/ 7 h 354"/>
                <a:gd name="T104" fmla="*/ 7 w 204"/>
                <a:gd name="T105" fmla="*/ 5 h 354"/>
                <a:gd name="T106" fmla="*/ 7 w 204"/>
                <a:gd name="T107" fmla="*/ 4 h 3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354">
                  <a:moveTo>
                    <a:pt x="54" y="24"/>
                  </a:moveTo>
                  <a:lnTo>
                    <a:pt x="60" y="18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2" y="42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96"/>
                  </a:lnTo>
                  <a:lnTo>
                    <a:pt x="174" y="102"/>
                  </a:lnTo>
                  <a:lnTo>
                    <a:pt x="180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20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56" y="138"/>
                  </a:lnTo>
                  <a:lnTo>
                    <a:pt x="150" y="138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32" y="150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56" y="186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8" y="192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80" y="210"/>
                  </a:lnTo>
                  <a:lnTo>
                    <a:pt x="186" y="210"/>
                  </a:lnTo>
                  <a:lnTo>
                    <a:pt x="192" y="210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198" y="216"/>
                  </a:lnTo>
                  <a:lnTo>
                    <a:pt x="198" y="222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2" y="252"/>
                  </a:lnTo>
                  <a:lnTo>
                    <a:pt x="180" y="252"/>
                  </a:lnTo>
                  <a:lnTo>
                    <a:pt x="180" y="258"/>
                  </a:lnTo>
                  <a:lnTo>
                    <a:pt x="174" y="258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56" y="270"/>
                  </a:lnTo>
                  <a:lnTo>
                    <a:pt x="156" y="276"/>
                  </a:lnTo>
                  <a:lnTo>
                    <a:pt x="150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2" y="306"/>
                  </a:lnTo>
                  <a:lnTo>
                    <a:pt x="138" y="312"/>
                  </a:lnTo>
                  <a:lnTo>
                    <a:pt x="138" y="318"/>
                  </a:lnTo>
                  <a:lnTo>
                    <a:pt x="138" y="324"/>
                  </a:lnTo>
                  <a:lnTo>
                    <a:pt x="132" y="330"/>
                  </a:lnTo>
                  <a:lnTo>
                    <a:pt x="132" y="336"/>
                  </a:lnTo>
                  <a:lnTo>
                    <a:pt x="126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14" y="348"/>
                  </a:lnTo>
                  <a:lnTo>
                    <a:pt x="108" y="354"/>
                  </a:lnTo>
                  <a:lnTo>
                    <a:pt x="102" y="354"/>
                  </a:lnTo>
                  <a:lnTo>
                    <a:pt x="96" y="342"/>
                  </a:lnTo>
                  <a:lnTo>
                    <a:pt x="96" y="330"/>
                  </a:lnTo>
                  <a:lnTo>
                    <a:pt x="90" y="312"/>
                  </a:lnTo>
                  <a:lnTo>
                    <a:pt x="78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18" y="210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54" y="2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1" name="Freeform 91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4179" y="1036"/>
              <a:ext cx="325" cy="515"/>
            </a:xfrm>
            <a:custGeom>
              <a:avLst/>
              <a:gdLst>
                <a:gd name="T0" fmla="*/ 25 w 522"/>
                <a:gd name="T1" fmla="*/ 4 h 798"/>
                <a:gd name="T2" fmla="*/ 57 w 522"/>
                <a:gd name="T3" fmla="*/ 22 h 798"/>
                <a:gd name="T4" fmla="*/ 78 w 522"/>
                <a:gd name="T5" fmla="*/ 35 h 798"/>
                <a:gd name="T6" fmla="*/ 75 w 522"/>
                <a:gd name="T7" fmla="*/ 68 h 798"/>
                <a:gd name="T8" fmla="*/ 72 w 522"/>
                <a:gd name="T9" fmla="*/ 66 h 798"/>
                <a:gd name="T10" fmla="*/ 72 w 522"/>
                <a:gd name="T11" fmla="*/ 70 h 798"/>
                <a:gd name="T12" fmla="*/ 69 w 522"/>
                <a:gd name="T13" fmla="*/ 73 h 798"/>
                <a:gd name="T14" fmla="*/ 67 w 522"/>
                <a:gd name="T15" fmla="*/ 76 h 798"/>
                <a:gd name="T16" fmla="*/ 67 w 522"/>
                <a:gd name="T17" fmla="*/ 79 h 798"/>
                <a:gd name="T18" fmla="*/ 65 w 522"/>
                <a:gd name="T19" fmla="*/ 82 h 798"/>
                <a:gd name="T20" fmla="*/ 66 w 522"/>
                <a:gd name="T21" fmla="*/ 88 h 798"/>
                <a:gd name="T22" fmla="*/ 63 w 522"/>
                <a:gd name="T23" fmla="*/ 90 h 798"/>
                <a:gd name="T24" fmla="*/ 64 w 522"/>
                <a:gd name="T25" fmla="*/ 94 h 798"/>
                <a:gd name="T26" fmla="*/ 67 w 522"/>
                <a:gd name="T27" fmla="*/ 94 h 798"/>
                <a:gd name="T28" fmla="*/ 68 w 522"/>
                <a:gd name="T29" fmla="*/ 99 h 798"/>
                <a:gd name="T30" fmla="*/ 72 w 522"/>
                <a:gd name="T31" fmla="*/ 105 h 798"/>
                <a:gd name="T32" fmla="*/ 67 w 522"/>
                <a:gd name="T33" fmla="*/ 108 h 798"/>
                <a:gd name="T34" fmla="*/ 66 w 522"/>
                <a:gd name="T35" fmla="*/ 108 h 798"/>
                <a:gd name="T36" fmla="*/ 63 w 522"/>
                <a:gd name="T37" fmla="*/ 110 h 798"/>
                <a:gd name="T38" fmla="*/ 61 w 522"/>
                <a:gd name="T39" fmla="*/ 111 h 798"/>
                <a:gd name="T40" fmla="*/ 61 w 522"/>
                <a:gd name="T41" fmla="*/ 114 h 798"/>
                <a:gd name="T42" fmla="*/ 58 w 522"/>
                <a:gd name="T43" fmla="*/ 117 h 798"/>
                <a:gd name="T44" fmla="*/ 56 w 522"/>
                <a:gd name="T45" fmla="*/ 119 h 798"/>
                <a:gd name="T46" fmla="*/ 53 w 522"/>
                <a:gd name="T47" fmla="*/ 121 h 798"/>
                <a:gd name="T48" fmla="*/ 50 w 522"/>
                <a:gd name="T49" fmla="*/ 124 h 798"/>
                <a:gd name="T50" fmla="*/ 47 w 522"/>
                <a:gd name="T51" fmla="*/ 125 h 798"/>
                <a:gd name="T52" fmla="*/ 42 w 522"/>
                <a:gd name="T53" fmla="*/ 125 h 798"/>
                <a:gd name="T54" fmla="*/ 42 w 522"/>
                <a:gd name="T55" fmla="*/ 128 h 798"/>
                <a:gd name="T56" fmla="*/ 40 w 522"/>
                <a:gd name="T57" fmla="*/ 131 h 798"/>
                <a:gd name="T58" fmla="*/ 32 w 522"/>
                <a:gd name="T59" fmla="*/ 134 h 798"/>
                <a:gd name="T60" fmla="*/ 30 w 522"/>
                <a:gd name="T61" fmla="*/ 134 h 798"/>
                <a:gd name="T62" fmla="*/ 26 w 522"/>
                <a:gd name="T63" fmla="*/ 136 h 798"/>
                <a:gd name="T64" fmla="*/ 25 w 522"/>
                <a:gd name="T65" fmla="*/ 137 h 798"/>
                <a:gd name="T66" fmla="*/ 23 w 522"/>
                <a:gd name="T67" fmla="*/ 136 h 798"/>
                <a:gd name="T68" fmla="*/ 21 w 522"/>
                <a:gd name="T69" fmla="*/ 136 h 798"/>
                <a:gd name="T70" fmla="*/ 17 w 522"/>
                <a:gd name="T71" fmla="*/ 138 h 798"/>
                <a:gd name="T72" fmla="*/ 16 w 522"/>
                <a:gd name="T73" fmla="*/ 136 h 798"/>
                <a:gd name="T74" fmla="*/ 14 w 522"/>
                <a:gd name="T75" fmla="*/ 128 h 798"/>
                <a:gd name="T76" fmla="*/ 9 w 522"/>
                <a:gd name="T77" fmla="*/ 126 h 798"/>
                <a:gd name="T78" fmla="*/ 6 w 522"/>
                <a:gd name="T79" fmla="*/ 121 h 798"/>
                <a:gd name="T80" fmla="*/ 6 w 522"/>
                <a:gd name="T81" fmla="*/ 117 h 798"/>
                <a:gd name="T82" fmla="*/ 11 w 522"/>
                <a:gd name="T83" fmla="*/ 117 h 798"/>
                <a:gd name="T84" fmla="*/ 16 w 522"/>
                <a:gd name="T85" fmla="*/ 117 h 798"/>
                <a:gd name="T86" fmla="*/ 14 w 522"/>
                <a:gd name="T87" fmla="*/ 114 h 798"/>
                <a:gd name="T88" fmla="*/ 12 w 522"/>
                <a:gd name="T89" fmla="*/ 108 h 798"/>
                <a:gd name="T90" fmla="*/ 12 w 522"/>
                <a:gd name="T91" fmla="*/ 104 h 798"/>
                <a:gd name="T92" fmla="*/ 12 w 522"/>
                <a:gd name="T93" fmla="*/ 101 h 798"/>
                <a:gd name="T94" fmla="*/ 12 w 522"/>
                <a:gd name="T95" fmla="*/ 101 h 798"/>
                <a:gd name="T96" fmla="*/ 11 w 522"/>
                <a:gd name="T97" fmla="*/ 98 h 798"/>
                <a:gd name="T98" fmla="*/ 10 w 522"/>
                <a:gd name="T99" fmla="*/ 93 h 798"/>
                <a:gd name="T100" fmla="*/ 4 w 522"/>
                <a:gd name="T101" fmla="*/ 90 h 798"/>
                <a:gd name="T102" fmla="*/ 0 w 522"/>
                <a:gd name="T103" fmla="*/ 78 h 798"/>
                <a:gd name="T104" fmla="*/ 2 w 522"/>
                <a:gd name="T105" fmla="*/ 74 h 798"/>
                <a:gd name="T106" fmla="*/ 9 w 522"/>
                <a:gd name="T107" fmla="*/ 65 h 798"/>
                <a:gd name="T108" fmla="*/ 16 w 522"/>
                <a:gd name="T109" fmla="*/ 37 h 798"/>
                <a:gd name="T110" fmla="*/ 19 w 522"/>
                <a:gd name="T111" fmla="*/ 27 h 798"/>
                <a:gd name="T112" fmla="*/ 16 w 522"/>
                <a:gd name="T113" fmla="*/ 22 h 798"/>
                <a:gd name="T114" fmla="*/ 12 w 522"/>
                <a:gd name="T115" fmla="*/ 10 h 79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22" h="798">
                  <a:moveTo>
                    <a:pt x="78" y="24"/>
                  </a:moveTo>
                  <a:lnTo>
                    <a:pt x="108" y="12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0"/>
                  </a:lnTo>
                  <a:lnTo>
                    <a:pt x="168" y="24"/>
                  </a:lnTo>
                  <a:lnTo>
                    <a:pt x="228" y="54"/>
                  </a:lnTo>
                  <a:lnTo>
                    <a:pt x="240" y="54"/>
                  </a:lnTo>
                  <a:lnTo>
                    <a:pt x="264" y="66"/>
                  </a:lnTo>
                  <a:lnTo>
                    <a:pt x="342" y="108"/>
                  </a:lnTo>
                  <a:lnTo>
                    <a:pt x="360" y="114"/>
                  </a:lnTo>
                  <a:lnTo>
                    <a:pt x="378" y="126"/>
                  </a:lnTo>
                  <a:lnTo>
                    <a:pt x="396" y="132"/>
                  </a:lnTo>
                  <a:lnTo>
                    <a:pt x="402" y="132"/>
                  </a:lnTo>
                  <a:lnTo>
                    <a:pt x="414" y="144"/>
                  </a:lnTo>
                  <a:lnTo>
                    <a:pt x="450" y="162"/>
                  </a:lnTo>
                  <a:lnTo>
                    <a:pt x="486" y="180"/>
                  </a:lnTo>
                  <a:lnTo>
                    <a:pt x="522" y="198"/>
                  </a:lnTo>
                  <a:lnTo>
                    <a:pt x="522" y="390"/>
                  </a:lnTo>
                  <a:lnTo>
                    <a:pt x="516" y="384"/>
                  </a:lnTo>
                  <a:lnTo>
                    <a:pt x="510" y="384"/>
                  </a:lnTo>
                  <a:lnTo>
                    <a:pt x="504" y="384"/>
                  </a:lnTo>
                  <a:lnTo>
                    <a:pt x="498" y="384"/>
                  </a:lnTo>
                  <a:lnTo>
                    <a:pt x="498" y="390"/>
                  </a:lnTo>
                  <a:lnTo>
                    <a:pt x="492" y="390"/>
                  </a:lnTo>
                  <a:lnTo>
                    <a:pt x="486" y="390"/>
                  </a:lnTo>
                  <a:lnTo>
                    <a:pt x="486" y="384"/>
                  </a:lnTo>
                  <a:lnTo>
                    <a:pt x="486" y="390"/>
                  </a:lnTo>
                  <a:lnTo>
                    <a:pt x="480" y="390"/>
                  </a:lnTo>
                  <a:lnTo>
                    <a:pt x="480" y="384"/>
                  </a:lnTo>
                  <a:lnTo>
                    <a:pt x="480" y="390"/>
                  </a:lnTo>
                  <a:lnTo>
                    <a:pt x="474" y="390"/>
                  </a:lnTo>
                  <a:lnTo>
                    <a:pt x="474" y="396"/>
                  </a:lnTo>
                  <a:lnTo>
                    <a:pt x="468" y="396"/>
                  </a:lnTo>
                  <a:lnTo>
                    <a:pt x="468" y="402"/>
                  </a:lnTo>
                  <a:lnTo>
                    <a:pt x="474" y="402"/>
                  </a:lnTo>
                  <a:lnTo>
                    <a:pt x="474" y="408"/>
                  </a:lnTo>
                  <a:lnTo>
                    <a:pt x="474" y="414"/>
                  </a:lnTo>
                  <a:lnTo>
                    <a:pt x="468" y="414"/>
                  </a:lnTo>
                  <a:lnTo>
                    <a:pt x="474" y="414"/>
                  </a:lnTo>
                  <a:lnTo>
                    <a:pt x="468" y="420"/>
                  </a:lnTo>
                  <a:lnTo>
                    <a:pt x="462" y="420"/>
                  </a:lnTo>
                  <a:lnTo>
                    <a:pt x="462" y="426"/>
                  </a:lnTo>
                  <a:lnTo>
                    <a:pt x="456" y="426"/>
                  </a:lnTo>
                  <a:lnTo>
                    <a:pt x="456" y="432"/>
                  </a:lnTo>
                  <a:lnTo>
                    <a:pt x="462" y="438"/>
                  </a:lnTo>
                  <a:lnTo>
                    <a:pt x="456" y="438"/>
                  </a:lnTo>
                  <a:lnTo>
                    <a:pt x="450" y="438"/>
                  </a:lnTo>
                  <a:lnTo>
                    <a:pt x="450" y="444"/>
                  </a:lnTo>
                  <a:lnTo>
                    <a:pt x="444" y="444"/>
                  </a:lnTo>
                  <a:lnTo>
                    <a:pt x="444" y="450"/>
                  </a:lnTo>
                  <a:lnTo>
                    <a:pt x="444" y="456"/>
                  </a:lnTo>
                  <a:lnTo>
                    <a:pt x="450" y="456"/>
                  </a:lnTo>
                  <a:lnTo>
                    <a:pt x="444" y="456"/>
                  </a:lnTo>
                  <a:lnTo>
                    <a:pt x="450" y="462"/>
                  </a:lnTo>
                  <a:lnTo>
                    <a:pt x="456" y="462"/>
                  </a:lnTo>
                  <a:lnTo>
                    <a:pt x="450" y="468"/>
                  </a:lnTo>
                  <a:lnTo>
                    <a:pt x="444" y="468"/>
                  </a:lnTo>
                  <a:lnTo>
                    <a:pt x="438" y="474"/>
                  </a:lnTo>
                  <a:lnTo>
                    <a:pt x="432" y="474"/>
                  </a:lnTo>
                  <a:lnTo>
                    <a:pt x="432" y="480"/>
                  </a:lnTo>
                  <a:lnTo>
                    <a:pt x="432" y="486"/>
                  </a:lnTo>
                  <a:lnTo>
                    <a:pt x="432" y="492"/>
                  </a:lnTo>
                  <a:lnTo>
                    <a:pt x="438" y="492"/>
                  </a:lnTo>
                  <a:lnTo>
                    <a:pt x="438" y="498"/>
                  </a:lnTo>
                  <a:lnTo>
                    <a:pt x="438" y="504"/>
                  </a:lnTo>
                  <a:lnTo>
                    <a:pt x="438" y="510"/>
                  </a:lnTo>
                  <a:lnTo>
                    <a:pt x="432" y="510"/>
                  </a:lnTo>
                  <a:lnTo>
                    <a:pt x="432" y="516"/>
                  </a:lnTo>
                  <a:lnTo>
                    <a:pt x="426" y="516"/>
                  </a:lnTo>
                  <a:lnTo>
                    <a:pt x="420" y="51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14" y="528"/>
                  </a:lnTo>
                  <a:lnTo>
                    <a:pt x="414" y="534"/>
                  </a:lnTo>
                  <a:lnTo>
                    <a:pt x="420" y="534"/>
                  </a:lnTo>
                  <a:lnTo>
                    <a:pt x="420" y="540"/>
                  </a:lnTo>
                  <a:lnTo>
                    <a:pt x="426" y="540"/>
                  </a:lnTo>
                  <a:lnTo>
                    <a:pt x="432" y="540"/>
                  </a:lnTo>
                  <a:lnTo>
                    <a:pt x="432" y="534"/>
                  </a:lnTo>
                  <a:lnTo>
                    <a:pt x="438" y="534"/>
                  </a:lnTo>
                  <a:lnTo>
                    <a:pt x="444" y="540"/>
                  </a:lnTo>
                  <a:lnTo>
                    <a:pt x="450" y="540"/>
                  </a:lnTo>
                  <a:lnTo>
                    <a:pt x="444" y="546"/>
                  </a:lnTo>
                  <a:lnTo>
                    <a:pt x="444" y="552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50" y="570"/>
                  </a:lnTo>
                  <a:lnTo>
                    <a:pt x="456" y="570"/>
                  </a:lnTo>
                  <a:lnTo>
                    <a:pt x="450" y="588"/>
                  </a:lnTo>
                  <a:lnTo>
                    <a:pt x="456" y="594"/>
                  </a:lnTo>
                  <a:lnTo>
                    <a:pt x="462" y="600"/>
                  </a:lnTo>
                  <a:lnTo>
                    <a:pt x="468" y="600"/>
                  </a:lnTo>
                  <a:lnTo>
                    <a:pt x="474" y="600"/>
                  </a:lnTo>
                  <a:lnTo>
                    <a:pt x="474" y="606"/>
                  </a:lnTo>
                  <a:lnTo>
                    <a:pt x="474" y="612"/>
                  </a:lnTo>
                  <a:lnTo>
                    <a:pt x="474" y="618"/>
                  </a:lnTo>
                  <a:lnTo>
                    <a:pt x="468" y="624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44" y="624"/>
                  </a:lnTo>
                  <a:lnTo>
                    <a:pt x="438" y="624"/>
                  </a:lnTo>
                  <a:lnTo>
                    <a:pt x="432" y="624"/>
                  </a:lnTo>
                  <a:lnTo>
                    <a:pt x="432" y="630"/>
                  </a:lnTo>
                  <a:lnTo>
                    <a:pt x="432" y="624"/>
                  </a:lnTo>
                  <a:lnTo>
                    <a:pt x="426" y="624"/>
                  </a:lnTo>
                  <a:lnTo>
                    <a:pt x="426" y="630"/>
                  </a:lnTo>
                  <a:lnTo>
                    <a:pt x="420" y="630"/>
                  </a:lnTo>
                  <a:lnTo>
                    <a:pt x="414" y="630"/>
                  </a:lnTo>
                  <a:lnTo>
                    <a:pt x="414" y="636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08" y="648"/>
                  </a:lnTo>
                  <a:lnTo>
                    <a:pt x="414" y="648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08" y="660"/>
                  </a:lnTo>
                  <a:lnTo>
                    <a:pt x="402" y="660"/>
                  </a:lnTo>
                  <a:lnTo>
                    <a:pt x="396" y="666"/>
                  </a:lnTo>
                  <a:lnTo>
                    <a:pt x="396" y="672"/>
                  </a:lnTo>
                  <a:lnTo>
                    <a:pt x="390" y="672"/>
                  </a:lnTo>
                  <a:lnTo>
                    <a:pt x="384" y="672"/>
                  </a:lnTo>
                  <a:lnTo>
                    <a:pt x="384" y="678"/>
                  </a:lnTo>
                  <a:lnTo>
                    <a:pt x="378" y="678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2" y="690"/>
                  </a:lnTo>
                  <a:lnTo>
                    <a:pt x="372" y="696"/>
                  </a:lnTo>
                  <a:lnTo>
                    <a:pt x="366" y="696"/>
                  </a:lnTo>
                  <a:lnTo>
                    <a:pt x="366" y="702"/>
                  </a:lnTo>
                  <a:lnTo>
                    <a:pt x="360" y="702"/>
                  </a:lnTo>
                  <a:lnTo>
                    <a:pt x="354" y="702"/>
                  </a:lnTo>
                  <a:lnTo>
                    <a:pt x="348" y="708"/>
                  </a:lnTo>
                  <a:lnTo>
                    <a:pt x="348" y="702"/>
                  </a:lnTo>
                  <a:lnTo>
                    <a:pt x="348" y="708"/>
                  </a:lnTo>
                  <a:lnTo>
                    <a:pt x="348" y="714"/>
                  </a:lnTo>
                  <a:lnTo>
                    <a:pt x="342" y="714"/>
                  </a:lnTo>
                  <a:lnTo>
                    <a:pt x="336" y="714"/>
                  </a:lnTo>
                  <a:lnTo>
                    <a:pt x="330" y="714"/>
                  </a:lnTo>
                  <a:lnTo>
                    <a:pt x="324" y="714"/>
                  </a:lnTo>
                  <a:lnTo>
                    <a:pt x="324" y="720"/>
                  </a:lnTo>
                  <a:lnTo>
                    <a:pt x="318" y="714"/>
                  </a:lnTo>
                  <a:lnTo>
                    <a:pt x="318" y="720"/>
                  </a:lnTo>
                  <a:lnTo>
                    <a:pt x="312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294" y="720"/>
                  </a:lnTo>
                  <a:lnTo>
                    <a:pt x="288" y="720"/>
                  </a:lnTo>
                  <a:lnTo>
                    <a:pt x="282" y="720"/>
                  </a:lnTo>
                  <a:lnTo>
                    <a:pt x="276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2" y="738"/>
                  </a:lnTo>
                  <a:lnTo>
                    <a:pt x="276" y="738"/>
                  </a:lnTo>
                  <a:lnTo>
                    <a:pt x="276" y="744"/>
                  </a:lnTo>
                  <a:lnTo>
                    <a:pt x="276" y="750"/>
                  </a:lnTo>
                  <a:lnTo>
                    <a:pt x="270" y="750"/>
                  </a:lnTo>
                  <a:lnTo>
                    <a:pt x="270" y="756"/>
                  </a:lnTo>
                  <a:lnTo>
                    <a:pt x="264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40" y="768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04" y="774"/>
                  </a:lnTo>
                  <a:lnTo>
                    <a:pt x="198" y="774"/>
                  </a:lnTo>
                  <a:lnTo>
                    <a:pt x="198" y="780"/>
                  </a:lnTo>
                  <a:lnTo>
                    <a:pt x="192" y="780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62" y="792"/>
                  </a:lnTo>
                  <a:lnTo>
                    <a:pt x="162" y="786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6" y="774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50" y="780"/>
                  </a:lnTo>
                  <a:lnTo>
                    <a:pt x="150" y="786"/>
                  </a:lnTo>
                  <a:lnTo>
                    <a:pt x="144" y="786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32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14" y="798"/>
                  </a:lnTo>
                  <a:lnTo>
                    <a:pt x="114" y="792"/>
                  </a:lnTo>
                  <a:lnTo>
                    <a:pt x="102" y="792"/>
                  </a:lnTo>
                  <a:lnTo>
                    <a:pt x="108" y="792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102" y="774"/>
                  </a:lnTo>
                  <a:lnTo>
                    <a:pt x="96" y="768"/>
                  </a:lnTo>
                  <a:lnTo>
                    <a:pt x="90" y="756"/>
                  </a:lnTo>
                  <a:lnTo>
                    <a:pt x="90" y="750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38"/>
                  </a:lnTo>
                  <a:lnTo>
                    <a:pt x="78" y="738"/>
                  </a:lnTo>
                  <a:lnTo>
                    <a:pt x="78" y="732"/>
                  </a:lnTo>
                  <a:lnTo>
                    <a:pt x="72" y="732"/>
                  </a:lnTo>
                  <a:lnTo>
                    <a:pt x="66" y="732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54" y="720"/>
                  </a:lnTo>
                  <a:lnTo>
                    <a:pt x="54" y="714"/>
                  </a:lnTo>
                  <a:lnTo>
                    <a:pt x="48" y="714"/>
                  </a:lnTo>
                  <a:lnTo>
                    <a:pt x="48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0" y="690"/>
                  </a:lnTo>
                  <a:lnTo>
                    <a:pt x="30" y="684"/>
                  </a:lnTo>
                  <a:lnTo>
                    <a:pt x="30" y="678"/>
                  </a:lnTo>
                  <a:lnTo>
                    <a:pt x="36" y="678"/>
                  </a:lnTo>
                  <a:lnTo>
                    <a:pt x="36" y="672"/>
                  </a:lnTo>
                  <a:lnTo>
                    <a:pt x="42" y="672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72"/>
                  </a:lnTo>
                  <a:lnTo>
                    <a:pt x="72" y="672"/>
                  </a:lnTo>
                  <a:lnTo>
                    <a:pt x="78" y="672"/>
                  </a:lnTo>
                  <a:lnTo>
                    <a:pt x="84" y="672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102" y="672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78" y="630"/>
                  </a:lnTo>
                  <a:lnTo>
                    <a:pt x="84" y="630"/>
                  </a:lnTo>
                  <a:lnTo>
                    <a:pt x="84" y="624"/>
                  </a:lnTo>
                  <a:lnTo>
                    <a:pt x="78" y="624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84" y="576"/>
                  </a:lnTo>
                  <a:lnTo>
                    <a:pt x="78" y="576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78" y="570"/>
                  </a:lnTo>
                  <a:lnTo>
                    <a:pt x="84" y="570"/>
                  </a:lnTo>
                  <a:lnTo>
                    <a:pt x="78" y="570"/>
                  </a:lnTo>
                  <a:lnTo>
                    <a:pt x="78" y="564"/>
                  </a:lnTo>
                  <a:lnTo>
                    <a:pt x="72" y="564"/>
                  </a:lnTo>
                  <a:lnTo>
                    <a:pt x="72" y="558"/>
                  </a:lnTo>
                  <a:lnTo>
                    <a:pt x="72" y="552"/>
                  </a:lnTo>
                  <a:lnTo>
                    <a:pt x="72" y="546"/>
                  </a:lnTo>
                  <a:lnTo>
                    <a:pt x="66" y="540"/>
                  </a:lnTo>
                  <a:lnTo>
                    <a:pt x="60" y="540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54" y="528"/>
                  </a:lnTo>
                  <a:lnTo>
                    <a:pt x="54" y="522"/>
                  </a:lnTo>
                  <a:lnTo>
                    <a:pt x="48" y="516"/>
                  </a:lnTo>
                  <a:lnTo>
                    <a:pt x="30" y="516"/>
                  </a:lnTo>
                  <a:lnTo>
                    <a:pt x="24" y="504"/>
                  </a:lnTo>
                  <a:lnTo>
                    <a:pt x="12" y="492"/>
                  </a:lnTo>
                  <a:lnTo>
                    <a:pt x="12" y="486"/>
                  </a:lnTo>
                  <a:lnTo>
                    <a:pt x="6" y="486"/>
                  </a:lnTo>
                  <a:lnTo>
                    <a:pt x="0" y="456"/>
                  </a:lnTo>
                  <a:lnTo>
                    <a:pt x="0" y="450"/>
                  </a:lnTo>
                  <a:lnTo>
                    <a:pt x="6" y="444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8" y="420"/>
                  </a:lnTo>
                  <a:lnTo>
                    <a:pt x="24" y="414"/>
                  </a:lnTo>
                  <a:lnTo>
                    <a:pt x="36" y="396"/>
                  </a:lnTo>
                  <a:lnTo>
                    <a:pt x="42" y="390"/>
                  </a:lnTo>
                  <a:lnTo>
                    <a:pt x="48" y="384"/>
                  </a:lnTo>
                  <a:lnTo>
                    <a:pt x="60" y="372"/>
                  </a:lnTo>
                  <a:lnTo>
                    <a:pt x="66" y="366"/>
                  </a:lnTo>
                  <a:lnTo>
                    <a:pt x="72" y="354"/>
                  </a:lnTo>
                  <a:lnTo>
                    <a:pt x="102" y="330"/>
                  </a:lnTo>
                  <a:lnTo>
                    <a:pt x="108" y="234"/>
                  </a:lnTo>
                  <a:lnTo>
                    <a:pt x="108" y="222"/>
                  </a:lnTo>
                  <a:lnTo>
                    <a:pt x="108" y="216"/>
                  </a:lnTo>
                  <a:lnTo>
                    <a:pt x="108" y="210"/>
                  </a:lnTo>
                  <a:lnTo>
                    <a:pt x="114" y="198"/>
                  </a:lnTo>
                  <a:lnTo>
                    <a:pt x="114" y="192"/>
                  </a:lnTo>
                  <a:lnTo>
                    <a:pt x="114" y="186"/>
                  </a:lnTo>
                  <a:lnTo>
                    <a:pt x="114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96"/>
                  </a:lnTo>
                  <a:lnTo>
                    <a:pt x="84" y="72"/>
                  </a:lnTo>
                  <a:lnTo>
                    <a:pt x="84" y="54"/>
                  </a:lnTo>
                  <a:lnTo>
                    <a:pt x="78" y="24"/>
                  </a:lnTo>
                  <a:close/>
                </a:path>
              </a:pathLst>
            </a:custGeom>
            <a:solidFill>
              <a:srgbClr val="87CF27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2" name="Freeform 92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4025" y="1369"/>
              <a:ext cx="240" cy="370"/>
            </a:xfrm>
            <a:custGeom>
              <a:avLst/>
              <a:gdLst>
                <a:gd name="T0" fmla="*/ 3 w 384"/>
                <a:gd name="T1" fmla="*/ 70 h 570"/>
                <a:gd name="T2" fmla="*/ 4 w 384"/>
                <a:gd name="T3" fmla="*/ 64 h 570"/>
                <a:gd name="T4" fmla="*/ 8 w 384"/>
                <a:gd name="T5" fmla="*/ 60 h 570"/>
                <a:gd name="T6" fmla="*/ 9 w 384"/>
                <a:gd name="T7" fmla="*/ 58 h 570"/>
                <a:gd name="T8" fmla="*/ 11 w 384"/>
                <a:gd name="T9" fmla="*/ 55 h 570"/>
                <a:gd name="T10" fmla="*/ 16 w 384"/>
                <a:gd name="T11" fmla="*/ 53 h 570"/>
                <a:gd name="T12" fmla="*/ 18 w 384"/>
                <a:gd name="T13" fmla="*/ 56 h 570"/>
                <a:gd name="T14" fmla="*/ 21 w 384"/>
                <a:gd name="T15" fmla="*/ 57 h 570"/>
                <a:gd name="T16" fmla="*/ 23 w 384"/>
                <a:gd name="T17" fmla="*/ 56 h 570"/>
                <a:gd name="T18" fmla="*/ 26 w 384"/>
                <a:gd name="T19" fmla="*/ 53 h 570"/>
                <a:gd name="T20" fmla="*/ 27 w 384"/>
                <a:gd name="T21" fmla="*/ 48 h 570"/>
                <a:gd name="T22" fmla="*/ 29 w 384"/>
                <a:gd name="T23" fmla="*/ 43 h 570"/>
                <a:gd name="T24" fmla="*/ 32 w 384"/>
                <a:gd name="T25" fmla="*/ 38 h 570"/>
                <a:gd name="T26" fmla="*/ 33 w 384"/>
                <a:gd name="T27" fmla="*/ 33 h 570"/>
                <a:gd name="T28" fmla="*/ 37 w 384"/>
                <a:gd name="T29" fmla="*/ 30 h 570"/>
                <a:gd name="T30" fmla="*/ 38 w 384"/>
                <a:gd name="T31" fmla="*/ 27 h 570"/>
                <a:gd name="T32" fmla="*/ 39 w 384"/>
                <a:gd name="T33" fmla="*/ 20 h 570"/>
                <a:gd name="T34" fmla="*/ 43 w 384"/>
                <a:gd name="T35" fmla="*/ 16 h 570"/>
                <a:gd name="T36" fmla="*/ 46 w 384"/>
                <a:gd name="T37" fmla="*/ 14 h 570"/>
                <a:gd name="T38" fmla="*/ 46 w 384"/>
                <a:gd name="T39" fmla="*/ 8 h 570"/>
                <a:gd name="T40" fmla="*/ 43 w 384"/>
                <a:gd name="T41" fmla="*/ 0 h 570"/>
                <a:gd name="T42" fmla="*/ 46 w 384"/>
                <a:gd name="T43" fmla="*/ 4 h 570"/>
                <a:gd name="T44" fmla="*/ 49 w 384"/>
                <a:gd name="T45" fmla="*/ 10 h 570"/>
                <a:gd name="T46" fmla="*/ 51 w 384"/>
                <a:gd name="T47" fmla="*/ 12 h 570"/>
                <a:gd name="T48" fmla="*/ 51 w 384"/>
                <a:gd name="T49" fmla="*/ 13 h 570"/>
                <a:gd name="T50" fmla="*/ 49 w 384"/>
                <a:gd name="T51" fmla="*/ 19 h 570"/>
                <a:gd name="T52" fmla="*/ 51 w 384"/>
                <a:gd name="T53" fmla="*/ 25 h 570"/>
                <a:gd name="T54" fmla="*/ 53 w 384"/>
                <a:gd name="T55" fmla="*/ 28 h 570"/>
                <a:gd name="T56" fmla="*/ 46 w 384"/>
                <a:gd name="T57" fmla="*/ 28 h 570"/>
                <a:gd name="T58" fmla="*/ 43 w 384"/>
                <a:gd name="T59" fmla="*/ 30 h 570"/>
                <a:gd name="T60" fmla="*/ 46 w 384"/>
                <a:gd name="T61" fmla="*/ 36 h 570"/>
                <a:gd name="T62" fmla="*/ 51 w 384"/>
                <a:gd name="T63" fmla="*/ 39 h 570"/>
                <a:gd name="T64" fmla="*/ 53 w 384"/>
                <a:gd name="T65" fmla="*/ 47 h 570"/>
                <a:gd name="T66" fmla="*/ 53 w 384"/>
                <a:gd name="T67" fmla="*/ 51 h 570"/>
                <a:gd name="T68" fmla="*/ 49 w 384"/>
                <a:gd name="T69" fmla="*/ 56 h 570"/>
                <a:gd name="T70" fmla="*/ 46 w 384"/>
                <a:gd name="T71" fmla="*/ 62 h 570"/>
                <a:gd name="T72" fmla="*/ 46 w 384"/>
                <a:gd name="T73" fmla="*/ 66 h 570"/>
                <a:gd name="T74" fmla="*/ 46 w 384"/>
                <a:gd name="T75" fmla="*/ 69 h 570"/>
                <a:gd name="T76" fmla="*/ 48 w 384"/>
                <a:gd name="T77" fmla="*/ 76 h 570"/>
                <a:gd name="T78" fmla="*/ 51 w 384"/>
                <a:gd name="T79" fmla="*/ 80 h 570"/>
                <a:gd name="T80" fmla="*/ 55 w 384"/>
                <a:gd name="T81" fmla="*/ 88 h 570"/>
                <a:gd name="T82" fmla="*/ 58 w 384"/>
                <a:gd name="T83" fmla="*/ 93 h 570"/>
                <a:gd name="T84" fmla="*/ 58 w 384"/>
                <a:gd name="T85" fmla="*/ 96 h 570"/>
                <a:gd name="T86" fmla="*/ 57 w 384"/>
                <a:gd name="T87" fmla="*/ 100 h 570"/>
                <a:gd name="T88" fmla="*/ 53 w 384"/>
                <a:gd name="T89" fmla="*/ 98 h 570"/>
                <a:gd name="T90" fmla="*/ 49 w 384"/>
                <a:gd name="T91" fmla="*/ 98 h 570"/>
                <a:gd name="T92" fmla="*/ 46 w 384"/>
                <a:gd name="T93" fmla="*/ 96 h 570"/>
                <a:gd name="T94" fmla="*/ 36 w 384"/>
                <a:gd name="T95" fmla="*/ 96 h 570"/>
                <a:gd name="T96" fmla="*/ 29 w 384"/>
                <a:gd name="T97" fmla="*/ 96 h 570"/>
                <a:gd name="T98" fmla="*/ 24 w 384"/>
                <a:gd name="T99" fmla="*/ 95 h 570"/>
                <a:gd name="T100" fmla="*/ 22 w 384"/>
                <a:gd name="T101" fmla="*/ 95 h 570"/>
                <a:gd name="T102" fmla="*/ 21 w 384"/>
                <a:gd name="T103" fmla="*/ 97 h 570"/>
                <a:gd name="T104" fmla="*/ 10 w 384"/>
                <a:gd name="T105" fmla="*/ 96 h 570"/>
                <a:gd name="T106" fmla="*/ 11 w 384"/>
                <a:gd name="T107" fmla="*/ 91 h 570"/>
                <a:gd name="T108" fmla="*/ 9 w 384"/>
                <a:gd name="T109" fmla="*/ 86 h 570"/>
                <a:gd name="T110" fmla="*/ 9 w 384"/>
                <a:gd name="T111" fmla="*/ 82 h 570"/>
                <a:gd name="T112" fmla="*/ 8 w 384"/>
                <a:gd name="T113" fmla="*/ 80 h 570"/>
                <a:gd name="T114" fmla="*/ 6 w 384"/>
                <a:gd name="T115" fmla="*/ 80 h 570"/>
                <a:gd name="T116" fmla="*/ 3 w 384"/>
                <a:gd name="T117" fmla="*/ 76 h 570"/>
                <a:gd name="T118" fmla="*/ 2 w 384"/>
                <a:gd name="T119" fmla="*/ 76 h 5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84" h="570">
                  <a:moveTo>
                    <a:pt x="0" y="414"/>
                  </a:move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12" y="402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18" y="390"/>
                  </a:lnTo>
                  <a:lnTo>
                    <a:pt x="18" y="384"/>
                  </a:lnTo>
                  <a:lnTo>
                    <a:pt x="18" y="378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66" y="318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72" y="312"/>
                  </a:lnTo>
                  <a:lnTo>
                    <a:pt x="72" y="306"/>
                  </a:lnTo>
                  <a:lnTo>
                    <a:pt x="78" y="306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84" y="312"/>
                  </a:lnTo>
                  <a:lnTo>
                    <a:pt x="96" y="306"/>
                  </a:lnTo>
                  <a:lnTo>
                    <a:pt x="102" y="306"/>
                  </a:lnTo>
                  <a:lnTo>
                    <a:pt x="102" y="300"/>
                  </a:lnTo>
                  <a:lnTo>
                    <a:pt x="102" y="294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6" y="318"/>
                  </a:lnTo>
                  <a:lnTo>
                    <a:pt x="132" y="318"/>
                  </a:lnTo>
                  <a:lnTo>
                    <a:pt x="132" y="324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0" y="312"/>
                  </a:lnTo>
                  <a:lnTo>
                    <a:pt x="156" y="312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56" y="306"/>
                  </a:lnTo>
                  <a:lnTo>
                    <a:pt x="156" y="300"/>
                  </a:lnTo>
                  <a:lnTo>
                    <a:pt x="162" y="300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62" y="288"/>
                  </a:lnTo>
                  <a:lnTo>
                    <a:pt x="168" y="288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74" y="264"/>
                  </a:lnTo>
                  <a:lnTo>
                    <a:pt x="180" y="264"/>
                  </a:lnTo>
                  <a:lnTo>
                    <a:pt x="180" y="258"/>
                  </a:lnTo>
                  <a:lnTo>
                    <a:pt x="186" y="258"/>
                  </a:lnTo>
                  <a:lnTo>
                    <a:pt x="186" y="252"/>
                  </a:lnTo>
                  <a:lnTo>
                    <a:pt x="186" y="246"/>
                  </a:lnTo>
                  <a:lnTo>
                    <a:pt x="186" y="240"/>
                  </a:lnTo>
                  <a:lnTo>
                    <a:pt x="186" y="234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22"/>
                  </a:lnTo>
                  <a:lnTo>
                    <a:pt x="204" y="222"/>
                  </a:lnTo>
                  <a:lnTo>
                    <a:pt x="210" y="222"/>
                  </a:lnTo>
                  <a:lnTo>
                    <a:pt x="210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6" y="210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22" y="186"/>
                  </a:lnTo>
                  <a:lnTo>
                    <a:pt x="222" y="180"/>
                  </a:lnTo>
                  <a:lnTo>
                    <a:pt x="228" y="180"/>
                  </a:lnTo>
                  <a:lnTo>
                    <a:pt x="234" y="180"/>
                  </a:lnTo>
                  <a:lnTo>
                    <a:pt x="234" y="174"/>
                  </a:lnTo>
                  <a:lnTo>
                    <a:pt x="234" y="168"/>
                  </a:lnTo>
                  <a:lnTo>
                    <a:pt x="240" y="168"/>
                  </a:lnTo>
                  <a:lnTo>
                    <a:pt x="240" y="162"/>
                  </a:lnTo>
                  <a:lnTo>
                    <a:pt x="234" y="162"/>
                  </a:lnTo>
                  <a:lnTo>
                    <a:pt x="234" y="156"/>
                  </a:lnTo>
                  <a:lnTo>
                    <a:pt x="240" y="156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50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2" y="132"/>
                  </a:lnTo>
                  <a:lnTo>
                    <a:pt x="252" y="126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58" y="114"/>
                  </a:lnTo>
                  <a:lnTo>
                    <a:pt x="258" y="108"/>
                  </a:lnTo>
                  <a:lnTo>
                    <a:pt x="264" y="102"/>
                  </a:lnTo>
                  <a:lnTo>
                    <a:pt x="264" y="96"/>
                  </a:lnTo>
                  <a:lnTo>
                    <a:pt x="270" y="96"/>
                  </a:lnTo>
                  <a:lnTo>
                    <a:pt x="270" y="90"/>
                  </a:lnTo>
                  <a:lnTo>
                    <a:pt x="276" y="90"/>
                  </a:lnTo>
                  <a:lnTo>
                    <a:pt x="282" y="90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6" y="78"/>
                  </a:lnTo>
                  <a:lnTo>
                    <a:pt x="306" y="72"/>
                  </a:lnTo>
                  <a:lnTo>
                    <a:pt x="300" y="72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60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0" y="42"/>
                  </a:lnTo>
                  <a:lnTo>
                    <a:pt x="300" y="36"/>
                  </a:lnTo>
                  <a:lnTo>
                    <a:pt x="294" y="36"/>
                  </a:lnTo>
                  <a:lnTo>
                    <a:pt x="288" y="36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0"/>
                  </a:lnTo>
                  <a:lnTo>
                    <a:pt x="294" y="0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18" y="42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30" y="60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0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24" y="108"/>
                  </a:lnTo>
                  <a:lnTo>
                    <a:pt x="330" y="108"/>
                  </a:lnTo>
                  <a:lnTo>
                    <a:pt x="330" y="114"/>
                  </a:lnTo>
                  <a:lnTo>
                    <a:pt x="324" y="114"/>
                  </a:lnTo>
                  <a:lnTo>
                    <a:pt x="330" y="120"/>
                  </a:lnTo>
                  <a:lnTo>
                    <a:pt x="330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42" y="144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48" y="156"/>
                  </a:lnTo>
                  <a:lnTo>
                    <a:pt x="342" y="156"/>
                  </a:lnTo>
                  <a:lnTo>
                    <a:pt x="336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18" y="156"/>
                  </a:lnTo>
                  <a:lnTo>
                    <a:pt x="312" y="156"/>
                  </a:lnTo>
                  <a:lnTo>
                    <a:pt x="306" y="156"/>
                  </a:lnTo>
                  <a:lnTo>
                    <a:pt x="300" y="156"/>
                  </a:lnTo>
                  <a:lnTo>
                    <a:pt x="294" y="156"/>
                  </a:lnTo>
                  <a:lnTo>
                    <a:pt x="288" y="156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76" y="162"/>
                  </a:lnTo>
                  <a:lnTo>
                    <a:pt x="276" y="168"/>
                  </a:lnTo>
                  <a:lnTo>
                    <a:pt x="276" y="174"/>
                  </a:lnTo>
                  <a:lnTo>
                    <a:pt x="282" y="180"/>
                  </a:lnTo>
                  <a:lnTo>
                    <a:pt x="288" y="186"/>
                  </a:lnTo>
                  <a:lnTo>
                    <a:pt x="294" y="192"/>
                  </a:lnTo>
                  <a:lnTo>
                    <a:pt x="294" y="198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6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30" y="222"/>
                  </a:lnTo>
                  <a:lnTo>
                    <a:pt x="336" y="222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52"/>
                  </a:lnTo>
                  <a:lnTo>
                    <a:pt x="348" y="258"/>
                  </a:lnTo>
                  <a:lnTo>
                    <a:pt x="348" y="264"/>
                  </a:lnTo>
                  <a:lnTo>
                    <a:pt x="354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48" y="276"/>
                  </a:lnTo>
                  <a:lnTo>
                    <a:pt x="348" y="282"/>
                  </a:lnTo>
                  <a:lnTo>
                    <a:pt x="342" y="282"/>
                  </a:lnTo>
                  <a:lnTo>
                    <a:pt x="342" y="288"/>
                  </a:lnTo>
                  <a:lnTo>
                    <a:pt x="336" y="288"/>
                  </a:lnTo>
                  <a:lnTo>
                    <a:pt x="336" y="294"/>
                  </a:lnTo>
                  <a:lnTo>
                    <a:pt x="330" y="300"/>
                  </a:lnTo>
                  <a:lnTo>
                    <a:pt x="330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12" y="336"/>
                  </a:lnTo>
                  <a:lnTo>
                    <a:pt x="312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300" y="348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300" y="354"/>
                  </a:lnTo>
                  <a:lnTo>
                    <a:pt x="300" y="360"/>
                  </a:lnTo>
                  <a:lnTo>
                    <a:pt x="306" y="360"/>
                  </a:lnTo>
                  <a:lnTo>
                    <a:pt x="306" y="366"/>
                  </a:lnTo>
                  <a:lnTo>
                    <a:pt x="306" y="372"/>
                  </a:lnTo>
                  <a:lnTo>
                    <a:pt x="300" y="372"/>
                  </a:lnTo>
                  <a:lnTo>
                    <a:pt x="306" y="372"/>
                  </a:lnTo>
                  <a:lnTo>
                    <a:pt x="306" y="378"/>
                  </a:lnTo>
                  <a:lnTo>
                    <a:pt x="306" y="384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06" y="390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12" y="426"/>
                  </a:lnTo>
                  <a:lnTo>
                    <a:pt x="318" y="426"/>
                  </a:lnTo>
                  <a:lnTo>
                    <a:pt x="318" y="432"/>
                  </a:lnTo>
                  <a:lnTo>
                    <a:pt x="324" y="432"/>
                  </a:lnTo>
                  <a:lnTo>
                    <a:pt x="324" y="438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0"/>
                  </a:lnTo>
                  <a:lnTo>
                    <a:pt x="330" y="450"/>
                  </a:lnTo>
                  <a:lnTo>
                    <a:pt x="330" y="456"/>
                  </a:lnTo>
                  <a:lnTo>
                    <a:pt x="336" y="468"/>
                  </a:lnTo>
                  <a:lnTo>
                    <a:pt x="342" y="474"/>
                  </a:lnTo>
                  <a:lnTo>
                    <a:pt x="348" y="480"/>
                  </a:lnTo>
                  <a:lnTo>
                    <a:pt x="360" y="498"/>
                  </a:lnTo>
                  <a:lnTo>
                    <a:pt x="366" y="498"/>
                  </a:lnTo>
                  <a:lnTo>
                    <a:pt x="372" y="498"/>
                  </a:lnTo>
                  <a:lnTo>
                    <a:pt x="372" y="504"/>
                  </a:lnTo>
                  <a:lnTo>
                    <a:pt x="378" y="504"/>
                  </a:lnTo>
                  <a:lnTo>
                    <a:pt x="378" y="510"/>
                  </a:lnTo>
                  <a:lnTo>
                    <a:pt x="378" y="516"/>
                  </a:lnTo>
                  <a:lnTo>
                    <a:pt x="378" y="522"/>
                  </a:lnTo>
                  <a:lnTo>
                    <a:pt x="378" y="528"/>
                  </a:lnTo>
                  <a:lnTo>
                    <a:pt x="378" y="534"/>
                  </a:lnTo>
                  <a:lnTo>
                    <a:pt x="378" y="540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52"/>
                  </a:lnTo>
                  <a:lnTo>
                    <a:pt x="378" y="558"/>
                  </a:lnTo>
                  <a:lnTo>
                    <a:pt x="378" y="564"/>
                  </a:lnTo>
                  <a:lnTo>
                    <a:pt x="378" y="570"/>
                  </a:lnTo>
                  <a:lnTo>
                    <a:pt x="372" y="570"/>
                  </a:lnTo>
                  <a:lnTo>
                    <a:pt x="372" y="564"/>
                  </a:lnTo>
                  <a:lnTo>
                    <a:pt x="366" y="564"/>
                  </a:lnTo>
                  <a:lnTo>
                    <a:pt x="366" y="558"/>
                  </a:lnTo>
                  <a:lnTo>
                    <a:pt x="360" y="558"/>
                  </a:lnTo>
                  <a:lnTo>
                    <a:pt x="354" y="558"/>
                  </a:lnTo>
                  <a:lnTo>
                    <a:pt x="354" y="552"/>
                  </a:lnTo>
                  <a:lnTo>
                    <a:pt x="348" y="552"/>
                  </a:lnTo>
                  <a:lnTo>
                    <a:pt x="342" y="552"/>
                  </a:lnTo>
                  <a:lnTo>
                    <a:pt x="342" y="558"/>
                  </a:lnTo>
                  <a:lnTo>
                    <a:pt x="342" y="552"/>
                  </a:lnTo>
                  <a:lnTo>
                    <a:pt x="336" y="558"/>
                  </a:lnTo>
                  <a:lnTo>
                    <a:pt x="336" y="552"/>
                  </a:lnTo>
                  <a:lnTo>
                    <a:pt x="330" y="552"/>
                  </a:lnTo>
                  <a:lnTo>
                    <a:pt x="324" y="552"/>
                  </a:lnTo>
                  <a:lnTo>
                    <a:pt x="318" y="552"/>
                  </a:lnTo>
                  <a:lnTo>
                    <a:pt x="318" y="546"/>
                  </a:lnTo>
                  <a:lnTo>
                    <a:pt x="312" y="546"/>
                  </a:lnTo>
                  <a:lnTo>
                    <a:pt x="312" y="552"/>
                  </a:lnTo>
                  <a:lnTo>
                    <a:pt x="312" y="546"/>
                  </a:lnTo>
                  <a:lnTo>
                    <a:pt x="306" y="546"/>
                  </a:lnTo>
                  <a:lnTo>
                    <a:pt x="306" y="540"/>
                  </a:lnTo>
                  <a:lnTo>
                    <a:pt x="300" y="540"/>
                  </a:lnTo>
                  <a:lnTo>
                    <a:pt x="294" y="546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8" y="546"/>
                  </a:lnTo>
                  <a:lnTo>
                    <a:pt x="240" y="546"/>
                  </a:lnTo>
                  <a:lnTo>
                    <a:pt x="240" y="540"/>
                  </a:lnTo>
                  <a:lnTo>
                    <a:pt x="234" y="540"/>
                  </a:lnTo>
                  <a:lnTo>
                    <a:pt x="228" y="540"/>
                  </a:lnTo>
                  <a:lnTo>
                    <a:pt x="222" y="540"/>
                  </a:lnTo>
                  <a:lnTo>
                    <a:pt x="216" y="540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40"/>
                  </a:lnTo>
                  <a:lnTo>
                    <a:pt x="174" y="540"/>
                  </a:lnTo>
                  <a:lnTo>
                    <a:pt x="168" y="540"/>
                  </a:lnTo>
                  <a:lnTo>
                    <a:pt x="162" y="540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46"/>
                  </a:lnTo>
                  <a:lnTo>
                    <a:pt x="138" y="546"/>
                  </a:lnTo>
                  <a:lnTo>
                    <a:pt x="132" y="540"/>
                  </a:lnTo>
                  <a:lnTo>
                    <a:pt x="132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66" y="540"/>
                  </a:lnTo>
                  <a:lnTo>
                    <a:pt x="66" y="534"/>
                  </a:lnTo>
                  <a:lnTo>
                    <a:pt x="66" y="528"/>
                  </a:lnTo>
                  <a:lnTo>
                    <a:pt x="66" y="522"/>
                  </a:lnTo>
                  <a:lnTo>
                    <a:pt x="66" y="516"/>
                  </a:lnTo>
                  <a:lnTo>
                    <a:pt x="72" y="510"/>
                  </a:lnTo>
                  <a:lnTo>
                    <a:pt x="66" y="510"/>
                  </a:lnTo>
                  <a:lnTo>
                    <a:pt x="72" y="510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0" y="480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60" y="450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54" y="450"/>
                  </a:lnTo>
                  <a:lnTo>
                    <a:pt x="54" y="456"/>
                  </a:lnTo>
                  <a:lnTo>
                    <a:pt x="48" y="456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0" y="450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24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2" y="426"/>
                  </a:lnTo>
                  <a:lnTo>
                    <a:pt x="12" y="420"/>
                  </a:lnTo>
                  <a:lnTo>
                    <a:pt x="6" y="420"/>
                  </a:lnTo>
                  <a:lnTo>
                    <a:pt x="6" y="414"/>
                  </a:lnTo>
                  <a:lnTo>
                    <a:pt x="6" y="420"/>
                  </a:lnTo>
                  <a:lnTo>
                    <a:pt x="6" y="426"/>
                  </a:lnTo>
                  <a:lnTo>
                    <a:pt x="12" y="426"/>
                  </a:lnTo>
                  <a:lnTo>
                    <a:pt x="6" y="426"/>
                  </a:lnTo>
                  <a:lnTo>
                    <a:pt x="0" y="426"/>
                  </a:lnTo>
                  <a:lnTo>
                    <a:pt x="0" y="420"/>
                  </a:lnTo>
                  <a:lnTo>
                    <a:pt x="6" y="420"/>
                  </a:lnTo>
                  <a:lnTo>
                    <a:pt x="0" y="42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87CF27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3" name="Freeform 93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4208" y="1434"/>
              <a:ext cx="398" cy="285"/>
            </a:xfrm>
            <a:custGeom>
              <a:avLst/>
              <a:gdLst>
                <a:gd name="T0" fmla="*/ 13 w 648"/>
                <a:gd name="T1" fmla="*/ 31 h 438"/>
                <a:gd name="T2" fmla="*/ 15 w 648"/>
                <a:gd name="T3" fmla="*/ 28 h 438"/>
                <a:gd name="T4" fmla="*/ 18 w 648"/>
                <a:gd name="T5" fmla="*/ 31 h 438"/>
                <a:gd name="T6" fmla="*/ 21 w 648"/>
                <a:gd name="T7" fmla="*/ 29 h 438"/>
                <a:gd name="T8" fmla="*/ 25 w 648"/>
                <a:gd name="T9" fmla="*/ 28 h 438"/>
                <a:gd name="T10" fmla="*/ 33 w 648"/>
                <a:gd name="T11" fmla="*/ 23 h 438"/>
                <a:gd name="T12" fmla="*/ 33 w 648"/>
                <a:gd name="T13" fmla="*/ 20 h 438"/>
                <a:gd name="T14" fmla="*/ 39 w 648"/>
                <a:gd name="T15" fmla="*/ 18 h 438"/>
                <a:gd name="T16" fmla="*/ 42 w 648"/>
                <a:gd name="T17" fmla="*/ 16 h 438"/>
                <a:gd name="T18" fmla="*/ 46 w 648"/>
                <a:gd name="T19" fmla="*/ 13 h 438"/>
                <a:gd name="T20" fmla="*/ 49 w 648"/>
                <a:gd name="T21" fmla="*/ 10 h 438"/>
                <a:gd name="T22" fmla="*/ 52 w 648"/>
                <a:gd name="T23" fmla="*/ 7 h 438"/>
                <a:gd name="T24" fmla="*/ 52 w 648"/>
                <a:gd name="T25" fmla="*/ 2 h 438"/>
                <a:gd name="T26" fmla="*/ 57 w 648"/>
                <a:gd name="T27" fmla="*/ 1 h 438"/>
                <a:gd name="T28" fmla="*/ 60 w 648"/>
                <a:gd name="T29" fmla="*/ 1 h 438"/>
                <a:gd name="T30" fmla="*/ 63 w 648"/>
                <a:gd name="T31" fmla="*/ 5 h 438"/>
                <a:gd name="T32" fmla="*/ 65 w 648"/>
                <a:gd name="T33" fmla="*/ 16 h 438"/>
                <a:gd name="T34" fmla="*/ 65 w 648"/>
                <a:gd name="T35" fmla="*/ 20 h 438"/>
                <a:gd name="T36" fmla="*/ 69 w 648"/>
                <a:gd name="T37" fmla="*/ 20 h 438"/>
                <a:gd name="T38" fmla="*/ 72 w 648"/>
                <a:gd name="T39" fmla="*/ 25 h 438"/>
                <a:gd name="T40" fmla="*/ 75 w 648"/>
                <a:gd name="T41" fmla="*/ 28 h 438"/>
                <a:gd name="T42" fmla="*/ 77 w 648"/>
                <a:gd name="T43" fmla="*/ 32 h 438"/>
                <a:gd name="T44" fmla="*/ 80 w 648"/>
                <a:gd name="T45" fmla="*/ 36 h 438"/>
                <a:gd name="T46" fmla="*/ 85 w 648"/>
                <a:gd name="T47" fmla="*/ 40 h 438"/>
                <a:gd name="T48" fmla="*/ 85 w 648"/>
                <a:gd name="T49" fmla="*/ 46 h 438"/>
                <a:gd name="T50" fmla="*/ 90 w 648"/>
                <a:gd name="T51" fmla="*/ 48 h 438"/>
                <a:gd name="T52" fmla="*/ 92 w 648"/>
                <a:gd name="T53" fmla="*/ 54 h 438"/>
                <a:gd name="T54" fmla="*/ 88 w 648"/>
                <a:gd name="T55" fmla="*/ 54 h 438"/>
                <a:gd name="T56" fmla="*/ 86 w 648"/>
                <a:gd name="T57" fmla="*/ 54 h 438"/>
                <a:gd name="T58" fmla="*/ 84 w 648"/>
                <a:gd name="T59" fmla="*/ 53 h 438"/>
                <a:gd name="T60" fmla="*/ 82 w 648"/>
                <a:gd name="T61" fmla="*/ 53 h 438"/>
                <a:gd name="T62" fmla="*/ 80 w 648"/>
                <a:gd name="T63" fmla="*/ 50 h 438"/>
                <a:gd name="T64" fmla="*/ 77 w 648"/>
                <a:gd name="T65" fmla="*/ 51 h 438"/>
                <a:gd name="T66" fmla="*/ 75 w 648"/>
                <a:gd name="T67" fmla="*/ 54 h 438"/>
                <a:gd name="T68" fmla="*/ 71 w 648"/>
                <a:gd name="T69" fmla="*/ 53 h 438"/>
                <a:gd name="T70" fmla="*/ 69 w 648"/>
                <a:gd name="T71" fmla="*/ 55 h 438"/>
                <a:gd name="T72" fmla="*/ 65 w 648"/>
                <a:gd name="T73" fmla="*/ 56 h 438"/>
                <a:gd name="T74" fmla="*/ 61 w 648"/>
                <a:gd name="T75" fmla="*/ 56 h 438"/>
                <a:gd name="T76" fmla="*/ 59 w 648"/>
                <a:gd name="T77" fmla="*/ 58 h 438"/>
                <a:gd name="T78" fmla="*/ 57 w 648"/>
                <a:gd name="T79" fmla="*/ 61 h 438"/>
                <a:gd name="T80" fmla="*/ 52 w 648"/>
                <a:gd name="T81" fmla="*/ 61 h 438"/>
                <a:gd name="T82" fmla="*/ 46 w 648"/>
                <a:gd name="T83" fmla="*/ 59 h 438"/>
                <a:gd name="T84" fmla="*/ 41 w 648"/>
                <a:gd name="T85" fmla="*/ 56 h 438"/>
                <a:gd name="T86" fmla="*/ 36 w 648"/>
                <a:gd name="T87" fmla="*/ 53 h 438"/>
                <a:gd name="T88" fmla="*/ 32 w 648"/>
                <a:gd name="T89" fmla="*/ 57 h 438"/>
                <a:gd name="T90" fmla="*/ 30 w 648"/>
                <a:gd name="T91" fmla="*/ 62 h 438"/>
                <a:gd name="T92" fmla="*/ 29 w 648"/>
                <a:gd name="T93" fmla="*/ 66 h 438"/>
                <a:gd name="T94" fmla="*/ 24 w 648"/>
                <a:gd name="T95" fmla="*/ 66 h 438"/>
                <a:gd name="T96" fmla="*/ 18 w 648"/>
                <a:gd name="T97" fmla="*/ 66 h 438"/>
                <a:gd name="T98" fmla="*/ 15 w 648"/>
                <a:gd name="T99" fmla="*/ 71 h 438"/>
                <a:gd name="T100" fmla="*/ 12 w 648"/>
                <a:gd name="T101" fmla="*/ 74 h 438"/>
                <a:gd name="T102" fmla="*/ 7 w 648"/>
                <a:gd name="T103" fmla="*/ 66 h 438"/>
                <a:gd name="T104" fmla="*/ 4 w 648"/>
                <a:gd name="T105" fmla="*/ 61 h 438"/>
                <a:gd name="T106" fmla="*/ 1 w 648"/>
                <a:gd name="T107" fmla="*/ 55 h 438"/>
                <a:gd name="T108" fmla="*/ 1 w 648"/>
                <a:gd name="T109" fmla="*/ 49 h 438"/>
                <a:gd name="T110" fmla="*/ 0 w 648"/>
                <a:gd name="T111" fmla="*/ 44 h 438"/>
                <a:gd name="T112" fmla="*/ 4 w 648"/>
                <a:gd name="T113" fmla="*/ 39 h 438"/>
                <a:gd name="T114" fmla="*/ 7 w 648"/>
                <a:gd name="T115" fmla="*/ 32 h 4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648" h="438">
                  <a:moveTo>
                    <a:pt x="54" y="174"/>
                  </a:moveTo>
                  <a:lnTo>
                    <a:pt x="66" y="174"/>
                  </a:lnTo>
                  <a:lnTo>
                    <a:pt x="66" y="180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8" y="156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32" y="168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50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2" y="132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8" y="120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22" y="114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52" y="102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96"/>
                  </a:lnTo>
                  <a:lnTo>
                    <a:pt x="282" y="96"/>
                  </a:lnTo>
                  <a:lnTo>
                    <a:pt x="288" y="96"/>
                  </a:lnTo>
                  <a:lnTo>
                    <a:pt x="294" y="96"/>
                  </a:lnTo>
                  <a:lnTo>
                    <a:pt x="300" y="96"/>
                  </a:lnTo>
                  <a:lnTo>
                    <a:pt x="300" y="90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6" y="84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0" y="60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0" y="30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18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84" y="6"/>
                  </a:lnTo>
                  <a:lnTo>
                    <a:pt x="390" y="6"/>
                  </a:lnTo>
                  <a:lnTo>
                    <a:pt x="396" y="6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6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8"/>
                  </a:lnTo>
                  <a:lnTo>
                    <a:pt x="432" y="18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62" y="60"/>
                  </a:lnTo>
                  <a:lnTo>
                    <a:pt x="462" y="72"/>
                  </a:lnTo>
                  <a:lnTo>
                    <a:pt x="456" y="72"/>
                  </a:lnTo>
                  <a:lnTo>
                    <a:pt x="456" y="78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6" y="90"/>
                  </a:lnTo>
                  <a:lnTo>
                    <a:pt x="456" y="96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56" y="102"/>
                  </a:lnTo>
                  <a:lnTo>
                    <a:pt x="456" y="108"/>
                  </a:lnTo>
                  <a:lnTo>
                    <a:pt x="450" y="108"/>
                  </a:lnTo>
                  <a:lnTo>
                    <a:pt x="450" y="114"/>
                  </a:lnTo>
                  <a:lnTo>
                    <a:pt x="456" y="114"/>
                  </a:lnTo>
                  <a:lnTo>
                    <a:pt x="462" y="114"/>
                  </a:lnTo>
                  <a:lnTo>
                    <a:pt x="468" y="114"/>
                  </a:lnTo>
                  <a:lnTo>
                    <a:pt x="474" y="114"/>
                  </a:lnTo>
                  <a:lnTo>
                    <a:pt x="480" y="114"/>
                  </a:lnTo>
                  <a:lnTo>
                    <a:pt x="480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486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92" y="138"/>
                  </a:lnTo>
                  <a:lnTo>
                    <a:pt x="498" y="138"/>
                  </a:lnTo>
                  <a:lnTo>
                    <a:pt x="504" y="138"/>
                  </a:lnTo>
                  <a:lnTo>
                    <a:pt x="504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0" y="144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6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0"/>
                  </a:lnTo>
                  <a:lnTo>
                    <a:pt x="546" y="186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8" y="192"/>
                  </a:lnTo>
                  <a:lnTo>
                    <a:pt x="564" y="192"/>
                  </a:lnTo>
                  <a:lnTo>
                    <a:pt x="564" y="198"/>
                  </a:lnTo>
                  <a:lnTo>
                    <a:pt x="570" y="198"/>
                  </a:lnTo>
                  <a:lnTo>
                    <a:pt x="576" y="198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94" y="216"/>
                  </a:lnTo>
                  <a:lnTo>
                    <a:pt x="594" y="222"/>
                  </a:lnTo>
                  <a:lnTo>
                    <a:pt x="594" y="228"/>
                  </a:lnTo>
                  <a:lnTo>
                    <a:pt x="588" y="228"/>
                  </a:lnTo>
                  <a:lnTo>
                    <a:pt x="588" y="234"/>
                  </a:lnTo>
                  <a:lnTo>
                    <a:pt x="594" y="234"/>
                  </a:lnTo>
                  <a:lnTo>
                    <a:pt x="600" y="234"/>
                  </a:lnTo>
                  <a:lnTo>
                    <a:pt x="600" y="240"/>
                  </a:lnTo>
                  <a:lnTo>
                    <a:pt x="600" y="246"/>
                  </a:lnTo>
                  <a:lnTo>
                    <a:pt x="600" y="252"/>
                  </a:lnTo>
                  <a:lnTo>
                    <a:pt x="606" y="252"/>
                  </a:lnTo>
                  <a:lnTo>
                    <a:pt x="612" y="252"/>
                  </a:lnTo>
                  <a:lnTo>
                    <a:pt x="618" y="252"/>
                  </a:lnTo>
                  <a:lnTo>
                    <a:pt x="618" y="258"/>
                  </a:lnTo>
                  <a:lnTo>
                    <a:pt x="624" y="258"/>
                  </a:lnTo>
                  <a:lnTo>
                    <a:pt x="630" y="258"/>
                  </a:lnTo>
                  <a:lnTo>
                    <a:pt x="630" y="264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6" y="276"/>
                  </a:lnTo>
                  <a:lnTo>
                    <a:pt x="636" y="282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94"/>
                  </a:lnTo>
                  <a:lnTo>
                    <a:pt x="648" y="294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0" y="294"/>
                  </a:lnTo>
                  <a:lnTo>
                    <a:pt x="630" y="288"/>
                  </a:lnTo>
                  <a:lnTo>
                    <a:pt x="624" y="294"/>
                  </a:lnTo>
                  <a:lnTo>
                    <a:pt x="618" y="294"/>
                  </a:lnTo>
                  <a:lnTo>
                    <a:pt x="618" y="300"/>
                  </a:lnTo>
                  <a:lnTo>
                    <a:pt x="612" y="300"/>
                  </a:lnTo>
                  <a:lnTo>
                    <a:pt x="612" y="294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0" y="300"/>
                  </a:lnTo>
                  <a:lnTo>
                    <a:pt x="600" y="294"/>
                  </a:lnTo>
                  <a:lnTo>
                    <a:pt x="594" y="294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2" y="288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64" y="294"/>
                  </a:lnTo>
                  <a:lnTo>
                    <a:pt x="564" y="288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0" y="288"/>
                  </a:lnTo>
                  <a:lnTo>
                    <a:pt x="540" y="294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34" y="300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8" y="300"/>
                  </a:lnTo>
                  <a:lnTo>
                    <a:pt x="522" y="300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00"/>
                  </a:lnTo>
                  <a:lnTo>
                    <a:pt x="504" y="300"/>
                  </a:lnTo>
                  <a:lnTo>
                    <a:pt x="504" y="294"/>
                  </a:lnTo>
                  <a:lnTo>
                    <a:pt x="498" y="294"/>
                  </a:lnTo>
                  <a:lnTo>
                    <a:pt x="498" y="300"/>
                  </a:lnTo>
                  <a:lnTo>
                    <a:pt x="498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8" y="300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6" y="300"/>
                  </a:lnTo>
                  <a:lnTo>
                    <a:pt x="486" y="306"/>
                  </a:lnTo>
                  <a:lnTo>
                    <a:pt x="480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68" y="312"/>
                  </a:lnTo>
                  <a:lnTo>
                    <a:pt x="462" y="312"/>
                  </a:lnTo>
                  <a:lnTo>
                    <a:pt x="456" y="312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50" y="324"/>
                  </a:lnTo>
                  <a:lnTo>
                    <a:pt x="444" y="324"/>
                  </a:lnTo>
                  <a:lnTo>
                    <a:pt x="444" y="318"/>
                  </a:lnTo>
                  <a:lnTo>
                    <a:pt x="438" y="318"/>
                  </a:lnTo>
                  <a:lnTo>
                    <a:pt x="438" y="312"/>
                  </a:lnTo>
                  <a:lnTo>
                    <a:pt x="432" y="312"/>
                  </a:lnTo>
                  <a:lnTo>
                    <a:pt x="432" y="318"/>
                  </a:lnTo>
                  <a:lnTo>
                    <a:pt x="426" y="312"/>
                  </a:lnTo>
                  <a:lnTo>
                    <a:pt x="420" y="312"/>
                  </a:lnTo>
                  <a:lnTo>
                    <a:pt x="420" y="318"/>
                  </a:lnTo>
                  <a:lnTo>
                    <a:pt x="420" y="312"/>
                  </a:lnTo>
                  <a:lnTo>
                    <a:pt x="414" y="312"/>
                  </a:lnTo>
                  <a:lnTo>
                    <a:pt x="414" y="318"/>
                  </a:lnTo>
                  <a:lnTo>
                    <a:pt x="414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8" y="324"/>
                  </a:lnTo>
                  <a:lnTo>
                    <a:pt x="408" y="330"/>
                  </a:lnTo>
                  <a:lnTo>
                    <a:pt x="408" y="336"/>
                  </a:lnTo>
                  <a:lnTo>
                    <a:pt x="402" y="336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2" y="336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24"/>
                  </a:lnTo>
                  <a:lnTo>
                    <a:pt x="300" y="318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88" y="312"/>
                  </a:lnTo>
                  <a:lnTo>
                    <a:pt x="288" y="306"/>
                  </a:lnTo>
                  <a:lnTo>
                    <a:pt x="282" y="306"/>
                  </a:lnTo>
                  <a:lnTo>
                    <a:pt x="276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64" y="294"/>
                  </a:lnTo>
                  <a:lnTo>
                    <a:pt x="258" y="294"/>
                  </a:lnTo>
                  <a:lnTo>
                    <a:pt x="252" y="294"/>
                  </a:lnTo>
                  <a:lnTo>
                    <a:pt x="246" y="294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306"/>
                  </a:lnTo>
                  <a:lnTo>
                    <a:pt x="234" y="306"/>
                  </a:lnTo>
                  <a:lnTo>
                    <a:pt x="228" y="306"/>
                  </a:lnTo>
                  <a:lnTo>
                    <a:pt x="228" y="312"/>
                  </a:lnTo>
                  <a:lnTo>
                    <a:pt x="222" y="318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6" y="330"/>
                  </a:lnTo>
                  <a:lnTo>
                    <a:pt x="210" y="336"/>
                  </a:lnTo>
                  <a:lnTo>
                    <a:pt x="210" y="330"/>
                  </a:lnTo>
                  <a:lnTo>
                    <a:pt x="204" y="336"/>
                  </a:lnTo>
                  <a:lnTo>
                    <a:pt x="210" y="342"/>
                  </a:lnTo>
                  <a:lnTo>
                    <a:pt x="210" y="348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210" y="366"/>
                  </a:lnTo>
                  <a:lnTo>
                    <a:pt x="210" y="372"/>
                  </a:lnTo>
                  <a:lnTo>
                    <a:pt x="210" y="378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198" y="372"/>
                  </a:lnTo>
                  <a:lnTo>
                    <a:pt x="192" y="372"/>
                  </a:lnTo>
                  <a:lnTo>
                    <a:pt x="192" y="378"/>
                  </a:lnTo>
                  <a:lnTo>
                    <a:pt x="186" y="378"/>
                  </a:lnTo>
                  <a:lnTo>
                    <a:pt x="186" y="372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66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2" y="372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08" y="378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02" y="390"/>
                  </a:lnTo>
                  <a:lnTo>
                    <a:pt x="102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102" y="408"/>
                  </a:lnTo>
                  <a:lnTo>
                    <a:pt x="90" y="438"/>
                  </a:lnTo>
                  <a:lnTo>
                    <a:pt x="84" y="438"/>
                  </a:lnTo>
                  <a:lnTo>
                    <a:pt x="84" y="432"/>
                  </a:lnTo>
                  <a:lnTo>
                    <a:pt x="84" y="426"/>
                  </a:lnTo>
                  <a:lnTo>
                    <a:pt x="84" y="420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396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2" y="366"/>
                  </a:lnTo>
                  <a:lnTo>
                    <a:pt x="36" y="354"/>
                  </a:lnTo>
                  <a:lnTo>
                    <a:pt x="36" y="348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6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2" y="312"/>
                  </a:lnTo>
                  <a:lnTo>
                    <a:pt x="18" y="312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8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6" y="270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12" y="258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2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54" y="174"/>
                  </a:lnTo>
                  <a:close/>
                </a:path>
              </a:pathLst>
            </a:custGeom>
            <a:solidFill>
              <a:srgbClr val="87CF27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4" name="Freeform 94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4034" y="1713"/>
              <a:ext cx="179" cy="208"/>
            </a:xfrm>
            <a:custGeom>
              <a:avLst/>
              <a:gdLst>
                <a:gd name="T0" fmla="*/ 7 w 288"/>
                <a:gd name="T1" fmla="*/ 20 h 318"/>
                <a:gd name="T2" fmla="*/ 8 w 288"/>
                <a:gd name="T3" fmla="*/ 20 h 318"/>
                <a:gd name="T4" fmla="*/ 6 w 288"/>
                <a:gd name="T5" fmla="*/ 19 h 318"/>
                <a:gd name="T6" fmla="*/ 6 w 288"/>
                <a:gd name="T7" fmla="*/ 16 h 318"/>
                <a:gd name="T8" fmla="*/ 6 w 288"/>
                <a:gd name="T9" fmla="*/ 13 h 318"/>
                <a:gd name="T10" fmla="*/ 9 w 288"/>
                <a:gd name="T11" fmla="*/ 12 h 318"/>
                <a:gd name="T12" fmla="*/ 20 w 288"/>
                <a:gd name="T13" fmla="*/ 2 h 318"/>
                <a:gd name="T14" fmla="*/ 21 w 288"/>
                <a:gd name="T15" fmla="*/ 0 h 318"/>
                <a:gd name="T16" fmla="*/ 22 w 288"/>
                <a:gd name="T17" fmla="*/ 1 h 318"/>
                <a:gd name="T18" fmla="*/ 24 w 288"/>
                <a:gd name="T19" fmla="*/ 1 h 318"/>
                <a:gd name="T20" fmla="*/ 29 w 288"/>
                <a:gd name="T21" fmla="*/ 1 h 318"/>
                <a:gd name="T22" fmla="*/ 33 w 288"/>
                <a:gd name="T23" fmla="*/ 1 h 318"/>
                <a:gd name="T24" fmla="*/ 33 w 288"/>
                <a:gd name="T25" fmla="*/ 5 h 318"/>
                <a:gd name="T26" fmla="*/ 33 w 288"/>
                <a:gd name="T27" fmla="*/ 8 h 318"/>
                <a:gd name="T28" fmla="*/ 36 w 288"/>
                <a:gd name="T29" fmla="*/ 10 h 318"/>
                <a:gd name="T30" fmla="*/ 38 w 288"/>
                <a:gd name="T31" fmla="*/ 9 h 318"/>
                <a:gd name="T32" fmla="*/ 42 w 288"/>
                <a:gd name="T33" fmla="*/ 10 h 318"/>
                <a:gd name="T34" fmla="*/ 42 w 288"/>
                <a:gd name="T35" fmla="*/ 13 h 318"/>
                <a:gd name="T36" fmla="*/ 40 w 288"/>
                <a:gd name="T37" fmla="*/ 17 h 318"/>
                <a:gd name="T38" fmla="*/ 39 w 288"/>
                <a:gd name="T39" fmla="*/ 20 h 318"/>
                <a:gd name="T40" fmla="*/ 39 w 288"/>
                <a:gd name="T41" fmla="*/ 23 h 318"/>
                <a:gd name="T42" fmla="*/ 42 w 288"/>
                <a:gd name="T43" fmla="*/ 26 h 318"/>
                <a:gd name="T44" fmla="*/ 42 w 288"/>
                <a:gd name="T45" fmla="*/ 31 h 318"/>
                <a:gd name="T46" fmla="*/ 43 w 288"/>
                <a:gd name="T47" fmla="*/ 35 h 318"/>
                <a:gd name="T48" fmla="*/ 42 w 288"/>
                <a:gd name="T49" fmla="*/ 39 h 318"/>
                <a:gd name="T50" fmla="*/ 39 w 288"/>
                <a:gd name="T51" fmla="*/ 44 h 318"/>
                <a:gd name="T52" fmla="*/ 38 w 288"/>
                <a:gd name="T53" fmla="*/ 41 h 318"/>
                <a:gd name="T54" fmla="*/ 35 w 288"/>
                <a:gd name="T55" fmla="*/ 44 h 318"/>
                <a:gd name="T56" fmla="*/ 31 w 288"/>
                <a:gd name="T57" fmla="*/ 43 h 318"/>
                <a:gd name="T58" fmla="*/ 30 w 288"/>
                <a:gd name="T59" fmla="*/ 39 h 318"/>
                <a:gd name="T60" fmla="*/ 28 w 288"/>
                <a:gd name="T61" fmla="*/ 41 h 318"/>
                <a:gd name="T62" fmla="*/ 24 w 288"/>
                <a:gd name="T63" fmla="*/ 43 h 318"/>
                <a:gd name="T64" fmla="*/ 22 w 288"/>
                <a:gd name="T65" fmla="*/ 44 h 318"/>
                <a:gd name="T66" fmla="*/ 22 w 288"/>
                <a:gd name="T67" fmla="*/ 48 h 318"/>
                <a:gd name="T68" fmla="*/ 24 w 288"/>
                <a:gd name="T69" fmla="*/ 50 h 318"/>
                <a:gd name="T70" fmla="*/ 23 w 288"/>
                <a:gd name="T71" fmla="*/ 54 h 318"/>
                <a:gd name="T72" fmla="*/ 22 w 288"/>
                <a:gd name="T73" fmla="*/ 55 h 318"/>
                <a:gd name="T74" fmla="*/ 19 w 288"/>
                <a:gd name="T75" fmla="*/ 56 h 318"/>
                <a:gd name="T76" fmla="*/ 17 w 288"/>
                <a:gd name="T77" fmla="*/ 57 h 318"/>
                <a:gd name="T78" fmla="*/ 16 w 288"/>
                <a:gd name="T79" fmla="*/ 54 h 318"/>
                <a:gd name="T80" fmla="*/ 14 w 288"/>
                <a:gd name="T81" fmla="*/ 50 h 318"/>
                <a:gd name="T82" fmla="*/ 11 w 288"/>
                <a:gd name="T83" fmla="*/ 48 h 318"/>
                <a:gd name="T84" fmla="*/ 9 w 288"/>
                <a:gd name="T85" fmla="*/ 46 h 318"/>
                <a:gd name="T86" fmla="*/ 6 w 288"/>
                <a:gd name="T87" fmla="*/ 44 h 318"/>
                <a:gd name="T88" fmla="*/ 4 w 288"/>
                <a:gd name="T89" fmla="*/ 39 h 318"/>
                <a:gd name="T90" fmla="*/ 4 w 288"/>
                <a:gd name="T91" fmla="*/ 35 h 318"/>
                <a:gd name="T92" fmla="*/ 1 w 288"/>
                <a:gd name="T93" fmla="*/ 32 h 318"/>
                <a:gd name="T94" fmla="*/ 1 w 288"/>
                <a:gd name="T95" fmla="*/ 31 h 318"/>
                <a:gd name="T96" fmla="*/ 0 w 288"/>
                <a:gd name="T97" fmla="*/ 29 h 318"/>
                <a:gd name="T98" fmla="*/ 2 w 288"/>
                <a:gd name="T99" fmla="*/ 29 h 318"/>
                <a:gd name="T100" fmla="*/ 4 w 288"/>
                <a:gd name="T101" fmla="*/ 26 h 318"/>
                <a:gd name="T102" fmla="*/ 4 w 288"/>
                <a:gd name="T103" fmla="*/ 22 h 3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88" h="318">
                  <a:moveTo>
                    <a:pt x="30" y="102"/>
                  </a:moveTo>
                  <a:lnTo>
                    <a:pt x="30" y="108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60" y="108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2" y="54"/>
                  </a:lnTo>
                  <a:lnTo>
                    <a:pt x="228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0" y="48"/>
                  </a:lnTo>
                  <a:lnTo>
                    <a:pt x="246" y="48"/>
                  </a:lnTo>
                  <a:lnTo>
                    <a:pt x="252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6" y="48"/>
                  </a:lnTo>
                  <a:lnTo>
                    <a:pt x="276" y="54"/>
                  </a:lnTo>
                  <a:lnTo>
                    <a:pt x="276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88" y="78"/>
                  </a:lnTo>
                  <a:lnTo>
                    <a:pt x="282" y="78"/>
                  </a:lnTo>
                  <a:lnTo>
                    <a:pt x="282" y="84"/>
                  </a:lnTo>
                  <a:lnTo>
                    <a:pt x="276" y="90"/>
                  </a:lnTo>
                  <a:lnTo>
                    <a:pt x="270" y="90"/>
                  </a:lnTo>
                  <a:lnTo>
                    <a:pt x="264" y="90"/>
                  </a:lnTo>
                  <a:lnTo>
                    <a:pt x="264" y="96"/>
                  </a:lnTo>
                  <a:lnTo>
                    <a:pt x="258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64" y="132"/>
                  </a:lnTo>
                  <a:lnTo>
                    <a:pt x="270" y="132"/>
                  </a:lnTo>
                  <a:lnTo>
                    <a:pt x="270" y="138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80"/>
                  </a:lnTo>
                  <a:lnTo>
                    <a:pt x="282" y="186"/>
                  </a:lnTo>
                  <a:lnTo>
                    <a:pt x="288" y="186"/>
                  </a:lnTo>
                  <a:lnTo>
                    <a:pt x="282" y="192"/>
                  </a:lnTo>
                  <a:lnTo>
                    <a:pt x="288" y="192"/>
                  </a:lnTo>
                  <a:lnTo>
                    <a:pt x="282" y="192"/>
                  </a:lnTo>
                  <a:lnTo>
                    <a:pt x="282" y="198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76" y="222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58" y="234"/>
                  </a:lnTo>
                  <a:lnTo>
                    <a:pt x="258" y="228"/>
                  </a:lnTo>
                  <a:lnTo>
                    <a:pt x="252" y="228"/>
                  </a:lnTo>
                  <a:lnTo>
                    <a:pt x="252" y="222"/>
                  </a:lnTo>
                  <a:lnTo>
                    <a:pt x="246" y="222"/>
                  </a:lnTo>
                  <a:lnTo>
                    <a:pt x="246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40"/>
                  </a:lnTo>
                  <a:lnTo>
                    <a:pt x="228" y="234"/>
                  </a:lnTo>
                  <a:lnTo>
                    <a:pt x="222" y="234"/>
                  </a:lnTo>
                  <a:lnTo>
                    <a:pt x="216" y="234"/>
                  </a:lnTo>
                  <a:lnTo>
                    <a:pt x="210" y="234"/>
                  </a:lnTo>
                  <a:lnTo>
                    <a:pt x="216" y="228"/>
                  </a:lnTo>
                  <a:lnTo>
                    <a:pt x="210" y="228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2" y="210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86" y="240"/>
                  </a:lnTo>
                  <a:lnTo>
                    <a:pt x="168" y="240"/>
                  </a:lnTo>
                  <a:lnTo>
                    <a:pt x="162" y="234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44" y="246"/>
                  </a:lnTo>
                  <a:lnTo>
                    <a:pt x="150" y="252"/>
                  </a:lnTo>
                  <a:lnTo>
                    <a:pt x="144" y="252"/>
                  </a:lnTo>
                  <a:lnTo>
                    <a:pt x="144" y="258"/>
                  </a:lnTo>
                  <a:lnTo>
                    <a:pt x="150" y="258"/>
                  </a:lnTo>
                  <a:lnTo>
                    <a:pt x="162" y="264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62" y="276"/>
                  </a:lnTo>
                  <a:lnTo>
                    <a:pt x="162" y="282"/>
                  </a:lnTo>
                  <a:lnTo>
                    <a:pt x="162" y="288"/>
                  </a:lnTo>
                  <a:lnTo>
                    <a:pt x="156" y="294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6" y="306"/>
                  </a:lnTo>
                  <a:lnTo>
                    <a:pt x="150" y="300"/>
                  </a:lnTo>
                  <a:lnTo>
                    <a:pt x="144" y="300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6" y="300"/>
                  </a:lnTo>
                  <a:lnTo>
                    <a:pt x="126" y="306"/>
                  </a:lnTo>
                  <a:lnTo>
                    <a:pt x="126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14" y="306"/>
                  </a:lnTo>
                  <a:lnTo>
                    <a:pt x="108" y="300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84" y="276"/>
                  </a:lnTo>
                  <a:lnTo>
                    <a:pt x="84" y="270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6" y="222"/>
                  </a:lnTo>
                  <a:lnTo>
                    <a:pt x="30" y="222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98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2" y="174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close/>
                </a:path>
              </a:pathLst>
            </a:custGeom>
            <a:solidFill>
              <a:srgbClr val="87CF27">
                <a:alpha val="65881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5" name="Freeform 95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4108" y="1673"/>
              <a:ext cx="231" cy="279"/>
            </a:xfrm>
            <a:custGeom>
              <a:avLst/>
              <a:gdLst>
                <a:gd name="T0" fmla="*/ 1 w 372"/>
                <a:gd name="T1" fmla="*/ 63 h 432"/>
                <a:gd name="T2" fmla="*/ 6 w 372"/>
                <a:gd name="T3" fmla="*/ 63 h 432"/>
                <a:gd name="T4" fmla="*/ 6 w 372"/>
                <a:gd name="T5" fmla="*/ 59 h 432"/>
                <a:gd name="T6" fmla="*/ 4 w 372"/>
                <a:gd name="T7" fmla="*/ 56 h 432"/>
                <a:gd name="T8" fmla="*/ 4 w 372"/>
                <a:gd name="T9" fmla="*/ 52 h 432"/>
                <a:gd name="T10" fmla="*/ 10 w 372"/>
                <a:gd name="T11" fmla="*/ 54 h 432"/>
                <a:gd name="T12" fmla="*/ 11 w 372"/>
                <a:gd name="T13" fmla="*/ 48 h 432"/>
                <a:gd name="T14" fmla="*/ 14 w 372"/>
                <a:gd name="T15" fmla="*/ 51 h 432"/>
                <a:gd name="T16" fmla="*/ 17 w 372"/>
                <a:gd name="T17" fmla="*/ 54 h 432"/>
                <a:gd name="T18" fmla="*/ 20 w 372"/>
                <a:gd name="T19" fmla="*/ 51 h 432"/>
                <a:gd name="T20" fmla="*/ 22 w 372"/>
                <a:gd name="T21" fmla="*/ 51 h 432"/>
                <a:gd name="T22" fmla="*/ 24 w 372"/>
                <a:gd name="T23" fmla="*/ 46 h 432"/>
                <a:gd name="T24" fmla="*/ 25 w 372"/>
                <a:gd name="T25" fmla="*/ 43 h 432"/>
                <a:gd name="T26" fmla="*/ 24 w 372"/>
                <a:gd name="T27" fmla="*/ 36 h 432"/>
                <a:gd name="T28" fmla="*/ 20 w 372"/>
                <a:gd name="T29" fmla="*/ 35 h 432"/>
                <a:gd name="T30" fmla="*/ 20 w 372"/>
                <a:gd name="T31" fmla="*/ 28 h 432"/>
                <a:gd name="T32" fmla="*/ 24 w 372"/>
                <a:gd name="T33" fmla="*/ 25 h 432"/>
                <a:gd name="T34" fmla="*/ 23 w 372"/>
                <a:gd name="T35" fmla="*/ 22 h 432"/>
                <a:gd name="T36" fmla="*/ 20 w 372"/>
                <a:gd name="T37" fmla="*/ 20 h 432"/>
                <a:gd name="T38" fmla="*/ 17 w 372"/>
                <a:gd name="T39" fmla="*/ 21 h 432"/>
                <a:gd name="T40" fmla="*/ 14 w 372"/>
                <a:gd name="T41" fmla="*/ 18 h 432"/>
                <a:gd name="T42" fmla="*/ 16 w 372"/>
                <a:gd name="T43" fmla="*/ 14 h 432"/>
                <a:gd name="T44" fmla="*/ 26 w 372"/>
                <a:gd name="T45" fmla="*/ 12 h 432"/>
                <a:gd name="T46" fmla="*/ 28 w 372"/>
                <a:gd name="T47" fmla="*/ 15 h 432"/>
                <a:gd name="T48" fmla="*/ 31 w 372"/>
                <a:gd name="T49" fmla="*/ 16 h 432"/>
                <a:gd name="T50" fmla="*/ 35 w 372"/>
                <a:gd name="T51" fmla="*/ 16 h 432"/>
                <a:gd name="T52" fmla="*/ 37 w 372"/>
                <a:gd name="T53" fmla="*/ 16 h 432"/>
                <a:gd name="T54" fmla="*/ 37 w 372"/>
                <a:gd name="T55" fmla="*/ 12 h 432"/>
                <a:gd name="T56" fmla="*/ 40 w 372"/>
                <a:gd name="T57" fmla="*/ 4 h 432"/>
                <a:gd name="T58" fmla="*/ 44 w 372"/>
                <a:gd name="T59" fmla="*/ 1 h 432"/>
                <a:gd name="T60" fmla="*/ 49 w 372"/>
                <a:gd name="T61" fmla="*/ 0 h 432"/>
                <a:gd name="T62" fmla="*/ 53 w 372"/>
                <a:gd name="T63" fmla="*/ 2 h 432"/>
                <a:gd name="T64" fmla="*/ 55 w 372"/>
                <a:gd name="T65" fmla="*/ 3 h 432"/>
                <a:gd name="T66" fmla="*/ 53 w 372"/>
                <a:gd name="T67" fmla="*/ 7 h 432"/>
                <a:gd name="T68" fmla="*/ 51 w 372"/>
                <a:gd name="T69" fmla="*/ 12 h 432"/>
                <a:gd name="T70" fmla="*/ 51 w 372"/>
                <a:gd name="T71" fmla="*/ 19 h 432"/>
                <a:gd name="T72" fmla="*/ 49 w 372"/>
                <a:gd name="T73" fmla="*/ 23 h 432"/>
                <a:gd name="T74" fmla="*/ 50 w 372"/>
                <a:gd name="T75" fmla="*/ 29 h 432"/>
                <a:gd name="T76" fmla="*/ 48 w 372"/>
                <a:gd name="T77" fmla="*/ 34 h 432"/>
                <a:gd name="T78" fmla="*/ 47 w 372"/>
                <a:gd name="T79" fmla="*/ 38 h 432"/>
                <a:gd name="T80" fmla="*/ 43 w 372"/>
                <a:gd name="T81" fmla="*/ 42 h 432"/>
                <a:gd name="T82" fmla="*/ 40 w 372"/>
                <a:gd name="T83" fmla="*/ 48 h 432"/>
                <a:gd name="T84" fmla="*/ 37 w 372"/>
                <a:gd name="T85" fmla="*/ 52 h 432"/>
                <a:gd name="T86" fmla="*/ 37 w 372"/>
                <a:gd name="T87" fmla="*/ 58 h 432"/>
                <a:gd name="T88" fmla="*/ 36 w 372"/>
                <a:gd name="T89" fmla="*/ 65 h 432"/>
                <a:gd name="T90" fmla="*/ 32 w 372"/>
                <a:gd name="T91" fmla="*/ 68 h 432"/>
                <a:gd name="T92" fmla="*/ 29 w 372"/>
                <a:gd name="T93" fmla="*/ 71 h 432"/>
                <a:gd name="T94" fmla="*/ 26 w 372"/>
                <a:gd name="T95" fmla="*/ 74 h 432"/>
                <a:gd name="T96" fmla="*/ 23 w 372"/>
                <a:gd name="T97" fmla="*/ 71 h 432"/>
                <a:gd name="T98" fmla="*/ 23 w 372"/>
                <a:gd name="T99" fmla="*/ 69 h 432"/>
                <a:gd name="T100" fmla="*/ 20 w 372"/>
                <a:gd name="T101" fmla="*/ 71 h 432"/>
                <a:gd name="T102" fmla="*/ 18 w 372"/>
                <a:gd name="T103" fmla="*/ 73 h 432"/>
                <a:gd name="T104" fmla="*/ 14 w 372"/>
                <a:gd name="T105" fmla="*/ 72 h 432"/>
                <a:gd name="T106" fmla="*/ 12 w 372"/>
                <a:gd name="T107" fmla="*/ 71 h 432"/>
                <a:gd name="T108" fmla="*/ 7 w 372"/>
                <a:gd name="T109" fmla="*/ 74 h 432"/>
                <a:gd name="T110" fmla="*/ 4 w 372"/>
                <a:gd name="T111" fmla="*/ 72 h 432"/>
                <a:gd name="T112" fmla="*/ 1 w 372"/>
                <a:gd name="T113" fmla="*/ 69 h 4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372" h="432">
                  <a:moveTo>
                    <a:pt x="0" y="384"/>
                  </a:moveTo>
                  <a:lnTo>
                    <a:pt x="0" y="378"/>
                  </a:lnTo>
                  <a:lnTo>
                    <a:pt x="6" y="378"/>
                  </a:lnTo>
                  <a:lnTo>
                    <a:pt x="6" y="372"/>
                  </a:lnTo>
                  <a:lnTo>
                    <a:pt x="6" y="366"/>
                  </a:lnTo>
                  <a:lnTo>
                    <a:pt x="12" y="360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66"/>
                  </a:lnTo>
                  <a:lnTo>
                    <a:pt x="30" y="366"/>
                  </a:lnTo>
                  <a:lnTo>
                    <a:pt x="36" y="372"/>
                  </a:lnTo>
                  <a:lnTo>
                    <a:pt x="36" y="366"/>
                  </a:lnTo>
                  <a:lnTo>
                    <a:pt x="42" y="366"/>
                  </a:lnTo>
                  <a:lnTo>
                    <a:pt x="36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42" y="330"/>
                  </a:lnTo>
                  <a:lnTo>
                    <a:pt x="30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30" y="306"/>
                  </a:lnTo>
                  <a:lnTo>
                    <a:pt x="30" y="300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6" y="306"/>
                  </a:lnTo>
                  <a:lnTo>
                    <a:pt x="66" y="300"/>
                  </a:lnTo>
                  <a:lnTo>
                    <a:pt x="66" y="294"/>
                  </a:lnTo>
                  <a:lnTo>
                    <a:pt x="66" y="288"/>
                  </a:lnTo>
                  <a:lnTo>
                    <a:pt x="66" y="282"/>
                  </a:lnTo>
                  <a:lnTo>
                    <a:pt x="66" y="276"/>
                  </a:lnTo>
                  <a:lnTo>
                    <a:pt x="72" y="276"/>
                  </a:lnTo>
                  <a:lnTo>
                    <a:pt x="78" y="276"/>
                  </a:lnTo>
                  <a:lnTo>
                    <a:pt x="84" y="282"/>
                  </a:lnTo>
                  <a:lnTo>
                    <a:pt x="84" y="288"/>
                  </a:lnTo>
                  <a:lnTo>
                    <a:pt x="90" y="288"/>
                  </a:lnTo>
                  <a:lnTo>
                    <a:pt x="90" y="294"/>
                  </a:lnTo>
                  <a:lnTo>
                    <a:pt x="96" y="294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2" y="306"/>
                  </a:lnTo>
                  <a:lnTo>
                    <a:pt x="138" y="306"/>
                  </a:lnTo>
                  <a:lnTo>
                    <a:pt x="144" y="306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50" y="288"/>
                  </a:lnTo>
                  <a:lnTo>
                    <a:pt x="156" y="288"/>
                  </a:lnTo>
                  <a:lnTo>
                    <a:pt x="156" y="282"/>
                  </a:lnTo>
                  <a:lnTo>
                    <a:pt x="162" y="276"/>
                  </a:lnTo>
                  <a:lnTo>
                    <a:pt x="162" y="270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2" y="258"/>
                  </a:lnTo>
                  <a:lnTo>
                    <a:pt x="168" y="252"/>
                  </a:lnTo>
                  <a:lnTo>
                    <a:pt x="162" y="252"/>
                  </a:lnTo>
                  <a:lnTo>
                    <a:pt x="168" y="246"/>
                  </a:lnTo>
                  <a:lnTo>
                    <a:pt x="162" y="234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16"/>
                  </a:lnTo>
                  <a:lnTo>
                    <a:pt x="162" y="210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50" y="198"/>
                  </a:lnTo>
                  <a:lnTo>
                    <a:pt x="144" y="198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38" y="186"/>
                  </a:lnTo>
                  <a:lnTo>
                    <a:pt x="138" y="180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44" y="156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0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6" y="114"/>
                  </a:lnTo>
                  <a:lnTo>
                    <a:pt x="150" y="114"/>
                  </a:lnTo>
                  <a:lnTo>
                    <a:pt x="144" y="114"/>
                  </a:lnTo>
                  <a:lnTo>
                    <a:pt x="138" y="114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0" y="114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08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08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62" y="72"/>
                  </a:lnTo>
                  <a:lnTo>
                    <a:pt x="162" y="78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90"/>
                  </a:lnTo>
                  <a:lnTo>
                    <a:pt x="210" y="84"/>
                  </a:lnTo>
                  <a:lnTo>
                    <a:pt x="210" y="90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22" y="84"/>
                  </a:lnTo>
                  <a:lnTo>
                    <a:pt x="222" y="90"/>
                  </a:lnTo>
                  <a:lnTo>
                    <a:pt x="228" y="90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46" y="96"/>
                  </a:lnTo>
                  <a:lnTo>
                    <a:pt x="246" y="90"/>
                  </a:lnTo>
                  <a:lnTo>
                    <a:pt x="246" y="84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64" y="42"/>
                  </a:lnTo>
                  <a:lnTo>
                    <a:pt x="264" y="36"/>
                  </a:lnTo>
                  <a:lnTo>
                    <a:pt x="270" y="30"/>
                  </a:lnTo>
                  <a:lnTo>
                    <a:pt x="264" y="30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0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12" y="0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30" y="0"/>
                  </a:lnTo>
                  <a:lnTo>
                    <a:pt x="330" y="6"/>
                  </a:lnTo>
                  <a:lnTo>
                    <a:pt x="336" y="6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0" y="42"/>
                  </a:lnTo>
                  <a:lnTo>
                    <a:pt x="360" y="48"/>
                  </a:lnTo>
                  <a:lnTo>
                    <a:pt x="354" y="54"/>
                  </a:lnTo>
                  <a:lnTo>
                    <a:pt x="354" y="60"/>
                  </a:lnTo>
                  <a:lnTo>
                    <a:pt x="348" y="66"/>
                  </a:lnTo>
                  <a:lnTo>
                    <a:pt x="348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2" y="108"/>
                  </a:lnTo>
                  <a:lnTo>
                    <a:pt x="342" y="114"/>
                  </a:lnTo>
                  <a:lnTo>
                    <a:pt x="336" y="114"/>
                  </a:lnTo>
                  <a:lnTo>
                    <a:pt x="336" y="120"/>
                  </a:lnTo>
                  <a:lnTo>
                    <a:pt x="336" y="126"/>
                  </a:lnTo>
                  <a:lnTo>
                    <a:pt x="336" y="132"/>
                  </a:lnTo>
                  <a:lnTo>
                    <a:pt x="330" y="132"/>
                  </a:lnTo>
                  <a:lnTo>
                    <a:pt x="330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36" y="162"/>
                  </a:lnTo>
                  <a:lnTo>
                    <a:pt x="336" y="168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30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30" y="204"/>
                  </a:lnTo>
                  <a:lnTo>
                    <a:pt x="324" y="210"/>
                  </a:lnTo>
                  <a:lnTo>
                    <a:pt x="324" y="216"/>
                  </a:lnTo>
                  <a:lnTo>
                    <a:pt x="318" y="216"/>
                  </a:lnTo>
                  <a:lnTo>
                    <a:pt x="318" y="222"/>
                  </a:lnTo>
                  <a:lnTo>
                    <a:pt x="312" y="228"/>
                  </a:lnTo>
                  <a:lnTo>
                    <a:pt x="306" y="234"/>
                  </a:lnTo>
                  <a:lnTo>
                    <a:pt x="300" y="234"/>
                  </a:lnTo>
                  <a:lnTo>
                    <a:pt x="294" y="234"/>
                  </a:lnTo>
                  <a:lnTo>
                    <a:pt x="294" y="240"/>
                  </a:lnTo>
                  <a:lnTo>
                    <a:pt x="288" y="240"/>
                  </a:lnTo>
                  <a:lnTo>
                    <a:pt x="288" y="246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70"/>
                  </a:lnTo>
                  <a:lnTo>
                    <a:pt x="270" y="276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52" y="312"/>
                  </a:lnTo>
                  <a:lnTo>
                    <a:pt x="252" y="318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6"/>
                  </a:lnTo>
                  <a:lnTo>
                    <a:pt x="252" y="342"/>
                  </a:lnTo>
                  <a:lnTo>
                    <a:pt x="252" y="348"/>
                  </a:lnTo>
                  <a:lnTo>
                    <a:pt x="252" y="354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0" y="372"/>
                  </a:lnTo>
                  <a:lnTo>
                    <a:pt x="240" y="378"/>
                  </a:lnTo>
                  <a:lnTo>
                    <a:pt x="234" y="378"/>
                  </a:lnTo>
                  <a:lnTo>
                    <a:pt x="228" y="384"/>
                  </a:lnTo>
                  <a:lnTo>
                    <a:pt x="222" y="384"/>
                  </a:lnTo>
                  <a:lnTo>
                    <a:pt x="216" y="384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0" y="396"/>
                  </a:lnTo>
                  <a:lnTo>
                    <a:pt x="204" y="396"/>
                  </a:lnTo>
                  <a:lnTo>
                    <a:pt x="198" y="402"/>
                  </a:lnTo>
                  <a:lnTo>
                    <a:pt x="198" y="408"/>
                  </a:lnTo>
                  <a:lnTo>
                    <a:pt x="192" y="408"/>
                  </a:lnTo>
                  <a:lnTo>
                    <a:pt x="192" y="414"/>
                  </a:lnTo>
                  <a:lnTo>
                    <a:pt x="186" y="414"/>
                  </a:lnTo>
                  <a:lnTo>
                    <a:pt x="186" y="420"/>
                  </a:lnTo>
                  <a:lnTo>
                    <a:pt x="186" y="426"/>
                  </a:lnTo>
                  <a:lnTo>
                    <a:pt x="180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62" y="420"/>
                  </a:lnTo>
                  <a:lnTo>
                    <a:pt x="162" y="414"/>
                  </a:lnTo>
                  <a:lnTo>
                    <a:pt x="156" y="414"/>
                  </a:lnTo>
                  <a:lnTo>
                    <a:pt x="156" y="408"/>
                  </a:lnTo>
                  <a:lnTo>
                    <a:pt x="162" y="408"/>
                  </a:lnTo>
                  <a:lnTo>
                    <a:pt x="162" y="402"/>
                  </a:lnTo>
                  <a:lnTo>
                    <a:pt x="168" y="402"/>
                  </a:lnTo>
                  <a:lnTo>
                    <a:pt x="162" y="402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02"/>
                  </a:lnTo>
                  <a:lnTo>
                    <a:pt x="126" y="402"/>
                  </a:lnTo>
                  <a:lnTo>
                    <a:pt x="126" y="408"/>
                  </a:lnTo>
                  <a:lnTo>
                    <a:pt x="126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20"/>
                  </a:lnTo>
                  <a:lnTo>
                    <a:pt x="102" y="414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90" y="408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60" y="420"/>
                  </a:lnTo>
                  <a:lnTo>
                    <a:pt x="54" y="420"/>
                  </a:lnTo>
                  <a:lnTo>
                    <a:pt x="48" y="426"/>
                  </a:lnTo>
                  <a:lnTo>
                    <a:pt x="42" y="432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30" y="420"/>
                  </a:lnTo>
                  <a:lnTo>
                    <a:pt x="36" y="420"/>
                  </a:lnTo>
                  <a:lnTo>
                    <a:pt x="30" y="414"/>
                  </a:lnTo>
                  <a:lnTo>
                    <a:pt x="30" y="408"/>
                  </a:lnTo>
                  <a:lnTo>
                    <a:pt x="24" y="408"/>
                  </a:lnTo>
                  <a:lnTo>
                    <a:pt x="30" y="408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12" y="390"/>
                  </a:lnTo>
                  <a:lnTo>
                    <a:pt x="6" y="384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rgbClr val="87CF27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6" name="Freeform 96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4051" y="1713"/>
              <a:ext cx="60" cy="49"/>
            </a:xfrm>
            <a:custGeom>
              <a:avLst/>
              <a:gdLst>
                <a:gd name="T0" fmla="*/ 4 w 96"/>
                <a:gd name="T1" fmla="*/ 0 h 72"/>
                <a:gd name="T2" fmla="*/ 4 w 96"/>
                <a:gd name="T3" fmla="*/ 1 h 72"/>
                <a:gd name="T4" fmla="*/ 5 w 96"/>
                <a:gd name="T5" fmla="*/ 1 h 72"/>
                <a:gd name="T6" fmla="*/ 5 w 96"/>
                <a:gd name="T7" fmla="*/ 2 h 72"/>
                <a:gd name="T8" fmla="*/ 6 w 96"/>
                <a:gd name="T9" fmla="*/ 2 h 72"/>
                <a:gd name="T10" fmla="*/ 6 w 96"/>
                <a:gd name="T11" fmla="*/ 1 h 72"/>
                <a:gd name="T12" fmla="*/ 6 w 96"/>
                <a:gd name="T13" fmla="*/ 2 h 72"/>
                <a:gd name="T14" fmla="*/ 6 w 96"/>
                <a:gd name="T15" fmla="*/ 2 h 72"/>
                <a:gd name="T16" fmla="*/ 14 w 96"/>
                <a:gd name="T17" fmla="*/ 2 h 72"/>
                <a:gd name="T18" fmla="*/ 14 w 96"/>
                <a:gd name="T19" fmla="*/ 1 h 72"/>
                <a:gd name="T20" fmla="*/ 15 w 96"/>
                <a:gd name="T21" fmla="*/ 2 h 72"/>
                <a:gd name="T22" fmla="*/ 15 w 96"/>
                <a:gd name="T23" fmla="*/ 14 h 72"/>
                <a:gd name="T24" fmla="*/ 14 w 96"/>
                <a:gd name="T25" fmla="*/ 14 h 72"/>
                <a:gd name="T26" fmla="*/ 13 w 96"/>
                <a:gd name="T27" fmla="*/ 14 h 72"/>
                <a:gd name="T28" fmla="*/ 5 w 96"/>
                <a:gd name="T29" fmla="*/ 14 h 72"/>
                <a:gd name="T30" fmla="*/ 5 w 96"/>
                <a:gd name="T31" fmla="*/ 15 h 72"/>
                <a:gd name="T32" fmla="*/ 4 w 96"/>
                <a:gd name="T33" fmla="*/ 14 h 72"/>
                <a:gd name="T34" fmla="*/ 3 w 96"/>
                <a:gd name="T35" fmla="*/ 14 h 72"/>
                <a:gd name="T36" fmla="*/ 2 w 96"/>
                <a:gd name="T37" fmla="*/ 14 h 72"/>
                <a:gd name="T38" fmla="*/ 2 w 96"/>
                <a:gd name="T39" fmla="*/ 13 h 72"/>
                <a:gd name="T40" fmla="*/ 1 w 96"/>
                <a:gd name="T41" fmla="*/ 13 h 72"/>
                <a:gd name="T42" fmla="*/ 0 w 96"/>
                <a:gd name="T43" fmla="*/ 13 h 72"/>
                <a:gd name="T44" fmla="*/ 0 w 96"/>
                <a:gd name="T45" fmla="*/ 12 h 72"/>
                <a:gd name="T46" fmla="*/ 1 w 96"/>
                <a:gd name="T47" fmla="*/ 12 h 72"/>
                <a:gd name="T48" fmla="*/ 1 w 96"/>
                <a:gd name="T49" fmla="*/ 10 h 72"/>
                <a:gd name="T50" fmla="*/ 2 w 96"/>
                <a:gd name="T51" fmla="*/ 10 h 72"/>
                <a:gd name="T52" fmla="*/ 2 w 96"/>
                <a:gd name="T53" fmla="*/ 10 h 72"/>
                <a:gd name="T54" fmla="*/ 2 w 96"/>
                <a:gd name="T55" fmla="*/ 10 h 72"/>
                <a:gd name="T56" fmla="*/ 2 w 96"/>
                <a:gd name="T57" fmla="*/ 8 h 72"/>
                <a:gd name="T58" fmla="*/ 3 w 96"/>
                <a:gd name="T59" fmla="*/ 7 h 72"/>
                <a:gd name="T60" fmla="*/ 3 w 96"/>
                <a:gd name="T61" fmla="*/ 5 h 72"/>
                <a:gd name="T62" fmla="*/ 4 w 96"/>
                <a:gd name="T63" fmla="*/ 5 h 72"/>
                <a:gd name="T64" fmla="*/ 3 w 96"/>
                <a:gd name="T65" fmla="*/ 2 h 72"/>
                <a:gd name="T66" fmla="*/ 4 w 96"/>
                <a:gd name="T67" fmla="*/ 2 h 72"/>
                <a:gd name="T68" fmla="*/ 4 w 96"/>
                <a:gd name="T69" fmla="*/ 1 h 72"/>
                <a:gd name="T70" fmla="*/ 4 w 96"/>
                <a:gd name="T71" fmla="*/ 0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6" h="72">
                  <a:moveTo>
                    <a:pt x="24" y="0"/>
                  </a:moveTo>
                  <a:lnTo>
                    <a:pt x="24" y="6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87CF27">
                <a:alpha val="65881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7" name="Freeform 97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4433" y="1047"/>
              <a:ext cx="518" cy="635"/>
            </a:xfrm>
            <a:custGeom>
              <a:avLst/>
              <a:gdLst>
                <a:gd name="T0" fmla="*/ 71 w 834"/>
                <a:gd name="T1" fmla="*/ 10 h 978"/>
                <a:gd name="T2" fmla="*/ 102 w 834"/>
                <a:gd name="T3" fmla="*/ 0 h 978"/>
                <a:gd name="T4" fmla="*/ 103 w 834"/>
                <a:gd name="T5" fmla="*/ 3 h 978"/>
                <a:gd name="T6" fmla="*/ 109 w 834"/>
                <a:gd name="T7" fmla="*/ 8 h 978"/>
                <a:gd name="T8" fmla="*/ 111 w 834"/>
                <a:gd name="T9" fmla="*/ 15 h 978"/>
                <a:gd name="T10" fmla="*/ 114 w 834"/>
                <a:gd name="T11" fmla="*/ 18 h 978"/>
                <a:gd name="T12" fmla="*/ 114 w 834"/>
                <a:gd name="T13" fmla="*/ 23 h 978"/>
                <a:gd name="T14" fmla="*/ 114 w 834"/>
                <a:gd name="T15" fmla="*/ 28 h 978"/>
                <a:gd name="T16" fmla="*/ 116 w 834"/>
                <a:gd name="T17" fmla="*/ 34 h 978"/>
                <a:gd name="T18" fmla="*/ 116 w 834"/>
                <a:gd name="T19" fmla="*/ 39 h 978"/>
                <a:gd name="T20" fmla="*/ 120 w 834"/>
                <a:gd name="T21" fmla="*/ 42 h 978"/>
                <a:gd name="T22" fmla="*/ 122 w 834"/>
                <a:gd name="T23" fmla="*/ 44 h 978"/>
                <a:gd name="T24" fmla="*/ 120 w 834"/>
                <a:gd name="T25" fmla="*/ 49 h 978"/>
                <a:gd name="T26" fmla="*/ 116 w 834"/>
                <a:gd name="T27" fmla="*/ 53 h 978"/>
                <a:gd name="T28" fmla="*/ 111 w 834"/>
                <a:gd name="T29" fmla="*/ 57 h 978"/>
                <a:gd name="T30" fmla="*/ 111 w 834"/>
                <a:gd name="T31" fmla="*/ 64 h 978"/>
                <a:gd name="T32" fmla="*/ 109 w 834"/>
                <a:gd name="T33" fmla="*/ 74 h 978"/>
                <a:gd name="T34" fmla="*/ 108 w 834"/>
                <a:gd name="T35" fmla="*/ 83 h 978"/>
                <a:gd name="T36" fmla="*/ 106 w 834"/>
                <a:gd name="T37" fmla="*/ 92 h 978"/>
                <a:gd name="T38" fmla="*/ 100 w 834"/>
                <a:gd name="T39" fmla="*/ 98 h 978"/>
                <a:gd name="T40" fmla="*/ 98 w 834"/>
                <a:gd name="T41" fmla="*/ 108 h 978"/>
                <a:gd name="T42" fmla="*/ 93 w 834"/>
                <a:gd name="T43" fmla="*/ 110 h 978"/>
                <a:gd name="T44" fmla="*/ 92 w 834"/>
                <a:gd name="T45" fmla="*/ 118 h 978"/>
                <a:gd name="T46" fmla="*/ 89 w 834"/>
                <a:gd name="T47" fmla="*/ 129 h 978"/>
                <a:gd name="T48" fmla="*/ 84 w 834"/>
                <a:gd name="T49" fmla="*/ 130 h 978"/>
                <a:gd name="T50" fmla="*/ 83 w 834"/>
                <a:gd name="T51" fmla="*/ 135 h 978"/>
                <a:gd name="T52" fmla="*/ 88 w 834"/>
                <a:gd name="T53" fmla="*/ 136 h 978"/>
                <a:gd name="T54" fmla="*/ 92 w 834"/>
                <a:gd name="T55" fmla="*/ 142 h 978"/>
                <a:gd name="T56" fmla="*/ 96 w 834"/>
                <a:gd name="T57" fmla="*/ 145 h 978"/>
                <a:gd name="T58" fmla="*/ 98 w 834"/>
                <a:gd name="T59" fmla="*/ 151 h 978"/>
                <a:gd name="T60" fmla="*/ 103 w 834"/>
                <a:gd name="T61" fmla="*/ 158 h 978"/>
                <a:gd name="T62" fmla="*/ 101 w 834"/>
                <a:gd name="T63" fmla="*/ 163 h 978"/>
                <a:gd name="T64" fmla="*/ 94 w 834"/>
                <a:gd name="T65" fmla="*/ 162 h 978"/>
                <a:gd name="T66" fmla="*/ 82 w 834"/>
                <a:gd name="T67" fmla="*/ 171 h 978"/>
                <a:gd name="T68" fmla="*/ 73 w 834"/>
                <a:gd name="T69" fmla="*/ 171 h 978"/>
                <a:gd name="T70" fmla="*/ 66 w 834"/>
                <a:gd name="T71" fmla="*/ 173 h 978"/>
                <a:gd name="T72" fmla="*/ 64 w 834"/>
                <a:gd name="T73" fmla="*/ 169 h 978"/>
                <a:gd name="T74" fmla="*/ 60 w 834"/>
                <a:gd name="T75" fmla="*/ 164 h 978"/>
                <a:gd name="T76" fmla="*/ 55 w 834"/>
                <a:gd name="T77" fmla="*/ 166 h 978"/>
                <a:gd name="T78" fmla="*/ 52 w 834"/>
                <a:gd name="T79" fmla="*/ 166 h 978"/>
                <a:gd name="T80" fmla="*/ 47 w 834"/>
                <a:gd name="T81" fmla="*/ 166 h 978"/>
                <a:gd name="T82" fmla="*/ 44 w 834"/>
                <a:gd name="T83" fmla="*/ 162 h 978"/>
                <a:gd name="T84" fmla="*/ 40 w 834"/>
                <a:gd name="T85" fmla="*/ 155 h 978"/>
                <a:gd name="T86" fmla="*/ 35 w 834"/>
                <a:gd name="T87" fmla="*/ 150 h 978"/>
                <a:gd name="T88" fmla="*/ 32 w 834"/>
                <a:gd name="T89" fmla="*/ 144 h 978"/>
                <a:gd name="T90" fmla="*/ 28 w 834"/>
                <a:gd name="T91" fmla="*/ 141 h 978"/>
                <a:gd name="T92" fmla="*/ 25 w 834"/>
                <a:gd name="T93" fmla="*/ 134 h 978"/>
                <a:gd name="T94" fmla="*/ 20 w 834"/>
                <a:gd name="T95" fmla="*/ 131 h 978"/>
                <a:gd name="T96" fmla="*/ 17 w 834"/>
                <a:gd name="T97" fmla="*/ 128 h 978"/>
                <a:gd name="T98" fmla="*/ 12 w 834"/>
                <a:gd name="T99" fmla="*/ 125 h 978"/>
                <a:gd name="T100" fmla="*/ 14 w 834"/>
                <a:gd name="T101" fmla="*/ 118 h 978"/>
                <a:gd name="T102" fmla="*/ 9 w 834"/>
                <a:gd name="T103" fmla="*/ 106 h 978"/>
                <a:gd name="T104" fmla="*/ 6 w 834"/>
                <a:gd name="T105" fmla="*/ 97 h 978"/>
                <a:gd name="T106" fmla="*/ 1 w 834"/>
                <a:gd name="T107" fmla="*/ 93 h 978"/>
                <a:gd name="T108" fmla="*/ 2 w 834"/>
                <a:gd name="T109" fmla="*/ 87 h 978"/>
                <a:gd name="T110" fmla="*/ 4 w 834"/>
                <a:gd name="T111" fmla="*/ 80 h 978"/>
                <a:gd name="T112" fmla="*/ 6 w 834"/>
                <a:gd name="T113" fmla="*/ 75 h 978"/>
                <a:gd name="T114" fmla="*/ 9 w 834"/>
                <a:gd name="T115" fmla="*/ 70 h 978"/>
                <a:gd name="T116" fmla="*/ 11 w 834"/>
                <a:gd name="T117" fmla="*/ 66 h 978"/>
                <a:gd name="T118" fmla="*/ 16 w 834"/>
                <a:gd name="T119" fmla="*/ 32 h 9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34" h="978">
                  <a:moveTo>
                    <a:pt x="108" y="180"/>
                  </a:moveTo>
                  <a:lnTo>
                    <a:pt x="108" y="156"/>
                  </a:lnTo>
                  <a:lnTo>
                    <a:pt x="162" y="156"/>
                  </a:lnTo>
                  <a:lnTo>
                    <a:pt x="162" y="54"/>
                  </a:lnTo>
                  <a:lnTo>
                    <a:pt x="168" y="54"/>
                  </a:lnTo>
                  <a:lnTo>
                    <a:pt x="234" y="54"/>
                  </a:lnTo>
                  <a:lnTo>
                    <a:pt x="474" y="54"/>
                  </a:lnTo>
                  <a:lnTo>
                    <a:pt x="474" y="48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504" y="54"/>
                  </a:lnTo>
                  <a:lnTo>
                    <a:pt x="510" y="54"/>
                  </a:lnTo>
                  <a:lnTo>
                    <a:pt x="564" y="54"/>
                  </a:lnTo>
                  <a:lnTo>
                    <a:pt x="582" y="72"/>
                  </a:lnTo>
                  <a:lnTo>
                    <a:pt x="606" y="66"/>
                  </a:lnTo>
                  <a:lnTo>
                    <a:pt x="612" y="48"/>
                  </a:lnTo>
                  <a:lnTo>
                    <a:pt x="642" y="42"/>
                  </a:lnTo>
                  <a:lnTo>
                    <a:pt x="654" y="12"/>
                  </a:lnTo>
                  <a:lnTo>
                    <a:pt x="666" y="18"/>
                  </a:lnTo>
                  <a:lnTo>
                    <a:pt x="690" y="0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702" y="18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14" y="24"/>
                  </a:lnTo>
                  <a:lnTo>
                    <a:pt x="720" y="24"/>
                  </a:lnTo>
                  <a:lnTo>
                    <a:pt x="720" y="30"/>
                  </a:lnTo>
                  <a:lnTo>
                    <a:pt x="726" y="36"/>
                  </a:lnTo>
                  <a:lnTo>
                    <a:pt x="732" y="42"/>
                  </a:lnTo>
                  <a:lnTo>
                    <a:pt x="738" y="42"/>
                  </a:lnTo>
                  <a:lnTo>
                    <a:pt x="738" y="48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50" y="54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0" y="72"/>
                  </a:lnTo>
                  <a:lnTo>
                    <a:pt x="750" y="78"/>
                  </a:lnTo>
                  <a:lnTo>
                    <a:pt x="756" y="78"/>
                  </a:lnTo>
                  <a:lnTo>
                    <a:pt x="756" y="84"/>
                  </a:lnTo>
                  <a:lnTo>
                    <a:pt x="750" y="84"/>
                  </a:lnTo>
                  <a:lnTo>
                    <a:pt x="756" y="84"/>
                  </a:lnTo>
                  <a:lnTo>
                    <a:pt x="756" y="90"/>
                  </a:lnTo>
                  <a:lnTo>
                    <a:pt x="762" y="90"/>
                  </a:lnTo>
                  <a:lnTo>
                    <a:pt x="762" y="96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74" y="102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68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108"/>
                  </a:lnTo>
                  <a:lnTo>
                    <a:pt x="762" y="114"/>
                  </a:lnTo>
                  <a:lnTo>
                    <a:pt x="762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44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50"/>
                  </a:lnTo>
                  <a:lnTo>
                    <a:pt x="762" y="156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74" y="186"/>
                  </a:lnTo>
                  <a:lnTo>
                    <a:pt x="768" y="192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74" y="204"/>
                  </a:lnTo>
                  <a:lnTo>
                    <a:pt x="774" y="210"/>
                  </a:lnTo>
                  <a:lnTo>
                    <a:pt x="780" y="216"/>
                  </a:lnTo>
                  <a:lnTo>
                    <a:pt x="774" y="210"/>
                  </a:lnTo>
                  <a:lnTo>
                    <a:pt x="780" y="210"/>
                  </a:lnTo>
                  <a:lnTo>
                    <a:pt x="774" y="210"/>
                  </a:lnTo>
                  <a:lnTo>
                    <a:pt x="774" y="216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22"/>
                  </a:lnTo>
                  <a:lnTo>
                    <a:pt x="798" y="222"/>
                  </a:lnTo>
                  <a:lnTo>
                    <a:pt x="798" y="228"/>
                  </a:lnTo>
                  <a:lnTo>
                    <a:pt x="804" y="228"/>
                  </a:lnTo>
                  <a:lnTo>
                    <a:pt x="804" y="234"/>
                  </a:lnTo>
                  <a:lnTo>
                    <a:pt x="810" y="234"/>
                  </a:lnTo>
                  <a:lnTo>
                    <a:pt x="810" y="240"/>
                  </a:lnTo>
                  <a:lnTo>
                    <a:pt x="810" y="246"/>
                  </a:lnTo>
                  <a:lnTo>
                    <a:pt x="816" y="246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34" y="258"/>
                  </a:lnTo>
                  <a:lnTo>
                    <a:pt x="828" y="258"/>
                  </a:lnTo>
                  <a:lnTo>
                    <a:pt x="822" y="270"/>
                  </a:lnTo>
                  <a:lnTo>
                    <a:pt x="822" y="276"/>
                  </a:lnTo>
                  <a:lnTo>
                    <a:pt x="816" y="276"/>
                  </a:lnTo>
                  <a:lnTo>
                    <a:pt x="810" y="276"/>
                  </a:lnTo>
                  <a:lnTo>
                    <a:pt x="810" y="282"/>
                  </a:lnTo>
                  <a:lnTo>
                    <a:pt x="810" y="276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2"/>
                  </a:lnTo>
                  <a:lnTo>
                    <a:pt x="792" y="282"/>
                  </a:lnTo>
                  <a:lnTo>
                    <a:pt x="792" y="288"/>
                  </a:lnTo>
                  <a:lnTo>
                    <a:pt x="786" y="288"/>
                  </a:lnTo>
                  <a:lnTo>
                    <a:pt x="780" y="288"/>
                  </a:lnTo>
                  <a:lnTo>
                    <a:pt x="780" y="294"/>
                  </a:lnTo>
                  <a:lnTo>
                    <a:pt x="780" y="300"/>
                  </a:lnTo>
                  <a:lnTo>
                    <a:pt x="774" y="300"/>
                  </a:lnTo>
                  <a:lnTo>
                    <a:pt x="768" y="300"/>
                  </a:lnTo>
                  <a:lnTo>
                    <a:pt x="762" y="300"/>
                  </a:lnTo>
                  <a:lnTo>
                    <a:pt x="756" y="300"/>
                  </a:lnTo>
                  <a:lnTo>
                    <a:pt x="756" y="306"/>
                  </a:lnTo>
                  <a:lnTo>
                    <a:pt x="756" y="312"/>
                  </a:lnTo>
                  <a:lnTo>
                    <a:pt x="756" y="318"/>
                  </a:lnTo>
                  <a:lnTo>
                    <a:pt x="750" y="318"/>
                  </a:lnTo>
                  <a:lnTo>
                    <a:pt x="750" y="324"/>
                  </a:lnTo>
                  <a:lnTo>
                    <a:pt x="750" y="330"/>
                  </a:lnTo>
                  <a:lnTo>
                    <a:pt x="756" y="330"/>
                  </a:lnTo>
                  <a:lnTo>
                    <a:pt x="756" y="336"/>
                  </a:lnTo>
                  <a:lnTo>
                    <a:pt x="750" y="336"/>
                  </a:lnTo>
                  <a:lnTo>
                    <a:pt x="750" y="342"/>
                  </a:lnTo>
                  <a:lnTo>
                    <a:pt x="756" y="342"/>
                  </a:lnTo>
                  <a:lnTo>
                    <a:pt x="750" y="342"/>
                  </a:lnTo>
                  <a:lnTo>
                    <a:pt x="750" y="348"/>
                  </a:lnTo>
                  <a:lnTo>
                    <a:pt x="744" y="354"/>
                  </a:lnTo>
                  <a:lnTo>
                    <a:pt x="744" y="360"/>
                  </a:lnTo>
                  <a:lnTo>
                    <a:pt x="744" y="366"/>
                  </a:lnTo>
                  <a:lnTo>
                    <a:pt x="738" y="366"/>
                  </a:lnTo>
                  <a:lnTo>
                    <a:pt x="738" y="378"/>
                  </a:lnTo>
                  <a:lnTo>
                    <a:pt x="738" y="384"/>
                  </a:lnTo>
                  <a:lnTo>
                    <a:pt x="732" y="390"/>
                  </a:lnTo>
                  <a:lnTo>
                    <a:pt x="732" y="396"/>
                  </a:lnTo>
                  <a:lnTo>
                    <a:pt x="726" y="396"/>
                  </a:lnTo>
                  <a:lnTo>
                    <a:pt x="726" y="402"/>
                  </a:lnTo>
                  <a:lnTo>
                    <a:pt x="732" y="408"/>
                  </a:lnTo>
                  <a:lnTo>
                    <a:pt x="732" y="414"/>
                  </a:lnTo>
                  <a:lnTo>
                    <a:pt x="732" y="426"/>
                  </a:lnTo>
                  <a:lnTo>
                    <a:pt x="732" y="432"/>
                  </a:lnTo>
                  <a:lnTo>
                    <a:pt x="732" y="438"/>
                  </a:lnTo>
                  <a:lnTo>
                    <a:pt x="732" y="444"/>
                  </a:lnTo>
                  <a:lnTo>
                    <a:pt x="732" y="450"/>
                  </a:lnTo>
                  <a:lnTo>
                    <a:pt x="732" y="456"/>
                  </a:lnTo>
                  <a:lnTo>
                    <a:pt x="726" y="456"/>
                  </a:lnTo>
                  <a:lnTo>
                    <a:pt x="732" y="456"/>
                  </a:lnTo>
                  <a:lnTo>
                    <a:pt x="732" y="462"/>
                  </a:lnTo>
                  <a:lnTo>
                    <a:pt x="726" y="468"/>
                  </a:lnTo>
                  <a:lnTo>
                    <a:pt x="726" y="474"/>
                  </a:lnTo>
                  <a:lnTo>
                    <a:pt x="726" y="480"/>
                  </a:lnTo>
                  <a:lnTo>
                    <a:pt x="720" y="480"/>
                  </a:lnTo>
                  <a:lnTo>
                    <a:pt x="720" y="486"/>
                  </a:lnTo>
                  <a:lnTo>
                    <a:pt x="720" y="492"/>
                  </a:lnTo>
                  <a:lnTo>
                    <a:pt x="714" y="504"/>
                  </a:lnTo>
                  <a:lnTo>
                    <a:pt x="714" y="510"/>
                  </a:lnTo>
                  <a:lnTo>
                    <a:pt x="714" y="516"/>
                  </a:lnTo>
                  <a:lnTo>
                    <a:pt x="714" y="522"/>
                  </a:lnTo>
                  <a:lnTo>
                    <a:pt x="714" y="516"/>
                  </a:lnTo>
                  <a:lnTo>
                    <a:pt x="708" y="516"/>
                  </a:lnTo>
                  <a:lnTo>
                    <a:pt x="702" y="516"/>
                  </a:lnTo>
                  <a:lnTo>
                    <a:pt x="696" y="522"/>
                  </a:lnTo>
                  <a:lnTo>
                    <a:pt x="690" y="522"/>
                  </a:lnTo>
                  <a:lnTo>
                    <a:pt x="684" y="528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72" y="546"/>
                  </a:lnTo>
                  <a:lnTo>
                    <a:pt x="672" y="552"/>
                  </a:lnTo>
                  <a:lnTo>
                    <a:pt x="672" y="558"/>
                  </a:lnTo>
                  <a:lnTo>
                    <a:pt x="666" y="558"/>
                  </a:lnTo>
                  <a:lnTo>
                    <a:pt x="660" y="564"/>
                  </a:lnTo>
                  <a:lnTo>
                    <a:pt x="660" y="570"/>
                  </a:lnTo>
                  <a:lnTo>
                    <a:pt x="660" y="576"/>
                  </a:lnTo>
                  <a:lnTo>
                    <a:pt x="660" y="582"/>
                  </a:lnTo>
                  <a:lnTo>
                    <a:pt x="654" y="588"/>
                  </a:lnTo>
                  <a:lnTo>
                    <a:pt x="654" y="594"/>
                  </a:lnTo>
                  <a:lnTo>
                    <a:pt x="654" y="600"/>
                  </a:lnTo>
                  <a:lnTo>
                    <a:pt x="654" y="606"/>
                  </a:lnTo>
                  <a:lnTo>
                    <a:pt x="654" y="612"/>
                  </a:lnTo>
                  <a:lnTo>
                    <a:pt x="648" y="612"/>
                  </a:lnTo>
                  <a:lnTo>
                    <a:pt x="648" y="618"/>
                  </a:lnTo>
                  <a:lnTo>
                    <a:pt x="648" y="612"/>
                  </a:lnTo>
                  <a:lnTo>
                    <a:pt x="642" y="612"/>
                  </a:lnTo>
                  <a:lnTo>
                    <a:pt x="636" y="606"/>
                  </a:lnTo>
                  <a:lnTo>
                    <a:pt x="636" y="612"/>
                  </a:lnTo>
                  <a:lnTo>
                    <a:pt x="630" y="612"/>
                  </a:lnTo>
                  <a:lnTo>
                    <a:pt x="630" y="618"/>
                  </a:lnTo>
                  <a:lnTo>
                    <a:pt x="624" y="618"/>
                  </a:lnTo>
                  <a:lnTo>
                    <a:pt x="624" y="624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24" y="636"/>
                  </a:lnTo>
                  <a:lnTo>
                    <a:pt x="624" y="642"/>
                  </a:lnTo>
                  <a:lnTo>
                    <a:pt x="624" y="648"/>
                  </a:lnTo>
                  <a:lnTo>
                    <a:pt x="618" y="648"/>
                  </a:lnTo>
                  <a:lnTo>
                    <a:pt x="618" y="654"/>
                  </a:lnTo>
                  <a:lnTo>
                    <a:pt x="618" y="660"/>
                  </a:lnTo>
                  <a:lnTo>
                    <a:pt x="612" y="666"/>
                  </a:lnTo>
                  <a:lnTo>
                    <a:pt x="612" y="672"/>
                  </a:lnTo>
                  <a:lnTo>
                    <a:pt x="612" y="678"/>
                  </a:lnTo>
                  <a:lnTo>
                    <a:pt x="612" y="690"/>
                  </a:lnTo>
                  <a:lnTo>
                    <a:pt x="612" y="702"/>
                  </a:lnTo>
                  <a:lnTo>
                    <a:pt x="612" y="714"/>
                  </a:lnTo>
                  <a:lnTo>
                    <a:pt x="612" y="720"/>
                  </a:lnTo>
                  <a:lnTo>
                    <a:pt x="612" y="726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600" y="732"/>
                  </a:lnTo>
                  <a:lnTo>
                    <a:pt x="594" y="732"/>
                  </a:lnTo>
                  <a:lnTo>
                    <a:pt x="588" y="732"/>
                  </a:lnTo>
                  <a:lnTo>
                    <a:pt x="588" y="726"/>
                  </a:lnTo>
                  <a:lnTo>
                    <a:pt x="588" y="732"/>
                  </a:lnTo>
                  <a:lnTo>
                    <a:pt x="582" y="726"/>
                  </a:lnTo>
                  <a:lnTo>
                    <a:pt x="582" y="732"/>
                  </a:lnTo>
                  <a:lnTo>
                    <a:pt x="576" y="732"/>
                  </a:lnTo>
                  <a:lnTo>
                    <a:pt x="570" y="732"/>
                  </a:lnTo>
                  <a:lnTo>
                    <a:pt x="564" y="732"/>
                  </a:lnTo>
                  <a:lnTo>
                    <a:pt x="570" y="732"/>
                  </a:lnTo>
                  <a:lnTo>
                    <a:pt x="570" y="738"/>
                  </a:lnTo>
                  <a:lnTo>
                    <a:pt x="564" y="738"/>
                  </a:lnTo>
                  <a:lnTo>
                    <a:pt x="564" y="744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58" y="756"/>
                  </a:lnTo>
                  <a:lnTo>
                    <a:pt x="558" y="762"/>
                  </a:lnTo>
                  <a:lnTo>
                    <a:pt x="564" y="762"/>
                  </a:lnTo>
                  <a:lnTo>
                    <a:pt x="570" y="762"/>
                  </a:lnTo>
                  <a:lnTo>
                    <a:pt x="570" y="768"/>
                  </a:lnTo>
                  <a:lnTo>
                    <a:pt x="576" y="768"/>
                  </a:lnTo>
                  <a:lnTo>
                    <a:pt x="576" y="762"/>
                  </a:lnTo>
                  <a:lnTo>
                    <a:pt x="582" y="768"/>
                  </a:lnTo>
                  <a:lnTo>
                    <a:pt x="582" y="762"/>
                  </a:lnTo>
                  <a:lnTo>
                    <a:pt x="582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600" y="774"/>
                  </a:lnTo>
                  <a:lnTo>
                    <a:pt x="606" y="774"/>
                  </a:lnTo>
                  <a:lnTo>
                    <a:pt x="606" y="780"/>
                  </a:lnTo>
                  <a:lnTo>
                    <a:pt x="606" y="786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8" y="798"/>
                  </a:lnTo>
                  <a:lnTo>
                    <a:pt x="618" y="804"/>
                  </a:lnTo>
                  <a:lnTo>
                    <a:pt x="624" y="804"/>
                  </a:lnTo>
                  <a:lnTo>
                    <a:pt x="630" y="804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6"/>
                  </a:lnTo>
                  <a:lnTo>
                    <a:pt x="636" y="816"/>
                  </a:lnTo>
                  <a:lnTo>
                    <a:pt x="642" y="816"/>
                  </a:lnTo>
                  <a:lnTo>
                    <a:pt x="642" y="822"/>
                  </a:lnTo>
                  <a:lnTo>
                    <a:pt x="648" y="822"/>
                  </a:lnTo>
                  <a:lnTo>
                    <a:pt x="654" y="822"/>
                  </a:lnTo>
                  <a:lnTo>
                    <a:pt x="654" y="828"/>
                  </a:lnTo>
                  <a:lnTo>
                    <a:pt x="660" y="828"/>
                  </a:lnTo>
                  <a:lnTo>
                    <a:pt x="654" y="828"/>
                  </a:lnTo>
                  <a:lnTo>
                    <a:pt x="654" y="834"/>
                  </a:lnTo>
                  <a:lnTo>
                    <a:pt x="654" y="840"/>
                  </a:lnTo>
                  <a:lnTo>
                    <a:pt x="654" y="846"/>
                  </a:lnTo>
                  <a:lnTo>
                    <a:pt x="654" y="852"/>
                  </a:lnTo>
                  <a:lnTo>
                    <a:pt x="654" y="858"/>
                  </a:lnTo>
                  <a:lnTo>
                    <a:pt x="660" y="864"/>
                  </a:lnTo>
                  <a:lnTo>
                    <a:pt x="660" y="870"/>
                  </a:lnTo>
                  <a:lnTo>
                    <a:pt x="672" y="876"/>
                  </a:lnTo>
                  <a:lnTo>
                    <a:pt x="672" y="882"/>
                  </a:lnTo>
                  <a:lnTo>
                    <a:pt x="678" y="882"/>
                  </a:lnTo>
                  <a:lnTo>
                    <a:pt x="684" y="882"/>
                  </a:lnTo>
                  <a:lnTo>
                    <a:pt x="690" y="882"/>
                  </a:lnTo>
                  <a:lnTo>
                    <a:pt x="696" y="882"/>
                  </a:lnTo>
                  <a:lnTo>
                    <a:pt x="696" y="888"/>
                  </a:lnTo>
                  <a:lnTo>
                    <a:pt x="702" y="888"/>
                  </a:lnTo>
                  <a:lnTo>
                    <a:pt x="696" y="888"/>
                  </a:lnTo>
                  <a:lnTo>
                    <a:pt x="696" y="894"/>
                  </a:lnTo>
                  <a:lnTo>
                    <a:pt x="702" y="894"/>
                  </a:lnTo>
                  <a:lnTo>
                    <a:pt x="696" y="894"/>
                  </a:lnTo>
                  <a:lnTo>
                    <a:pt x="696" y="912"/>
                  </a:lnTo>
                  <a:lnTo>
                    <a:pt x="702" y="918"/>
                  </a:lnTo>
                  <a:lnTo>
                    <a:pt x="690" y="918"/>
                  </a:lnTo>
                  <a:lnTo>
                    <a:pt x="684" y="918"/>
                  </a:lnTo>
                  <a:lnTo>
                    <a:pt x="678" y="918"/>
                  </a:lnTo>
                  <a:lnTo>
                    <a:pt x="678" y="912"/>
                  </a:lnTo>
                  <a:lnTo>
                    <a:pt x="678" y="906"/>
                  </a:lnTo>
                  <a:lnTo>
                    <a:pt x="672" y="906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60" y="900"/>
                  </a:lnTo>
                  <a:lnTo>
                    <a:pt x="654" y="906"/>
                  </a:lnTo>
                  <a:lnTo>
                    <a:pt x="648" y="906"/>
                  </a:lnTo>
                  <a:lnTo>
                    <a:pt x="642" y="912"/>
                  </a:lnTo>
                  <a:lnTo>
                    <a:pt x="636" y="912"/>
                  </a:lnTo>
                  <a:lnTo>
                    <a:pt x="630" y="912"/>
                  </a:lnTo>
                  <a:lnTo>
                    <a:pt x="624" y="918"/>
                  </a:lnTo>
                  <a:lnTo>
                    <a:pt x="618" y="924"/>
                  </a:lnTo>
                  <a:lnTo>
                    <a:pt x="606" y="936"/>
                  </a:lnTo>
                  <a:lnTo>
                    <a:pt x="606" y="942"/>
                  </a:lnTo>
                  <a:lnTo>
                    <a:pt x="594" y="948"/>
                  </a:lnTo>
                  <a:lnTo>
                    <a:pt x="582" y="966"/>
                  </a:lnTo>
                  <a:lnTo>
                    <a:pt x="564" y="960"/>
                  </a:lnTo>
                  <a:lnTo>
                    <a:pt x="558" y="954"/>
                  </a:lnTo>
                  <a:lnTo>
                    <a:pt x="552" y="960"/>
                  </a:lnTo>
                  <a:lnTo>
                    <a:pt x="540" y="960"/>
                  </a:lnTo>
                  <a:lnTo>
                    <a:pt x="528" y="966"/>
                  </a:lnTo>
                  <a:lnTo>
                    <a:pt x="516" y="972"/>
                  </a:lnTo>
                  <a:lnTo>
                    <a:pt x="510" y="972"/>
                  </a:lnTo>
                  <a:lnTo>
                    <a:pt x="504" y="972"/>
                  </a:lnTo>
                  <a:lnTo>
                    <a:pt x="504" y="966"/>
                  </a:lnTo>
                  <a:lnTo>
                    <a:pt x="504" y="960"/>
                  </a:lnTo>
                  <a:lnTo>
                    <a:pt x="498" y="960"/>
                  </a:lnTo>
                  <a:lnTo>
                    <a:pt x="492" y="960"/>
                  </a:lnTo>
                  <a:lnTo>
                    <a:pt x="492" y="966"/>
                  </a:lnTo>
                  <a:lnTo>
                    <a:pt x="486" y="966"/>
                  </a:lnTo>
                  <a:lnTo>
                    <a:pt x="474" y="960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62" y="966"/>
                  </a:lnTo>
                  <a:lnTo>
                    <a:pt x="456" y="966"/>
                  </a:lnTo>
                  <a:lnTo>
                    <a:pt x="456" y="972"/>
                  </a:lnTo>
                  <a:lnTo>
                    <a:pt x="450" y="972"/>
                  </a:lnTo>
                  <a:lnTo>
                    <a:pt x="450" y="978"/>
                  </a:lnTo>
                  <a:lnTo>
                    <a:pt x="450" y="972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38" y="966"/>
                  </a:lnTo>
                  <a:lnTo>
                    <a:pt x="438" y="972"/>
                  </a:lnTo>
                  <a:lnTo>
                    <a:pt x="438" y="966"/>
                  </a:lnTo>
                  <a:lnTo>
                    <a:pt x="438" y="960"/>
                  </a:lnTo>
                  <a:lnTo>
                    <a:pt x="432" y="960"/>
                  </a:lnTo>
                  <a:lnTo>
                    <a:pt x="432" y="954"/>
                  </a:lnTo>
                  <a:lnTo>
                    <a:pt x="426" y="954"/>
                  </a:lnTo>
                  <a:lnTo>
                    <a:pt x="420" y="954"/>
                  </a:lnTo>
                  <a:lnTo>
                    <a:pt x="420" y="948"/>
                  </a:lnTo>
                  <a:lnTo>
                    <a:pt x="414" y="948"/>
                  </a:lnTo>
                  <a:lnTo>
                    <a:pt x="408" y="942"/>
                  </a:lnTo>
                  <a:lnTo>
                    <a:pt x="408" y="936"/>
                  </a:lnTo>
                  <a:lnTo>
                    <a:pt x="402" y="936"/>
                  </a:lnTo>
                  <a:lnTo>
                    <a:pt x="396" y="930"/>
                  </a:lnTo>
                  <a:lnTo>
                    <a:pt x="396" y="924"/>
                  </a:lnTo>
                  <a:lnTo>
                    <a:pt x="402" y="924"/>
                  </a:lnTo>
                  <a:lnTo>
                    <a:pt x="396" y="924"/>
                  </a:lnTo>
                  <a:lnTo>
                    <a:pt x="396" y="918"/>
                  </a:lnTo>
                  <a:lnTo>
                    <a:pt x="390" y="918"/>
                  </a:lnTo>
                  <a:lnTo>
                    <a:pt x="384" y="918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78" y="930"/>
                  </a:lnTo>
                  <a:lnTo>
                    <a:pt x="372" y="930"/>
                  </a:lnTo>
                  <a:lnTo>
                    <a:pt x="372" y="936"/>
                  </a:lnTo>
                  <a:lnTo>
                    <a:pt x="366" y="936"/>
                  </a:lnTo>
                  <a:lnTo>
                    <a:pt x="366" y="930"/>
                  </a:lnTo>
                  <a:lnTo>
                    <a:pt x="360" y="930"/>
                  </a:lnTo>
                  <a:lnTo>
                    <a:pt x="360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42" y="924"/>
                  </a:lnTo>
                  <a:lnTo>
                    <a:pt x="342" y="930"/>
                  </a:lnTo>
                  <a:lnTo>
                    <a:pt x="336" y="930"/>
                  </a:lnTo>
                  <a:lnTo>
                    <a:pt x="336" y="936"/>
                  </a:lnTo>
                  <a:lnTo>
                    <a:pt x="330" y="936"/>
                  </a:lnTo>
                  <a:lnTo>
                    <a:pt x="324" y="936"/>
                  </a:lnTo>
                  <a:lnTo>
                    <a:pt x="318" y="936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2" y="924"/>
                  </a:lnTo>
                  <a:lnTo>
                    <a:pt x="306" y="924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12"/>
                  </a:lnTo>
                  <a:lnTo>
                    <a:pt x="294" y="912"/>
                  </a:lnTo>
                  <a:lnTo>
                    <a:pt x="294" y="906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6" y="888"/>
                  </a:lnTo>
                  <a:lnTo>
                    <a:pt x="270" y="888"/>
                  </a:lnTo>
                  <a:lnTo>
                    <a:pt x="270" y="882"/>
                  </a:lnTo>
                  <a:lnTo>
                    <a:pt x="270" y="876"/>
                  </a:lnTo>
                  <a:lnTo>
                    <a:pt x="270" y="870"/>
                  </a:lnTo>
                  <a:lnTo>
                    <a:pt x="270" y="864"/>
                  </a:lnTo>
                  <a:lnTo>
                    <a:pt x="264" y="864"/>
                  </a:lnTo>
                  <a:lnTo>
                    <a:pt x="264" y="858"/>
                  </a:lnTo>
                  <a:lnTo>
                    <a:pt x="258" y="858"/>
                  </a:lnTo>
                  <a:lnTo>
                    <a:pt x="252" y="858"/>
                  </a:lnTo>
                  <a:lnTo>
                    <a:pt x="252" y="852"/>
                  </a:lnTo>
                  <a:lnTo>
                    <a:pt x="246" y="852"/>
                  </a:lnTo>
                  <a:lnTo>
                    <a:pt x="240" y="852"/>
                  </a:lnTo>
                  <a:lnTo>
                    <a:pt x="234" y="852"/>
                  </a:lnTo>
                  <a:lnTo>
                    <a:pt x="234" y="846"/>
                  </a:lnTo>
                  <a:lnTo>
                    <a:pt x="234" y="840"/>
                  </a:lnTo>
                  <a:lnTo>
                    <a:pt x="234" y="834"/>
                  </a:lnTo>
                  <a:lnTo>
                    <a:pt x="228" y="834"/>
                  </a:lnTo>
                  <a:lnTo>
                    <a:pt x="222" y="834"/>
                  </a:lnTo>
                  <a:lnTo>
                    <a:pt x="222" y="828"/>
                  </a:lnTo>
                  <a:lnTo>
                    <a:pt x="228" y="828"/>
                  </a:lnTo>
                  <a:lnTo>
                    <a:pt x="228" y="822"/>
                  </a:lnTo>
                  <a:lnTo>
                    <a:pt x="228" y="816"/>
                  </a:lnTo>
                  <a:lnTo>
                    <a:pt x="222" y="816"/>
                  </a:lnTo>
                  <a:lnTo>
                    <a:pt x="216" y="810"/>
                  </a:lnTo>
                  <a:lnTo>
                    <a:pt x="216" y="804"/>
                  </a:lnTo>
                  <a:lnTo>
                    <a:pt x="210" y="804"/>
                  </a:lnTo>
                  <a:lnTo>
                    <a:pt x="210" y="798"/>
                  </a:lnTo>
                  <a:lnTo>
                    <a:pt x="204" y="798"/>
                  </a:lnTo>
                  <a:lnTo>
                    <a:pt x="198" y="798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0"/>
                  </a:lnTo>
                  <a:lnTo>
                    <a:pt x="168" y="780"/>
                  </a:lnTo>
                  <a:lnTo>
                    <a:pt x="168" y="774"/>
                  </a:lnTo>
                  <a:lnTo>
                    <a:pt x="174" y="774"/>
                  </a:lnTo>
                  <a:lnTo>
                    <a:pt x="174" y="768"/>
                  </a:lnTo>
                  <a:lnTo>
                    <a:pt x="174" y="762"/>
                  </a:lnTo>
                  <a:lnTo>
                    <a:pt x="168" y="762"/>
                  </a:lnTo>
                  <a:lnTo>
                    <a:pt x="168" y="756"/>
                  </a:lnTo>
                  <a:lnTo>
                    <a:pt x="162" y="756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44"/>
                  </a:lnTo>
                  <a:lnTo>
                    <a:pt x="144" y="744"/>
                  </a:lnTo>
                  <a:lnTo>
                    <a:pt x="144" y="738"/>
                  </a:lnTo>
                  <a:lnTo>
                    <a:pt x="138" y="738"/>
                  </a:lnTo>
                  <a:lnTo>
                    <a:pt x="138" y="744"/>
                  </a:lnTo>
                  <a:lnTo>
                    <a:pt x="138" y="738"/>
                  </a:lnTo>
                  <a:lnTo>
                    <a:pt x="132" y="738"/>
                  </a:lnTo>
                  <a:lnTo>
                    <a:pt x="126" y="738"/>
                  </a:lnTo>
                  <a:lnTo>
                    <a:pt x="120" y="738"/>
                  </a:lnTo>
                  <a:lnTo>
                    <a:pt x="120" y="732"/>
                  </a:lnTo>
                  <a:lnTo>
                    <a:pt x="120" y="726"/>
                  </a:lnTo>
                  <a:lnTo>
                    <a:pt x="126" y="720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14" y="720"/>
                  </a:lnTo>
                  <a:lnTo>
                    <a:pt x="114" y="714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84" y="708"/>
                  </a:lnTo>
                  <a:lnTo>
                    <a:pt x="90" y="708"/>
                  </a:lnTo>
                  <a:lnTo>
                    <a:pt x="90" y="702"/>
                  </a:lnTo>
                  <a:lnTo>
                    <a:pt x="84" y="702"/>
                  </a:lnTo>
                  <a:lnTo>
                    <a:pt x="84" y="696"/>
                  </a:lnTo>
                  <a:lnTo>
                    <a:pt x="90" y="696"/>
                  </a:lnTo>
                  <a:lnTo>
                    <a:pt x="90" y="690"/>
                  </a:lnTo>
                  <a:lnTo>
                    <a:pt x="90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96" y="660"/>
                  </a:lnTo>
                  <a:lnTo>
                    <a:pt x="78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54" y="612"/>
                  </a:lnTo>
                  <a:lnTo>
                    <a:pt x="54" y="606"/>
                  </a:lnTo>
                  <a:lnTo>
                    <a:pt x="60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82"/>
                  </a:lnTo>
                  <a:lnTo>
                    <a:pt x="48" y="582"/>
                  </a:lnTo>
                  <a:lnTo>
                    <a:pt x="42" y="576"/>
                  </a:lnTo>
                  <a:lnTo>
                    <a:pt x="36" y="570"/>
                  </a:lnTo>
                  <a:lnTo>
                    <a:pt x="42" y="552"/>
                  </a:lnTo>
                  <a:lnTo>
                    <a:pt x="36" y="552"/>
                  </a:lnTo>
                  <a:lnTo>
                    <a:pt x="36" y="546"/>
                  </a:lnTo>
                  <a:lnTo>
                    <a:pt x="36" y="540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30" y="522"/>
                  </a:lnTo>
                  <a:lnTo>
                    <a:pt x="24" y="516"/>
                  </a:lnTo>
                  <a:lnTo>
                    <a:pt x="18" y="516"/>
                  </a:lnTo>
                  <a:lnTo>
                    <a:pt x="18" y="522"/>
                  </a:lnTo>
                  <a:lnTo>
                    <a:pt x="12" y="522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62"/>
                  </a:lnTo>
                  <a:lnTo>
                    <a:pt x="18" y="456"/>
                  </a:lnTo>
                  <a:lnTo>
                    <a:pt x="24" y="456"/>
                  </a:lnTo>
                  <a:lnTo>
                    <a:pt x="30" y="450"/>
                  </a:lnTo>
                  <a:lnTo>
                    <a:pt x="36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0" y="438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8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8" y="408"/>
                  </a:lnTo>
                  <a:lnTo>
                    <a:pt x="48" y="402"/>
                  </a:lnTo>
                  <a:lnTo>
                    <a:pt x="54" y="402"/>
                  </a:lnTo>
                  <a:lnTo>
                    <a:pt x="60" y="396"/>
                  </a:lnTo>
                  <a:lnTo>
                    <a:pt x="54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54" y="384"/>
                  </a:lnTo>
                  <a:lnTo>
                    <a:pt x="54" y="378"/>
                  </a:lnTo>
                  <a:lnTo>
                    <a:pt x="60" y="378"/>
                  </a:lnTo>
                  <a:lnTo>
                    <a:pt x="60" y="372"/>
                  </a:lnTo>
                  <a:lnTo>
                    <a:pt x="66" y="372"/>
                  </a:lnTo>
                  <a:lnTo>
                    <a:pt x="66" y="366"/>
                  </a:lnTo>
                  <a:lnTo>
                    <a:pt x="66" y="372"/>
                  </a:lnTo>
                  <a:lnTo>
                    <a:pt x="72" y="372"/>
                  </a:lnTo>
                  <a:lnTo>
                    <a:pt x="72" y="366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102" y="366"/>
                  </a:lnTo>
                  <a:lnTo>
                    <a:pt x="108" y="372"/>
                  </a:lnTo>
                  <a:lnTo>
                    <a:pt x="108" y="18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8" name="Freeform 98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4524" y="768"/>
              <a:ext cx="338" cy="325"/>
            </a:xfrm>
            <a:custGeom>
              <a:avLst/>
              <a:gdLst>
                <a:gd name="T0" fmla="*/ 9 w 552"/>
                <a:gd name="T1" fmla="*/ 1 h 498"/>
                <a:gd name="T2" fmla="*/ 14 w 552"/>
                <a:gd name="T3" fmla="*/ 2 h 498"/>
                <a:gd name="T4" fmla="*/ 19 w 552"/>
                <a:gd name="T5" fmla="*/ 5 h 498"/>
                <a:gd name="T6" fmla="*/ 24 w 552"/>
                <a:gd name="T7" fmla="*/ 5 h 498"/>
                <a:gd name="T8" fmla="*/ 29 w 552"/>
                <a:gd name="T9" fmla="*/ 8 h 498"/>
                <a:gd name="T10" fmla="*/ 34 w 552"/>
                <a:gd name="T11" fmla="*/ 5 h 498"/>
                <a:gd name="T12" fmla="*/ 38 w 552"/>
                <a:gd name="T13" fmla="*/ 5 h 498"/>
                <a:gd name="T14" fmla="*/ 43 w 552"/>
                <a:gd name="T15" fmla="*/ 1 h 498"/>
                <a:gd name="T16" fmla="*/ 41 w 552"/>
                <a:gd name="T17" fmla="*/ 3 h 498"/>
                <a:gd name="T18" fmla="*/ 45 w 552"/>
                <a:gd name="T19" fmla="*/ 1 h 498"/>
                <a:gd name="T20" fmla="*/ 49 w 552"/>
                <a:gd name="T21" fmla="*/ 2 h 498"/>
                <a:gd name="T22" fmla="*/ 53 w 552"/>
                <a:gd name="T23" fmla="*/ 3 h 498"/>
                <a:gd name="T24" fmla="*/ 50 w 552"/>
                <a:gd name="T25" fmla="*/ 1 h 498"/>
                <a:gd name="T26" fmla="*/ 50 w 552"/>
                <a:gd name="T27" fmla="*/ 3 h 498"/>
                <a:gd name="T28" fmla="*/ 51 w 552"/>
                <a:gd name="T29" fmla="*/ 5 h 498"/>
                <a:gd name="T30" fmla="*/ 53 w 552"/>
                <a:gd name="T31" fmla="*/ 5 h 498"/>
                <a:gd name="T32" fmla="*/ 53 w 552"/>
                <a:gd name="T33" fmla="*/ 5 h 498"/>
                <a:gd name="T34" fmla="*/ 56 w 552"/>
                <a:gd name="T35" fmla="*/ 5 h 498"/>
                <a:gd name="T36" fmla="*/ 59 w 552"/>
                <a:gd name="T37" fmla="*/ 5 h 498"/>
                <a:gd name="T38" fmla="*/ 59 w 552"/>
                <a:gd name="T39" fmla="*/ 7 h 498"/>
                <a:gd name="T40" fmla="*/ 61 w 552"/>
                <a:gd name="T41" fmla="*/ 5 h 498"/>
                <a:gd name="T42" fmla="*/ 66 w 552"/>
                <a:gd name="T43" fmla="*/ 5 h 498"/>
                <a:gd name="T44" fmla="*/ 69 w 552"/>
                <a:gd name="T45" fmla="*/ 10 h 498"/>
                <a:gd name="T46" fmla="*/ 72 w 552"/>
                <a:gd name="T47" fmla="*/ 20 h 498"/>
                <a:gd name="T48" fmla="*/ 70 w 552"/>
                <a:gd name="T49" fmla="*/ 25 h 498"/>
                <a:gd name="T50" fmla="*/ 68 w 552"/>
                <a:gd name="T51" fmla="*/ 31 h 498"/>
                <a:gd name="T52" fmla="*/ 67 w 552"/>
                <a:gd name="T53" fmla="*/ 35 h 498"/>
                <a:gd name="T54" fmla="*/ 63 w 552"/>
                <a:gd name="T55" fmla="*/ 33 h 498"/>
                <a:gd name="T56" fmla="*/ 60 w 552"/>
                <a:gd name="T57" fmla="*/ 29 h 498"/>
                <a:gd name="T58" fmla="*/ 59 w 552"/>
                <a:gd name="T59" fmla="*/ 24 h 498"/>
                <a:gd name="T60" fmla="*/ 56 w 552"/>
                <a:gd name="T61" fmla="*/ 20 h 498"/>
                <a:gd name="T62" fmla="*/ 56 w 552"/>
                <a:gd name="T63" fmla="*/ 18 h 498"/>
                <a:gd name="T64" fmla="*/ 54 w 552"/>
                <a:gd name="T65" fmla="*/ 18 h 498"/>
                <a:gd name="T66" fmla="*/ 54 w 552"/>
                <a:gd name="T67" fmla="*/ 22 h 498"/>
                <a:gd name="T68" fmla="*/ 56 w 552"/>
                <a:gd name="T69" fmla="*/ 27 h 498"/>
                <a:gd name="T70" fmla="*/ 59 w 552"/>
                <a:gd name="T71" fmla="*/ 31 h 498"/>
                <a:gd name="T72" fmla="*/ 61 w 552"/>
                <a:gd name="T73" fmla="*/ 35 h 498"/>
                <a:gd name="T74" fmla="*/ 61 w 552"/>
                <a:gd name="T75" fmla="*/ 36 h 498"/>
                <a:gd name="T76" fmla="*/ 63 w 552"/>
                <a:gd name="T77" fmla="*/ 39 h 498"/>
                <a:gd name="T78" fmla="*/ 65 w 552"/>
                <a:gd name="T79" fmla="*/ 42 h 498"/>
                <a:gd name="T80" fmla="*/ 67 w 552"/>
                <a:gd name="T81" fmla="*/ 49 h 498"/>
                <a:gd name="T82" fmla="*/ 69 w 552"/>
                <a:gd name="T83" fmla="*/ 55 h 498"/>
                <a:gd name="T84" fmla="*/ 71 w 552"/>
                <a:gd name="T85" fmla="*/ 59 h 498"/>
                <a:gd name="T86" fmla="*/ 73 w 552"/>
                <a:gd name="T87" fmla="*/ 65 h 498"/>
                <a:gd name="T88" fmla="*/ 76 w 552"/>
                <a:gd name="T89" fmla="*/ 69 h 498"/>
                <a:gd name="T90" fmla="*/ 77 w 552"/>
                <a:gd name="T91" fmla="*/ 70 h 498"/>
                <a:gd name="T92" fmla="*/ 75 w 552"/>
                <a:gd name="T93" fmla="*/ 72 h 498"/>
                <a:gd name="T94" fmla="*/ 76 w 552"/>
                <a:gd name="T95" fmla="*/ 74 h 498"/>
                <a:gd name="T96" fmla="*/ 72 w 552"/>
                <a:gd name="T97" fmla="*/ 80 h 498"/>
                <a:gd name="T98" fmla="*/ 51 w 552"/>
                <a:gd name="T99" fmla="*/ 87 h 498"/>
                <a:gd name="T100" fmla="*/ 2 w 552"/>
                <a:gd name="T101" fmla="*/ 87 h 498"/>
                <a:gd name="T102" fmla="*/ 1 w 552"/>
                <a:gd name="T103" fmla="*/ 19 h 498"/>
                <a:gd name="T104" fmla="*/ 1 w 552"/>
                <a:gd name="T105" fmla="*/ 10 h 498"/>
                <a:gd name="T106" fmla="*/ 1 w 552"/>
                <a:gd name="T107" fmla="*/ 5 h 498"/>
                <a:gd name="T108" fmla="*/ 4 w 552"/>
                <a:gd name="T109" fmla="*/ 1 h 4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52" h="498">
                  <a:moveTo>
                    <a:pt x="24" y="6"/>
                  </a:move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24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36"/>
                  </a:lnTo>
                  <a:lnTo>
                    <a:pt x="198" y="36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36"/>
                  </a:lnTo>
                  <a:lnTo>
                    <a:pt x="246" y="30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64" y="18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66" y="18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18"/>
                  </a:lnTo>
                  <a:lnTo>
                    <a:pt x="366" y="18"/>
                  </a:lnTo>
                  <a:lnTo>
                    <a:pt x="360" y="18"/>
                  </a:lnTo>
                  <a:lnTo>
                    <a:pt x="360" y="12"/>
                  </a:lnTo>
                  <a:lnTo>
                    <a:pt x="360" y="6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72" y="24"/>
                  </a:lnTo>
                  <a:lnTo>
                    <a:pt x="366" y="24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8" y="30"/>
                  </a:lnTo>
                  <a:lnTo>
                    <a:pt x="378" y="24"/>
                  </a:lnTo>
                  <a:lnTo>
                    <a:pt x="372" y="24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84" y="24"/>
                  </a:lnTo>
                  <a:lnTo>
                    <a:pt x="378" y="24"/>
                  </a:lnTo>
                  <a:lnTo>
                    <a:pt x="384" y="24"/>
                  </a:lnTo>
                  <a:lnTo>
                    <a:pt x="384" y="30"/>
                  </a:lnTo>
                  <a:lnTo>
                    <a:pt x="390" y="30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14" y="36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50" y="30"/>
                  </a:lnTo>
                  <a:lnTo>
                    <a:pt x="456" y="24"/>
                  </a:lnTo>
                  <a:lnTo>
                    <a:pt x="468" y="24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80" y="36"/>
                  </a:lnTo>
                  <a:lnTo>
                    <a:pt x="480" y="42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2" y="66"/>
                  </a:lnTo>
                  <a:lnTo>
                    <a:pt x="492" y="72"/>
                  </a:lnTo>
                  <a:lnTo>
                    <a:pt x="498" y="84"/>
                  </a:lnTo>
                  <a:lnTo>
                    <a:pt x="504" y="96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20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498" y="132"/>
                  </a:lnTo>
                  <a:lnTo>
                    <a:pt x="498" y="138"/>
                  </a:lnTo>
                  <a:lnTo>
                    <a:pt x="492" y="138"/>
                  </a:lnTo>
                  <a:lnTo>
                    <a:pt x="492" y="144"/>
                  </a:lnTo>
                  <a:lnTo>
                    <a:pt x="492" y="150"/>
                  </a:lnTo>
                  <a:lnTo>
                    <a:pt x="492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0" y="168"/>
                  </a:lnTo>
                  <a:lnTo>
                    <a:pt x="486" y="174"/>
                  </a:lnTo>
                  <a:lnTo>
                    <a:pt x="486" y="180"/>
                  </a:lnTo>
                  <a:lnTo>
                    <a:pt x="486" y="186"/>
                  </a:lnTo>
                  <a:lnTo>
                    <a:pt x="480" y="186"/>
                  </a:lnTo>
                  <a:lnTo>
                    <a:pt x="480" y="192"/>
                  </a:lnTo>
                  <a:lnTo>
                    <a:pt x="474" y="192"/>
                  </a:lnTo>
                  <a:lnTo>
                    <a:pt x="474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62" y="192"/>
                  </a:lnTo>
                  <a:lnTo>
                    <a:pt x="456" y="186"/>
                  </a:lnTo>
                  <a:lnTo>
                    <a:pt x="450" y="186"/>
                  </a:lnTo>
                  <a:lnTo>
                    <a:pt x="450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2" y="162"/>
                  </a:lnTo>
                  <a:lnTo>
                    <a:pt x="426" y="162"/>
                  </a:lnTo>
                  <a:lnTo>
                    <a:pt x="426" y="156"/>
                  </a:lnTo>
                  <a:lnTo>
                    <a:pt x="426" y="150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44"/>
                  </a:lnTo>
                  <a:lnTo>
                    <a:pt x="420" y="144"/>
                  </a:lnTo>
                  <a:lnTo>
                    <a:pt x="420" y="138"/>
                  </a:lnTo>
                  <a:lnTo>
                    <a:pt x="420" y="132"/>
                  </a:lnTo>
                  <a:lnTo>
                    <a:pt x="414" y="132"/>
                  </a:lnTo>
                  <a:lnTo>
                    <a:pt x="414" y="126"/>
                  </a:lnTo>
                  <a:lnTo>
                    <a:pt x="408" y="126"/>
                  </a:lnTo>
                  <a:lnTo>
                    <a:pt x="408" y="120"/>
                  </a:lnTo>
                  <a:lnTo>
                    <a:pt x="402" y="120"/>
                  </a:lnTo>
                  <a:lnTo>
                    <a:pt x="402" y="114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396" y="102"/>
                  </a:lnTo>
                  <a:lnTo>
                    <a:pt x="396" y="96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78" y="108"/>
                  </a:lnTo>
                  <a:lnTo>
                    <a:pt x="384" y="108"/>
                  </a:lnTo>
                  <a:lnTo>
                    <a:pt x="384" y="114"/>
                  </a:lnTo>
                  <a:lnTo>
                    <a:pt x="390" y="114"/>
                  </a:lnTo>
                  <a:lnTo>
                    <a:pt x="390" y="120"/>
                  </a:lnTo>
                  <a:lnTo>
                    <a:pt x="396" y="120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6" y="144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8" y="150"/>
                  </a:lnTo>
                  <a:lnTo>
                    <a:pt x="408" y="156"/>
                  </a:lnTo>
                  <a:lnTo>
                    <a:pt x="414" y="156"/>
                  </a:lnTo>
                  <a:lnTo>
                    <a:pt x="414" y="162"/>
                  </a:lnTo>
                  <a:lnTo>
                    <a:pt x="414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74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6"/>
                  </a:lnTo>
                  <a:lnTo>
                    <a:pt x="438" y="192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44" y="204"/>
                  </a:lnTo>
                  <a:lnTo>
                    <a:pt x="438" y="198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198"/>
                  </a:lnTo>
                  <a:lnTo>
                    <a:pt x="438" y="204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56" y="222"/>
                  </a:lnTo>
                  <a:lnTo>
                    <a:pt x="456" y="228"/>
                  </a:lnTo>
                  <a:lnTo>
                    <a:pt x="456" y="234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2" y="246"/>
                  </a:lnTo>
                  <a:lnTo>
                    <a:pt x="462" y="252"/>
                  </a:lnTo>
                  <a:lnTo>
                    <a:pt x="462" y="258"/>
                  </a:lnTo>
                  <a:lnTo>
                    <a:pt x="468" y="258"/>
                  </a:lnTo>
                  <a:lnTo>
                    <a:pt x="468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80" y="282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86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504" y="318"/>
                  </a:lnTo>
                  <a:lnTo>
                    <a:pt x="504" y="324"/>
                  </a:lnTo>
                  <a:lnTo>
                    <a:pt x="504" y="330"/>
                  </a:lnTo>
                  <a:lnTo>
                    <a:pt x="510" y="330"/>
                  </a:lnTo>
                  <a:lnTo>
                    <a:pt x="510" y="336"/>
                  </a:lnTo>
                  <a:lnTo>
                    <a:pt x="510" y="342"/>
                  </a:lnTo>
                  <a:lnTo>
                    <a:pt x="516" y="342"/>
                  </a:lnTo>
                  <a:lnTo>
                    <a:pt x="516" y="348"/>
                  </a:lnTo>
                  <a:lnTo>
                    <a:pt x="516" y="354"/>
                  </a:lnTo>
                  <a:lnTo>
                    <a:pt x="522" y="354"/>
                  </a:lnTo>
                  <a:lnTo>
                    <a:pt x="522" y="360"/>
                  </a:lnTo>
                  <a:lnTo>
                    <a:pt x="528" y="366"/>
                  </a:lnTo>
                  <a:lnTo>
                    <a:pt x="534" y="372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40" y="384"/>
                  </a:lnTo>
                  <a:lnTo>
                    <a:pt x="546" y="384"/>
                  </a:lnTo>
                  <a:lnTo>
                    <a:pt x="552" y="384"/>
                  </a:lnTo>
                  <a:lnTo>
                    <a:pt x="552" y="390"/>
                  </a:lnTo>
                  <a:lnTo>
                    <a:pt x="552" y="384"/>
                  </a:lnTo>
                  <a:lnTo>
                    <a:pt x="546" y="384"/>
                  </a:lnTo>
                  <a:lnTo>
                    <a:pt x="546" y="390"/>
                  </a:lnTo>
                  <a:lnTo>
                    <a:pt x="546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34" y="390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40" y="402"/>
                  </a:lnTo>
                  <a:lnTo>
                    <a:pt x="534" y="402"/>
                  </a:lnTo>
                  <a:lnTo>
                    <a:pt x="540" y="402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14"/>
                  </a:lnTo>
                  <a:lnTo>
                    <a:pt x="540" y="420"/>
                  </a:lnTo>
                  <a:lnTo>
                    <a:pt x="540" y="426"/>
                  </a:lnTo>
                  <a:lnTo>
                    <a:pt x="546" y="426"/>
                  </a:lnTo>
                  <a:lnTo>
                    <a:pt x="522" y="444"/>
                  </a:lnTo>
                  <a:lnTo>
                    <a:pt x="510" y="438"/>
                  </a:lnTo>
                  <a:lnTo>
                    <a:pt x="498" y="468"/>
                  </a:lnTo>
                  <a:lnTo>
                    <a:pt x="468" y="474"/>
                  </a:lnTo>
                  <a:lnTo>
                    <a:pt x="462" y="492"/>
                  </a:lnTo>
                  <a:lnTo>
                    <a:pt x="438" y="498"/>
                  </a:lnTo>
                  <a:lnTo>
                    <a:pt x="420" y="480"/>
                  </a:lnTo>
                  <a:lnTo>
                    <a:pt x="366" y="480"/>
                  </a:lnTo>
                  <a:lnTo>
                    <a:pt x="360" y="480"/>
                  </a:lnTo>
                  <a:lnTo>
                    <a:pt x="336" y="480"/>
                  </a:lnTo>
                  <a:lnTo>
                    <a:pt x="336" y="474"/>
                  </a:lnTo>
                  <a:lnTo>
                    <a:pt x="330" y="474"/>
                  </a:lnTo>
                  <a:lnTo>
                    <a:pt x="330" y="480"/>
                  </a:lnTo>
                  <a:lnTo>
                    <a:pt x="90" y="480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39" name="Freeform 99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auto">
            <a:xfrm>
              <a:off x="4885" y="1212"/>
              <a:ext cx="208" cy="182"/>
            </a:xfrm>
            <a:custGeom>
              <a:avLst/>
              <a:gdLst>
                <a:gd name="T0" fmla="*/ 17 w 336"/>
                <a:gd name="T1" fmla="*/ 2 h 276"/>
                <a:gd name="T2" fmla="*/ 19 w 336"/>
                <a:gd name="T3" fmla="*/ 6 h 276"/>
                <a:gd name="T4" fmla="*/ 20 w 336"/>
                <a:gd name="T5" fmla="*/ 9 h 276"/>
                <a:gd name="T6" fmla="*/ 20 w 336"/>
                <a:gd name="T7" fmla="*/ 11 h 276"/>
                <a:gd name="T8" fmla="*/ 20 w 336"/>
                <a:gd name="T9" fmla="*/ 13 h 276"/>
                <a:gd name="T10" fmla="*/ 20 w 336"/>
                <a:gd name="T11" fmla="*/ 17 h 276"/>
                <a:gd name="T12" fmla="*/ 22 w 336"/>
                <a:gd name="T13" fmla="*/ 21 h 276"/>
                <a:gd name="T14" fmla="*/ 24 w 336"/>
                <a:gd name="T15" fmla="*/ 24 h 276"/>
                <a:gd name="T16" fmla="*/ 25 w 336"/>
                <a:gd name="T17" fmla="*/ 28 h 276"/>
                <a:gd name="T18" fmla="*/ 25 w 336"/>
                <a:gd name="T19" fmla="*/ 24 h 276"/>
                <a:gd name="T20" fmla="*/ 25 w 336"/>
                <a:gd name="T21" fmla="*/ 24 h 276"/>
                <a:gd name="T22" fmla="*/ 27 w 336"/>
                <a:gd name="T23" fmla="*/ 26 h 276"/>
                <a:gd name="T24" fmla="*/ 27 w 336"/>
                <a:gd name="T25" fmla="*/ 28 h 276"/>
                <a:gd name="T26" fmla="*/ 29 w 336"/>
                <a:gd name="T27" fmla="*/ 28 h 276"/>
                <a:gd name="T28" fmla="*/ 30 w 336"/>
                <a:gd name="T29" fmla="*/ 28 h 276"/>
                <a:gd name="T30" fmla="*/ 30 w 336"/>
                <a:gd name="T31" fmla="*/ 28 h 276"/>
                <a:gd name="T32" fmla="*/ 31 w 336"/>
                <a:gd name="T33" fmla="*/ 28 h 276"/>
                <a:gd name="T34" fmla="*/ 33 w 336"/>
                <a:gd name="T35" fmla="*/ 31 h 276"/>
                <a:gd name="T36" fmla="*/ 36 w 336"/>
                <a:gd name="T37" fmla="*/ 33 h 276"/>
                <a:gd name="T38" fmla="*/ 38 w 336"/>
                <a:gd name="T39" fmla="*/ 38 h 276"/>
                <a:gd name="T40" fmla="*/ 40 w 336"/>
                <a:gd name="T41" fmla="*/ 39 h 276"/>
                <a:gd name="T42" fmla="*/ 41 w 336"/>
                <a:gd name="T43" fmla="*/ 41 h 276"/>
                <a:gd name="T44" fmla="*/ 43 w 336"/>
                <a:gd name="T45" fmla="*/ 41 h 276"/>
                <a:gd name="T46" fmla="*/ 44 w 336"/>
                <a:gd name="T47" fmla="*/ 44 h 276"/>
                <a:gd name="T48" fmla="*/ 46 w 336"/>
                <a:gd name="T49" fmla="*/ 47 h 276"/>
                <a:gd name="T50" fmla="*/ 47 w 336"/>
                <a:gd name="T51" fmla="*/ 47 h 276"/>
                <a:gd name="T52" fmla="*/ 48 w 336"/>
                <a:gd name="T53" fmla="*/ 47 h 276"/>
                <a:gd name="T54" fmla="*/ 48 w 336"/>
                <a:gd name="T55" fmla="*/ 49 h 276"/>
                <a:gd name="T56" fmla="*/ 47 w 336"/>
                <a:gd name="T57" fmla="*/ 50 h 276"/>
                <a:gd name="T58" fmla="*/ 45 w 336"/>
                <a:gd name="T59" fmla="*/ 51 h 276"/>
                <a:gd name="T60" fmla="*/ 42 w 336"/>
                <a:gd name="T61" fmla="*/ 49 h 276"/>
                <a:gd name="T62" fmla="*/ 41 w 336"/>
                <a:gd name="T63" fmla="*/ 47 h 276"/>
                <a:gd name="T64" fmla="*/ 36 w 336"/>
                <a:gd name="T65" fmla="*/ 41 h 276"/>
                <a:gd name="T66" fmla="*/ 33 w 336"/>
                <a:gd name="T67" fmla="*/ 38 h 276"/>
                <a:gd name="T68" fmla="*/ 31 w 336"/>
                <a:gd name="T69" fmla="*/ 35 h 276"/>
                <a:gd name="T70" fmla="*/ 27 w 336"/>
                <a:gd name="T71" fmla="*/ 33 h 276"/>
                <a:gd name="T72" fmla="*/ 24 w 336"/>
                <a:gd name="T73" fmla="*/ 33 h 276"/>
                <a:gd name="T74" fmla="*/ 22 w 336"/>
                <a:gd name="T75" fmla="*/ 33 h 276"/>
                <a:gd name="T76" fmla="*/ 20 w 336"/>
                <a:gd name="T77" fmla="*/ 31 h 276"/>
                <a:gd name="T78" fmla="*/ 17 w 336"/>
                <a:gd name="T79" fmla="*/ 33 h 276"/>
                <a:gd name="T80" fmla="*/ 14 w 336"/>
                <a:gd name="T81" fmla="*/ 33 h 276"/>
                <a:gd name="T82" fmla="*/ 12 w 336"/>
                <a:gd name="T83" fmla="*/ 31 h 276"/>
                <a:gd name="T84" fmla="*/ 9 w 336"/>
                <a:gd name="T85" fmla="*/ 36 h 276"/>
                <a:gd name="T86" fmla="*/ 7 w 336"/>
                <a:gd name="T87" fmla="*/ 34 h 276"/>
                <a:gd name="T88" fmla="*/ 6 w 336"/>
                <a:gd name="T89" fmla="*/ 34 h 276"/>
                <a:gd name="T90" fmla="*/ 4 w 336"/>
                <a:gd name="T91" fmla="*/ 34 h 276"/>
                <a:gd name="T92" fmla="*/ 1 w 336"/>
                <a:gd name="T93" fmla="*/ 33 h 276"/>
                <a:gd name="T94" fmla="*/ 0 w 336"/>
                <a:gd name="T95" fmla="*/ 28 h 276"/>
                <a:gd name="T96" fmla="*/ 1 w 336"/>
                <a:gd name="T97" fmla="*/ 24 h 276"/>
                <a:gd name="T98" fmla="*/ 2 w 336"/>
                <a:gd name="T99" fmla="*/ 19 h 276"/>
                <a:gd name="T100" fmla="*/ 4 w 336"/>
                <a:gd name="T101" fmla="*/ 16 h 276"/>
                <a:gd name="T102" fmla="*/ 4 w 336"/>
                <a:gd name="T103" fmla="*/ 13 h 276"/>
                <a:gd name="T104" fmla="*/ 4 w 336"/>
                <a:gd name="T105" fmla="*/ 11 h 276"/>
                <a:gd name="T106" fmla="*/ 6 w 336"/>
                <a:gd name="T107" fmla="*/ 8 h 276"/>
                <a:gd name="T108" fmla="*/ 7 w 336"/>
                <a:gd name="T109" fmla="*/ 7 h 276"/>
                <a:gd name="T110" fmla="*/ 9 w 336"/>
                <a:gd name="T111" fmla="*/ 5 h 276"/>
                <a:gd name="T112" fmla="*/ 12 w 336"/>
                <a:gd name="T113" fmla="*/ 3 h 276"/>
                <a:gd name="T114" fmla="*/ 14 w 336"/>
                <a:gd name="T115" fmla="*/ 3 h 2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36" h="276">
                  <a:moveTo>
                    <a:pt x="108" y="0"/>
                  </a:move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90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50" y="108"/>
                  </a:lnTo>
                  <a:lnTo>
                    <a:pt x="150" y="114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20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8" y="138"/>
                  </a:lnTo>
                  <a:lnTo>
                    <a:pt x="174" y="138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74" y="120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86" y="144"/>
                  </a:lnTo>
                  <a:lnTo>
                    <a:pt x="180" y="144"/>
                  </a:lnTo>
                  <a:lnTo>
                    <a:pt x="186" y="144"/>
                  </a:lnTo>
                  <a:lnTo>
                    <a:pt x="186" y="150"/>
                  </a:lnTo>
                  <a:lnTo>
                    <a:pt x="192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0" y="150"/>
                  </a:lnTo>
                  <a:lnTo>
                    <a:pt x="216" y="156"/>
                  </a:lnTo>
                  <a:lnTo>
                    <a:pt x="216" y="162"/>
                  </a:lnTo>
                  <a:lnTo>
                    <a:pt x="222" y="162"/>
                  </a:lnTo>
                  <a:lnTo>
                    <a:pt x="228" y="162"/>
                  </a:lnTo>
                  <a:lnTo>
                    <a:pt x="234" y="162"/>
                  </a:lnTo>
                  <a:lnTo>
                    <a:pt x="240" y="162"/>
                  </a:lnTo>
                  <a:lnTo>
                    <a:pt x="240" y="168"/>
                  </a:lnTo>
                  <a:lnTo>
                    <a:pt x="246" y="174"/>
                  </a:lnTo>
                  <a:lnTo>
                    <a:pt x="246" y="180"/>
                  </a:lnTo>
                  <a:lnTo>
                    <a:pt x="252" y="186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8" y="192"/>
                  </a:lnTo>
                  <a:lnTo>
                    <a:pt x="264" y="198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82" y="210"/>
                  </a:lnTo>
                  <a:lnTo>
                    <a:pt x="282" y="216"/>
                  </a:lnTo>
                  <a:lnTo>
                    <a:pt x="288" y="216"/>
                  </a:lnTo>
                  <a:lnTo>
                    <a:pt x="288" y="210"/>
                  </a:lnTo>
                  <a:lnTo>
                    <a:pt x="288" y="216"/>
                  </a:lnTo>
                  <a:lnTo>
                    <a:pt x="294" y="216"/>
                  </a:lnTo>
                  <a:lnTo>
                    <a:pt x="294" y="222"/>
                  </a:lnTo>
                  <a:lnTo>
                    <a:pt x="294" y="228"/>
                  </a:lnTo>
                  <a:lnTo>
                    <a:pt x="294" y="234"/>
                  </a:lnTo>
                  <a:lnTo>
                    <a:pt x="300" y="234"/>
                  </a:lnTo>
                  <a:lnTo>
                    <a:pt x="306" y="23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18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30" y="258"/>
                  </a:lnTo>
                  <a:lnTo>
                    <a:pt x="336" y="258"/>
                  </a:lnTo>
                  <a:lnTo>
                    <a:pt x="330" y="264"/>
                  </a:lnTo>
                  <a:lnTo>
                    <a:pt x="324" y="264"/>
                  </a:lnTo>
                  <a:lnTo>
                    <a:pt x="318" y="264"/>
                  </a:lnTo>
                  <a:lnTo>
                    <a:pt x="318" y="270"/>
                  </a:lnTo>
                  <a:lnTo>
                    <a:pt x="318" y="276"/>
                  </a:lnTo>
                  <a:lnTo>
                    <a:pt x="312" y="276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94" y="270"/>
                  </a:lnTo>
                  <a:lnTo>
                    <a:pt x="294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0" y="246"/>
                  </a:lnTo>
                  <a:lnTo>
                    <a:pt x="270" y="240"/>
                  </a:lnTo>
                  <a:lnTo>
                    <a:pt x="264" y="234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04"/>
                  </a:lnTo>
                  <a:lnTo>
                    <a:pt x="228" y="198"/>
                  </a:lnTo>
                  <a:lnTo>
                    <a:pt x="222" y="192"/>
                  </a:lnTo>
                  <a:lnTo>
                    <a:pt x="222" y="186"/>
                  </a:lnTo>
                  <a:lnTo>
                    <a:pt x="216" y="186"/>
                  </a:lnTo>
                  <a:lnTo>
                    <a:pt x="210" y="186"/>
                  </a:lnTo>
                  <a:lnTo>
                    <a:pt x="204" y="186"/>
                  </a:lnTo>
                  <a:lnTo>
                    <a:pt x="198" y="180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4" y="174"/>
                  </a:lnTo>
                  <a:lnTo>
                    <a:pt x="168" y="174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0" y="174"/>
                  </a:lnTo>
                  <a:lnTo>
                    <a:pt x="144" y="174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2" y="162"/>
                  </a:lnTo>
                  <a:lnTo>
                    <a:pt x="132" y="168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84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60" y="192"/>
                  </a:lnTo>
                  <a:lnTo>
                    <a:pt x="54" y="192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36" y="174"/>
                  </a:lnTo>
                  <a:lnTo>
                    <a:pt x="36" y="180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24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6" y="168"/>
                  </a:lnTo>
                  <a:lnTo>
                    <a:pt x="6" y="156"/>
                  </a:lnTo>
                  <a:lnTo>
                    <a:pt x="6" y="150"/>
                  </a:lnTo>
                  <a:lnTo>
                    <a:pt x="0" y="144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2"/>
                  </a:lnTo>
                  <a:lnTo>
                    <a:pt x="12" y="126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40" name="Freeform 100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4780" y="1309"/>
              <a:ext cx="461" cy="373"/>
            </a:xfrm>
            <a:custGeom>
              <a:avLst/>
              <a:gdLst>
                <a:gd name="T0" fmla="*/ 27 w 744"/>
                <a:gd name="T1" fmla="*/ 6 h 570"/>
                <a:gd name="T2" fmla="*/ 30 w 744"/>
                <a:gd name="T3" fmla="*/ 5 h 570"/>
                <a:gd name="T4" fmla="*/ 33 w 744"/>
                <a:gd name="T5" fmla="*/ 8 h 570"/>
                <a:gd name="T6" fmla="*/ 38 w 744"/>
                <a:gd name="T7" fmla="*/ 2 h 570"/>
                <a:gd name="T8" fmla="*/ 42 w 744"/>
                <a:gd name="T9" fmla="*/ 5 h 570"/>
                <a:gd name="T10" fmla="*/ 45 w 744"/>
                <a:gd name="T11" fmla="*/ 3 h 570"/>
                <a:gd name="T12" fmla="*/ 48 w 744"/>
                <a:gd name="T13" fmla="*/ 3 h 570"/>
                <a:gd name="T14" fmla="*/ 53 w 744"/>
                <a:gd name="T15" fmla="*/ 5 h 570"/>
                <a:gd name="T16" fmla="*/ 58 w 744"/>
                <a:gd name="T17" fmla="*/ 8 h 570"/>
                <a:gd name="T18" fmla="*/ 64 w 744"/>
                <a:gd name="T19" fmla="*/ 16 h 570"/>
                <a:gd name="T20" fmla="*/ 66 w 744"/>
                <a:gd name="T21" fmla="*/ 20 h 570"/>
                <a:gd name="T22" fmla="*/ 68 w 744"/>
                <a:gd name="T23" fmla="*/ 24 h 570"/>
                <a:gd name="T24" fmla="*/ 64 w 744"/>
                <a:gd name="T25" fmla="*/ 29 h 570"/>
                <a:gd name="T26" fmla="*/ 64 w 744"/>
                <a:gd name="T27" fmla="*/ 35 h 570"/>
                <a:gd name="T28" fmla="*/ 69 w 744"/>
                <a:gd name="T29" fmla="*/ 37 h 570"/>
                <a:gd name="T30" fmla="*/ 72 w 744"/>
                <a:gd name="T31" fmla="*/ 37 h 570"/>
                <a:gd name="T32" fmla="*/ 72 w 744"/>
                <a:gd name="T33" fmla="*/ 42 h 570"/>
                <a:gd name="T34" fmla="*/ 75 w 744"/>
                <a:gd name="T35" fmla="*/ 46 h 570"/>
                <a:gd name="T36" fmla="*/ 80 w 744"/>
                <a:gd name="T37" fmla="*/ 52 h 570"/>
                <a:gd name="T38" fmla="*/ 95 w 744"/>
                <a:gd name="T39" fmla="*/ 60 h 570"/>
                <a:gd name="T40" fmla="*/ 87 w 744"/>
                <a:gd name="T41" fmla="*/ 91 h 570"/>
                <a:gd name="T42" fmla="*/ 73 w 744"/>
                <a:gd name="T43" fmla="*/ 95 h 570"/>
                <a:gd name="T44" fmla="*/ 70 w 744"/>
                <a:gd name="T45" fmla="*/ 98 h 570"/>
                <a:gd name="T46" fmla="*/ 65 w 744"/>
                <a:gd name="T47" fmla="*/ 100 h 570"/>
                <a:gd name="T48" fmla="*/ 60 w 744"/>
                <a:gd name="T49" fmla="*/ 100 h 570"/>
                <a:gd name="T50" fmla="*/ 58 w 744"/>
                <a:gd name="T51" fmla="*/ 97 h 570"/>
                <a:gd name="T52" fmla="*/ 52 w 744"/>
                <a:gd name="T53" fmla="*/ 99 h 570"/>
                <a:gd name="T54" fmla="*/ 47 w 744"/>
                <a:gd name="T55" fmla="*/ 105 h 570"/>
                <a:gd name="T56" fmla="*/ 42 w 744"/>
                <a:gd name="T57" fmla="*/ 103 h 570"/>
                <a:gd name="T58" fmla="*/ 37 w 744"/>
                <a:gd name="T59" fmla="*/ 103 h 570"/>
                <a:gd name="T60" fmla="*/ 29 w 744"/>
                <a:gd name="T61" fmla="*/ 97 h 570"/>
                <a:gd name="T62" fmla="*/ 23 w 744"/>
                <a:gd name="T63" fmla="*/ 96 h 570"/>
                <a:gd name="T64" fmla="*/ 21 w 744"/>
                <a:gd name="T65" fmla="*/ 89 h 570"/>
                <a:gd name="T66" fmla="*/ 20 w 744"/>
                <a:gd name="T67" fmla="*/ 87 h 570"/>
                <a:gd name="T68" fmla="*/ 15 w 744"/>
                <a:gd name="T69" fmla="*/ 84 h 570"/>
                <a:gd name="T70" fmla="*/ 14 w 744"/>
                <a:gd name="T71" fmla="*/ 77 h 570"/>
                <a:gd name="T72" fmla="*/ 12 w 744"/>
                <a:gd name="T73" fmla="*/ 75 h 570"/>
                <a:gd name="T74" fmla="*/ 11 w 744"/>
                <a:gd name="T75" fmla="*/ 74 h 570"/>
                <a:gd name="T76" fmla="*/ 7 w 744"/>
                <a:gd name="T77" fmla="*/ 70 h 570"/>
                <a:gd name="T78" fmla="*/ 6 w 744"/>
                <a:gd name="T79" fmla="*/ 66 h 570"/>
                <a:gd name="T80" fmla="*/ 4 w 744"/>
                <a:gd name="T81" fmla="*/ 66 h 570"/>
                <a:gd name="T82" fmla="*/ 0 w 744"/>
                <a:gd name="T83" fmla="*/ 65 h 570"/>
                <a:gd name="T84" fmla="*/ 1 w 744"/>
                <a:gd name="T85" fmla="*/ 62 h 570"/>
                <a:gd name="T86" fmla="*/ 2 w 744"/>
                <a:gd name="T87" fmla="*/ 60 h 570"/>
                <a:gd name="T88" fmla="*/ 6 w 744"/>
                <a:gd name="T89" fmla="*/ 60 h 570"/>
                <a:gd name="T90" fmla="*/ 7 w 744"/>
                <a:gd name="T91" fmla="*/ 56 h 570"/>
                <a:gd name="T92" fmla="*/ 9 w 744"/>
                <a:gd name="T93" fmla="*/ 46 h 570"/>
                <a:gd name="T94" fmla="*/ 9 w 744"/>
                <a:gd name="T95" fmla="*/ 41 h 570"/>
                <a:gd name="T96" fmla="*/ 11 w 744"/>
                <a:gd name="T97" fmla="*/ 37 h 570"/>
                <a:gd name="T98" fmla="*/ 14 w 744"/>
                <a:gd name="T99" fmla="*/ 37 h 570"/>
                <a:gd name="T100" fmla="*/ 15 w 744"/>
                <a:gd name="T101" fmla="*/ 32 h 570"/>
                <a:gd name="T102" fmla="*/ 17 w 744"/>
                <a:gd name="T103" fmla="*/ 27 h 570"/>
                <a:gd name="T104" fmla="*/ 20 w 744"/>
                <a:gd name="T105" fmla="*/ 21 h 570"/>
                <a:gd name="T106" fmla="*/ 23 w 744"/>
                <a:gd name="T107" fmla="*/ 20 h 570"/>
                <a:gd name="T108" fmla="*/ 25 w 744"/>
                <a:gd name="T109" fmla="*/ 13 h 570"/>
                <a:gd name="T110" fmla="*/ 26 w 744"/>
                <a:gd name="T111" fmla="*/ 9 h 5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744" h="570">
                  <a:moveTo>
                    <a:pt x="174" y="48"/>
                  </a:move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04" y="24"/>
                  </a:lnTo>
                  <a:lnTo>
                    <a:pt x="210" y="24"/>
                  </a:lnTo>
                  <a:lnTo>
                    <a:pt x="216" y="24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46" y="0"/>
                  </a:lnTo>
                  <a:lnTo>
                    <a:pt x="246" y="6"/>
                  </a:lnTo>
                  <a:lnTo>
                    <a:pt x="246" y="12"/>
                  </a:lnTo>
                  <a:lnTo>
                    <a:pt x="252" y="12"/>
                  </a:lnTo>
                  <a:lnTo>
                    <a:pt x="258" y="12"/>
                  </a:lnTo>
                  <a:lnTo>
                    <a:pt x="258" y="18"/>
                  </a:lnTo>
                  <a:lnTo>
                    <a:pt x="264" y="18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8" y="24"/>
                  </a:lnTo>
                  <a:lnTo>
                    <a:pt x="294" y="24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24" y="24"/>
                  </a:lnTo>
                  <a:lnTo>
                    <a:pt x="324" y="18"/>
                  </a:lnTo>
                  <a:lnTo>
                    <a:pt x="330" y="18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30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6" y="48"/>
                  </a:lnTo>
                  <a:lnTo>
                    <a:pt x="402" y="54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84"/>
                  </a:lnTo>
                  <a:lnTo>
                    <a:pt x="438" y="90"/>
                  </a:lnTo>
                  <a:lnTo>
                    <a:pt x="438" y="96"/>
                  </a:lnTo>
                  <a:lnTo>
                    <a:pt x="444" y="96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08"/>
                  </a:lnTo>
                  <a:lnTo>
                    <a:pt x="456" y="108"/>
                  </a:lnTo>
                  <a:lnTo>
                    <a:pt x="462" y="114"/>
                  </a:lnTo>
                  <a:lnTo>
                    <a:pt x="462" y="120"/>
                  </a:lnTo>
                  <a:lnTo>
                    <a:pt x="468" y="120"/>
                  </a:lnTo>
                  <a:lnTo>
                    <a:pt x="462" y="126"/>
                  </a:lnTo>
                  <a:lnTo>
                    <a:pt x="462" y="132"/>
                  </a:lnTo>
                  <a:lnTo>
                    <a:pt x="456" y="132"/>
                  </a:lnTo>
                  <a:lnTo>
                    <a:pt x="456" y="138"/>
                  </a:lnTo>
                  <a:lnTo>
                    <a:pt x="456" y="144"/>
                  </a:lnTo>
                  <a:lnTo>
                    <a:pt x="450" y="144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6" y="198"/>
                  </a:lnTo>
                  <a:lnTo>
                    <a:pt x="462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86" y="192"/>
                  </a:lnTo>
                  <a:lnTo>
                    <a:pt x="486" y="198"/>
                  </a:lnTo>
                  <a:lnTo>
                    <a:pt x="492" y="198"/>
                  </a:lnTo>
                  <a:lnTo>
                    <a:pt x="486" y="210"/>
                  </a:lnTo>
                  <a:lnTo>
                    <a:pt x="480" y="210"/>
                  </a:lnTo>
                  <a:lnTo>
                    <a:pt x="480" y="216"/>
                  </a:lnTo>
                  <a:lnTo>
                    <a:pt x="480" y="222"/>
                  </a:lnTo>
                  <a:lnTo>
                    <a:pt x="486" y="222"/>
                  </a:lnTo>
                  <a:lnTo>
                    <a:pt x="486" y="228"/>
                  </a:lnTo>
                  <a:lnTo>
                    <a:pt x="486" y="234"/>
                  </a:lnTo>
                  <a:lnTo>
                    <a:pt x="492" y="234"/>
                  </a:lnTo>
                  <a:lnTo>
                    <a:pt x="498" y="240"/>
                  </a:lnTo>
                  <a:lnTo>
                    <a:pt x="498" y="252"/>
                  </a:lnTo>
                  <a:lnTo>
                    <a:pt x="504" y="252"/>
                  </a:lnTo>
                  <a:lnTo>
                    <a:pt x="510" y="252"/>
                  </a:lnTo>
                  <a:lnTo>
                    <a:pt x="510" y="264"/>
                  </a:lnTo>
                  <a:lnTo>
                    <a:pt x="516" y="270"/>
                  </a:lnTo>
                  <a:lnTo>
                    <a:pt x="516" y="276"/>
                  </a:lnTo>
                  <a:lnTo>
                    <a:pt x="522" y="276"/>
                  </a:lnTo>
                  <a:lnTo>
                    <a:pt x="528" y="276"/>
                  </a:lnTo>
                  <a:lnTo>
                    <a:pt x="540" y="288"/>
                  </a:lnTo>
                  <a:lnTo>
                    <a:pt x="546" y="294"/>
                  </a:lnTo>
                  <a:lnTo>
                    <a:pt x="570" y="300"/>
                  </a:lnTo>
                  <a:lnTo>
                    <a:pt x="588" y="306"/>
                  </a:lnTo>
                  <a:lnTo>
                    <a:pt x="624" y="318"/>
                  </a:lnTo>
                  <a:lnTo>
                    <a:pt x="642" y="324"/>
                  </a:lnTo>
                  <a:lnTo>
                    <a:pt x="648" y="330"/>
                  </a:lnTo>
                  <a:lnTo>
                    <a:pt x="654" y="330"/>
                  </a:lnTo>
                  <a:lnTo>
                    <a:pt x="672" y="336"/>
                  </a:lnTo>
                  <a:lnTo>
                    <a:pt x="690" y="342"/>
                  </a:lnTo>
                  <a:lnTo>
                    <a:pt x="696" y="342"/>
                  </a:lnTo>
                  <a:lnTo>
                    <a:pt x="744" y="342"/>
                  </a:lnTo>
                  <a:lnTo>
                    <a:pt x="594" y="498"/>
                  </a:lnTo>
                  <a:lnTo>
                    <a:pt x="546" y="492"/>
                  </a:lnTo>
                  <a:lnTo>
                    <a:pt x="528" y="498"/>
                  </a:lnTo>
                  <a:lnTo>
                    <a:pt x="516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498" y="522"/>
                  </a:lnTo>
                  <a:lnTo>
                    <a:pt x="492" y="522"/>
                  </a:lnTo>
                  <a:lnTo>
                    <a:pt x="492" y="528"/>
                  </a:lnTo>
                  <a:lnTo>
                    <a:pt x="486" y="528"/>
                  </a:lnTo>
                  <a:lnTo>
                    <a:pt x="480" y="528"/>
                  </a:lnTo>
                  <a:lnTo>
                    <a:pt x="474" y="534"/>
                  </a:lnTo>
                  <a:lnTo>
                    <a:pt x="468" y="534"/>
                  </a:lnTo>
                  <a:lnTo>
                    <a:pt x="462" y="534"/>
                  </a:lnTo>
                  <a:lnTo>
                    <a:pt x="456" y="534"/>
                  </a:lnTo>
                  <a:lnTo>
                    <a:pt x="450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46"/>
                  </a:lnTo>
                  <a:lnTo>
                    <a:pt x="426" y="546"/>
                  </a:lnTo>
                  <a:lnTo>
                    <a:pt x="420" y="546"/>
                  </a:lnTo>
                  <a:lnTo>
                    <a:pt x="414" y="546"/>
                  </a:lnTo>
                  <a:lnTo>
                    <a:pt x="408" y="546"/>
                  </a:lnTo>
                  <a:lnTo>
                    <a:pt x="402" y="546"/>
                  </a:lnTo>
                  <a:lnTo>
                    <a:pt x="402" y="540"/>
                  </a:lnTo>
                  <a:lnTo>
                    <a:pt x="396" y="540"/>
                  </a:lnTo>
                  <a:lnTo>
                    <a:pt x="396" y="534"/>
                  </a:lnTo>
                  <a:lnTo>
                    <a:pt x="390" y="534"/>
                  </a:lnTo>
                  <a:lnTo>
                    <a:pt x="390" y="528"/>
                  </a:lnTo>
                  <a:lnTo>
                    <a:pt x="384" y="528"/>
                  </a:lnTo>
                  <a:lnTo>
                    <a:pt x="378" y="534"/>
                  </a:lnTo>
                  <a:lnTo>
                    <a:pt x="366" y="534"/>
                  </a:lnTo>
                  <a:lnTo>
                    <a:pt x="366" y="540"/>
                  </a:lnTo>
                  <a:lnTo>
                    <a:pt x="360" y="540"/>
                  </a:lnTo>
                  <a:lnTo>
                    <a:pt x="354" y="540"/>
                  </a:lnTo>
                  <a:lnTo>
                    <a:pt x="342" y="546"/>
                  </a:lnTo>
                  <a:lnTo>
                    <a:pt x="342" y="552"/>
                  </a:lnTo>
                  <a:lnTo>
                    <a:pt x="336" y="552"/>
                  </a:lnTo>
                  <a:lnTo>
                    <a:pt x="336" y="558"/>
                  </a:lnTo>
                  <a:lnTo>
                    <a:pt x="324" y="570"/>
                  </a:lnTo>
                  <a:lnTo>
                    <a:pt x="318" y="570"/>
                  </a:lnTo>
                  <a:lnTo>
                    <a:pt x="312" y="570"/>
                  </a:lnTo>
                  <a:lnTo>
                    <a:pt x="306" y="570"/>
                  </a:lnTo>
                  <a:lnTo>
                    <a:pt x="306" y="564"/>
                  </a:lnTo>
                  <a:lnTo>
                    <a:pt x="300" y="564"/>
                  </a:lnTo>
                  <a:lnTo>
                    <a:pt x="294" y="564"/>
                  </a:lnTo>
                  <a:lnTo>
                    <a:pt x="288" y="564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64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58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198" y="528"/>
                  </a:lnTo>
                  <a:lnTo>
                    <a:pt x="198" y="522"/>
                  </a:lnTo>
                  <a:lnTo>
                    <a:pt x="192" y="522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2" y="522"/>
                  </a:lnTo>
                  <a:lnTo>
                    <a:pt x="156" y="522"/>
                  </a:lnTo>
                  <a:lnTo>
                    <a:pt x="150" y="522"/>
                  </a:lnTo>
                  <a:lnTo>
                    <a:pt x="144" y="516"/>
                  </a:lnTo>
                  <a:lnTo>
                    <a:pt x="144" y="510"/>
                  </a:lnTo>
                  <a:lnTo>
                    <a:pt x="138" y="504"/>
                  </a:lnTo>
                  <a:lnTo>
                    <a:pt x="138" y="486"/>
                  </a:lnTo>
                  <a:lnTo>
                    <a:pt x="144" y="486"/>
                  </a:lnTo>
                  <a:lnTo>
                    <a:pt x="138" y="486"/>
                  </a:lnTo>
                  <a:lnTo>
                    <a:pt x="138" y="480"/>
                  </a:lnTo>
                  <a:lnTo>
                    <a:pt x="144" y="480"/>
                  </a:lnTo>
                  <a:lnTo>
                    <a:pt x="138" y="480"/>
                  </a:lnTo>
                  <a:lnTo>
                    <a:pt x="138" y="474"/>
                  </a:lnTo>
                  <a:lnTo>
                    <a:pt x="132" y="474"/>
                  </a:lnTo>
                  <a:lnTo>
                    <a:pt x="126" y="474"/>
                  </a:lnTo>
                  <a:lnTo>
                    <a:pt x="120" y="474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02" y="462"/>
                  </a:lnTo>
                  <a:lnTo>
                    <a:pt x="102" y="456"/>
                  </a:lnTo>
                  <a:lnTo>
                    <a:pt x="96" y="450"/>
                  </a:lnTo>
                  <a:lnTo>
                    <a:pt x="96" y="444"/>
                  </a:lnTo>
                  <a:lnTo>
                    <a:pt x="96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96" y="420"/>
                  </a:lnTo>
                  <a:lnTo>
                    <a:pt x="102" y="420"/>
                  </a:lnTo>
                  <a:lnTo>
                    <a:pt x="96" y="420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18" y="354"/>
                  </a:lnTo>
                  <a:lnTo>
                    <a:pt x="18" y="360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2" y="324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8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24"/>
                  </a:lnTo>
                  <a:lnTo>
                    <a:pt x="36" y="324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54" y="282"/>
                  </a:lnTo>
                  <a:lnTo>
                    <a:pt x="54" y="270"/>
                  </a:lnTo>
                  <a:lnTo>
                    <a:pt x="54" y="264"/>
                  </a:lnTo>
                  <a:lnTo>
                    <a:pt x="54" y="258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4"/>
                  </a:lnTo>
                  <a:lnTo>
                    <a:pt x="144" y="108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6" y="114"/>
                  </a:lnTo>
                  <a:lnTo>
                    <a:pt x="156" y="108"/>
                  </a:lnTo>
                  <a:lnTo>
                    <a:pt x="156" y="102"/>
                  </a:lnTo>
                  <a:lnTo>
                    <a:pt x="156" y="96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8" y="72"/>
                  </a:lnTo>
                  <a:lnTo>
                    <a:pt x="168" y="66"/>
                  </a:lnTo>
                  <a:lnTo>
                    <a:pt x="168" y="60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4" y="4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41" name="Freeform 101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auto">
            <a:xfrm>
              <a:off x="5025" y="1403"/>
              <a:ext cx="319" cy="441"/>
            </a:xfrm>
            <a:custGeom>
              <a:avLst/>
              <a:gdLst>
                <a:gd name="T0" fmla="*/ 9 w 516"/>
                <a:gd name="T1" fmla="*/ 70 h 678"/>
                <a:gd name="T2" fmla="*/ 14 w 516"/>
                <a:gd name="T3" fmla="*/ 69 h 678"/>
                <a:gd name="T4" fmla="*/ 15 w 516"/>
                <a:gd name="T5" fmla="*/ 66 h 678"/>
                <a:gd name="T6" fmla="*/ 28 w 516"/>
                <a:gd name="T7" fmla="*/ 64 h 678"/>
                <a:gd name="T8" fmla="*/ 38 w 516"/>
                <a:gd name="T9" fmla="*/ 33 h 678"/>
                <a:gd name="T10" fmla="*/ 25 w 516"/>
                <a:gd name="T11" fmla="*/ 28 h 678"/>
                <a:gd name="T12" fmla="*/ 17 w 516"/>
                <a:gd name="T13" fmla="*/ 23 h 678"/>
                <a:gd name="T14" fmla="*/ 15 w 516"/>
                <a:gd name="T15" fmla="*/ 20 h 678"/>
                <a:gd name="T16" fmla="*/ 14 w 516"/>
                <a:gd name="T17" fmla="*/ 14 h 678"/>
                <a:gd name="T18" fmla="*/ 14 w 516"/>
                <a:gd name="T19" fmla="*/ 10 h 678"/>
                <a:gd name="T20" fmla="*/ 17 w 516"/>
                <a:gd name="T21" fmla="*/ 5 h 678"/>
                <a:gd name="T22" fmla="*/ 19 w 516"/>
                <a:gd name="T23" fmla="*/ 7 h 678"/>
                <a:gd name="T24" fmla="*/ 22 w 516"/>
                <a:gd name="T25" fmla="*/ 12 h 678"/>
                <a:gd name="T26" fmla="*/ 25 w 516"/>
                <a:gd name="T27" fmla="*/ 15 h 678"/>
                <a:gd name="T28" fmla="*/ 28 w 516"/>
                <a:gd name="T29" fmla="*/ 14 h 678"/>
                <a:gd name="T30" fmla="*/ 32 w 516"/>
                <a:gd name="T31" fmla="*/ 12 h 678"/>
                <a:gd name="T32" fmla="*/ 35 w 516"/>
                <a:gd name="T33" fmla="*/ 10 h 678"/>
                <a:gd name="T34" fmla="*/ 40 w 516"/>
                <a:gd name="T35" fmla="*/ 12 h 678"/>
                <a:gd name="T36" fmla="*/ 43 w 516"/>
                <a:gd name="T37" fmla="*/ 10 h 678"/>
                <a:gd name="T38" fmla="*/ 46 w 516"/>
                <a:gd name="T39" fmla="*/ 8 h 678"/>
                <a:gd name="T40" fmla="*/ 49 w 516"/>
                <a:gd name="T41" fmla="*/ 8 h 678"/>
                <a:gd name="T42" fmla="*/ 51 w 516"/>
                <a:gd name="T43" fmla="*/ 8 h 678"/>
                <a:gd name="T44" fmla="*/ 56 w 516"/>
                <a:gd name="T45" fmla="*/ 7 h 678"/>
                <a:gd name="T46" fmla="*/ 59 w 516"/>
                <a:gd name="T47" fmla="*/ 7 h 678"/>
                <a:gd name="T48" fmla="*/ 63 w 516"/>
                <a:gd name="T49" fmla="*/ 5 h 678"/>
                <a:gd name="T50" fmla="*/ 66 w 516"/>
                <a:gd name="T51" fmla="*/ 5 h 678"/>
                <a:gd name="T52" fmla="*/ 69 w 516"/>
                <a:gd name="T53" fmla="*/ 2 h 678"/>
                <a:gd name="T54" fmla="*/ 70 w 516"/>
                <a:gd name="T55" fmla="*/ 0 h 678"/>
                <a:gd name="T56" fmla="*/ 75 w 516"/>
                <a:gd name="T57" fmla="*/ 3 h 678"/>
                <a:gd name="T58" fmla="*/ 72 w 516"/>
                <a:gd name="T59" fmla="*/ 8 h 678"/>
                <a:gd name="T60" fmla="*/ 74 w 516"/>
                <a:gd name="T61" fmla="*/ 13 h 678"/>
                <a:gd name="T62" fmla="*/ 74 w 516"/>
                <a:gd name="T63" fmla="*/ 14 h 678"/>
                <a:gd name="T64" fmla="*/ 75 w 516"/>
                <a:gd name="T65" fmla="*/ 15 h 678"/>
                <a:gd name="T66" fmla="*/ 72 w 516"/>
                <a:gd name="T67" fmla="*/ 15 h 678"/>
                <a:gd name="T68" fmla="*/ 70 w 516"/>
                <a:gd name="T69" fmla="*/ 20 h 678"/>
                <a:gd name="T70" fmla="*/ 70 w 516"/>
                <a:gd name="T71" fmla="*/ 25 h 678"/>
                <a:gd name="T72" fmla="*/ 69 w 516"/>
                <a:gd name="T73" fmla="*/ 28 h 678"/>
                <a:gd name="T74" fmla="*/ 67 w 516"/>
                <a:gd name="T75" fmla="*/ 32 h 678"/>
                <a:gd name="T76" fmla="*/ 64 w 516"/>
                <a:gd name="T77" fmla="*/ 37 h 678"/>
                <a:gd name="T78" fmla="*/ 62 w 516"/>
                <a:gd name="T79" fmla="*/ 42 h 678"/>
                <a:gd name="T80" fmla="*/ 59 w 516"/>
                <a:gd name="T81" fmla="*/ 47 h 678"/>
                <a:gd name="T82" fmla="*/ 57 w 516"/>
                <a:gd name="T83" fmla="*/ 53 h 678"/>
                <a:gd name="T84" fmla="*/ 54 w 516"/>
                <a:gd name="T85" fmla="*/ 59 h 678"/>
                <a:gd name="T86" fmla="*/ 51 w 516"/>
                <a:gd name="T87" fmla="*/ 66 h 678"/>
                <a:gd name="T88" fmla="*/ 48 w 516"/>
                <a:gd name="T89" fmla="*/ 70 h 678"/>
                <a:gd name="T90" fmla="*/ 45 w 516"/>
                <a:gd name="T91" fmla="*/ 75 h 678"/>
                <a:gd name="T92" fmla="*/ 41 w 516"/>
                <a:gd name="T93" fmla="*/ 79 h 678"/>
                <a:gd name="T94" fmla="*/ 36 w 516"/>
                <a:gd name="T95" fmla="*/ 84 h 678"/>
                <a:gd name="T96" fmla="*/ 35 w 516"/>
                <a:gd name="T97" fmla="*/ 87 h 678"/>
                <a:gd name="T98" fmla="*/ 30 w 516"/>
                <a:gd name="T99" fmla="*/ 89 h 678"/>
                <a:gd name="T100" fmla="*/ 27 w 516"/>
                <a:gd name="T101" fmla="*/ 92 h 678"/>
                <a:gd name="T102" fmla="*/ 23 w 516"/>
                <a:gd name="T103" fmla="*/ 96 h 678"/>
                <a:gd name="T104" fmla="*/ 21 w 516"/>
                <a:gd name="T105" fmla="*/ 98 h 678"/>
                <a:gd name="T106" fmla="*/ 19 w 516"/>
                <a:gd name="T107" fmla="*/ 101 h 678"/>
                <a:gd name="T108" fmla="*/ 14 w 516"/>
                <a:gd name="T109" fmla="*/ 107 h 678"/>
                <a:gd name="T110" fmla="*/ 11 w 516"/>
                <a:gd name="T111" fmla="*/ 111 h 678"/>
                <a:gd name="T112" fmla="*/ 9 w 516"/>
                <a:gd name="T113" fmla="*/ 114 h 678"/>
                <a:gd name="T114" fmla="*/ 7 w 516"/>
                <a:gd name="T115" fmla="*/ 114 h 678"/>
                <a:gd name="T116" fmla="*/ 7 w 516"/>
                <a:gd name="T117" fmla="*/ 116 h 678"/>
                <a:gd name="T118" fmla="*/ 6 w 516"/>
                <a:gd name="T119" fmla="*/ 118 h 678"/>
                <a:gd name="T120" fmla="*/ 6 w 516"/>
                <a:gd name="T121" fmla="*/ 117 h 678"/>
                <a:gd name="T122" fmla="*/ 0 w 516"/>
                <a:gd name="T123" fmla="*/ 114 h 678"/>
                <a:gd name="T124" fmla="*/ 0 w 516"/>
                <a:gd name="T125" fmla="*/ 89 h 6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16" h="678">
                  <a:moveTo>
                    <a:pt x="42" y="402"/>
                  </a:moveTo>
                  <a:lnTo>
                    <a:pt x="48" y="402"/>
                  </a:lnTo>
                  <a:lnTo>
                    <a:pt x="48" y="396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72" y="390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90" y="384"/>
                  </a:lnTo>
                  <a:lnTo>
                    <a:pt x="96" y="384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2" y="372"/>
                  </a:lnTo>
                  <a:lnTo>
                    <a:pt x="102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32" y="354"/>
                  </a:lnTo>
                  <a:lnTo>
                    <a:pt x="150" y="348"/>
                  </a:lnTo>
                  <a:lnTo>
                    <a:pt x="198" y="354"/>
                  </a:lnTo>
                  <a:lnTo>
                    <a:pt x="348" y="198"/>
                  </a:lnTo>
                  <a:lnTo>
                    <a:pt x="300" y="198"/>
                  </a:lnTo>
                  <a:lnTo>
                    <a:pt x="294" y="198"/>
                  </a:lnTo>
                  <a:lnTo>
                    <a:pt x="276" y="192"/>
                  </a:lnTo>
                  <a:lnTo>
                    <a:pt x="258" y="186"/>
                  </a:lnTo>
                  <a:lnTo>
                    <a:pt x="252" y="186"/>
                  </a:lnTo>
                  <a:lnTo>
                    <a:pt x="246" y="180"/>
                  </a:lnTo>
                  <a:lnTo>
                    <a:pt x="228" y="174"/>
                  </a:lnTo>
                  <a:lnTo>
                    <a:pt x="192" y="162"/>
                  </a:lnTo>
                  <a:lnTo>
                    <a:pt x="174" y="156"/>
                  </a:lnTo>
                  <a:lnTo>
                    <a:pt x="150" y="150"/>
                  </a:lnTo>
                  <a:lnTo>
                    <a:pt x="144" y="144"/>
                  </a:lnTo>
                  <a:lnTo>
                    <a:pt x="132" y="132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14" y="120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02" y="108"/>
                  </a:lnTo>
                  <a:lnTo>
                    <a:pt x="102" y="96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90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14" y="30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44" y="60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28" y="60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60"/>
                  </a:lnTo>
                  <a:lnTo>
                    <a:pt x="258" y="60"/>
                  </a:lnTo>
                  <a:lnTo>
                    <a:pt x="264" y="66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8" y="60"/>
                  </a:lnTo>
                  <a:lnTo>
                    <a:pt x="294" y="60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42"/>
                  </a:lnTo>
                  <a:lnTo>
                    <a:pt x="324" y="42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36" y="42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36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6" y="42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44" y="24"/>
                  </a:lnTo>
                  <a:lnTo>
                    <a:pt x="450" y="24"/>
                  </a:lnTo>
                  <a:lnTo>
                    <a:pt x="456" y="24"/>
                  </a:lnTo>
                  <a:lnTo>
                    <a:pt x="462" y="24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6"/>
                  </a:lnTo>
                  <a:lnTo>
                    <a:pt x="486" y="0"/>
                  </a:lnTo>
                  <a:lnTo>
                    <a:pt x="492" y="6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10" y="18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04" y="48"/>
                  </a:lnTo>
                  <a:lnTo>
                    <a:pt x="504" y="54"/>
                  </a:lnTo>
                  <a:lnTo>
                    <a:pt x="504" y="66"/>
                  </a:lnTo>
                  <a:lnTo>
                    <a:pt x="504" y="72"/>
                  </a:lnTo>
                  <a:lnTo>
                    <a:pt x="504" y="78"/>
                  </a:lnTo>
                  <a:lnTo>
                    <a:pt x="498" y="78"/>
                  </a:lnTo>
                  <a:lnTo>
                    <a:pt x="504" y="78"/>
                  </a:lnTo>
                  <a:lnTo>
                    <a:pt x="510" y="78"/>
                  </a:lnTo>
                  <a:lnTo>
                    <a:pt x="504" y="78"/>
                  </a:lnTo>
                  <a:lnTo>
                    <a:pt x="504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6" y="78"/>
                  </a:lnTo>
                  <a:lnTo>
                    <a:pt x="516" y="84"/>
                  </a:lnTo>
                  <a:lnTo>
                    <a:pt x="510" y="84"/>
                  </a:lnTo>
                  <a:lnTo>
                    <a:pt x="510" y="78"/>
                  </a:lnTo>
                  <a:lnTo>
                    <a:pt x="498" y="78"/>
                  </a:lnTo>
                  <a:lnTo>
                    <a:pt x="498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2" y="108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26"/>
                  </a:lnTo>
                  <a:lnTo>
                    <a:pt x="492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80" y="138"/>
                  </a:lnTo>
                  <a:lnTo>
                    <a:pt x="480" y="144"/>
                  </a:lnTo>
                  <a:lnTo>
                    <a:pt x="480" y="150"/>
                  </a:lnTo>
                  <a:lnTo>
                    <a:pt x="474" y="150"/>
                  </a:lnTo>
                  <a:lnTo>
                    <a:pt x="468" y="156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62" y="168"/>
                  </a:lnTo>
                  <a:lnTo>
                    <a:pt x="462" y="174"/>
                  </a:lnTo>
                  <a:lnTo>
                    <a:pt x="456" y="180"/>
                  </a:lnTo>
                  <a:lnTo>
                    <a:pt x="456" y="186"/>
                  </a:lnTo>
                  <a:lnTo>
                    <a:pt x="456" y="192"/>
                  </a:lnTo>
                  <a:lnTo>
                    <a:pt x="450" y="192"/>
                  </a:lnTo>
                  <a:lnTo>
                    <a:pt x="444" y="198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38" y="216"/>
                  </a:lnTo>
                  <a:lnTo>
                    <a:pt x="438" y="222"/>
                  </a:lnTo>
                  <a:lnTo>
                    <a:pt x="432" y="228"/>
                  </a:lnTo>
                  <a:lnTo>
                    <a:pt x="426" y="234"/>
                  </a:lnTo>
                  <a:lnTo>
                    <a:pt x="420" y="240"/>
                  </a:lnTo>
                  <a:lnTo>
                    <a:pt x="420" y="246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64"/>
                  </a:lnTo>
                  <a:lnTo>
                    <a:pt x="402" y="270"/>
                  </a:lnTo>
                  <a:lnTo>
                    <a:pt x="402" y="276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396" y="294"/>
                  </a:lnTo>
                  <a:lnTo>
                    <a:pt x="390" y="312"/>
                  </a:lnTo>
                  <a:lnTo>
                    <a:pt x="384" y="318"/>
                  </a:lnTo>
                  <a:lnTo>
                    <a:pt x="378" y="324"/>
                  </a:lnTo>
                  <a:lnTo>
                    <a:pt x="378" y="330"/>
                  </a:lnTo>
                  <a:lnTo>
                    <a:pt x="372" y="330"/>
                  </a:lnTo>
                  <a:lnTo>
                    <a:pt x="366" y="348"/>
                  </a:lnTo>
                  <a:lnTo>
                    <a:pt x="360" y="354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48" y="372"/>
                  </a:lnTo>
                  <a:lnTo>
                    <a:pt x="348" y="378"/>
                  </a:lnTo>
                  <a:lnTo>
                    <a:pt x="342" y="378"/>
                  </a:lnTo>
                  <a:lnTo>
                    <a:pt x="336" y="390"/>
                  </a:lnTo>
                  <a:lnTo>
                    <a:pt x="330" y="390"/>
                  </a:lnTo>
                  <a:lnTo>
                    <a:pt x="330" y="396"/>
                  </a:lnTo>
                  <a:lnTo>
                    <a:pt x="318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0" y="426"/>
                  </a:lnTo>
                  <a:lnTo>
                    <a:pt x="294" y="432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82" y="444"/>
                  </a:lnTo>
                  <a:lnTo>
                    <a:pt x="276" y="450"/>
                  </a:lnTo>
                  <a:lnTo>
                    <a:pt x="270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68"/>
                  </a:lnTo>
                  <a:lnTo>
                    <a:pt x="252" y="474"/>
                  </a:lnTo>
                  <a:lnTo>
                    <a:pt x="246" y="474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8" y="492"/>
                  </a:lnTo>
                  <a:lnTo>
                    <a:pt x="222" y="492"/>
                  </a:lnTo>
                  <a:lnTo>
                    <a:pt x="216" y="498"/>
                  </a:lnTo>
                  <a:lnTo>
                    <a:pt x="210" y="498"/>
                  </a:lnTo>
                  <a:lnTo>
                    <a:pt x="204" y="504"/>
                  </a:lnTo>
                  <a:lnTo>
                    <a:pt x="198" y="504"/>
                  </a:lnTo>
                  <a:lnTo>
                    <a:pt x="192" y="510"/>
                  </a:lnTo>
                  <a:lnTo>
                    <a:pt x="186" y="510"/>
                  </a:lnTo>
                  <a:lnTo>
                    <a:pt x="186" y="516"/>
                  </a:lnTo>
                  <a:lnTo>
                    <a:pt x="180" y="516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8" y="528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46"/>
                  </a:lnTo>
                  <a:lnTo>
                    <a:pt x="144" y="546"/>
                  </a:lnTo>
                  <a:lnTo>
                    <a:pt x="144" y="552"/>
                  </a:lnTo>
                  <a:lnTo>
                    <a:pt x="138" y="552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6" y="564"/>
                  </a:lnTo>
                  <a:lnTo>
                    <a:pt x="120" y="570"/>
                  </a:lnTo>
                  <a:lnTo>
                    <a:pt x="114" y="576"/>
                  </a:lnTo>
                  <a:lnTo>
                    <a:pt x="108" y="582"/>
                  </a:lnTo>
                  <a:lnTo>
                    <a:pt x="102" y="588"/>
                  </a:lnTo>
                  <a:lnTo>
                    <a:pt x="96" y="600"/>
                  </a:lnTo>
                  <a:lnTo>
                    <a:pt x="90" y="606"/>
                  </a:lnTo>
                  <a:lnTo>
                    <a:pt x="84" y="612"/>
                  </a:lnTo>
                  <a:lnTo>
                    <a:pt x="78" y="612"/>
                  </a:lnTo>
                  <a:lnTo>
                    <a:pt x="78" y="618"/>
                  </a:lnTo>
                  <a:lnTo>
                    <a:pt x="72" y="618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30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36"/>
                  </a:lnTo>
                  <a:lnTo>
                    <a:pt x="48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48"/>
                  </a:lnTo>
                  <a:lnTo>
                    <a:pt x="48" y="648"/>
                  </a:lnTo>
                  <a:lnTo>
                    <a:pt x="48" y="642"/>
                  </a:lnTo>
                  <a:lnTo>
                    <a:pt x="48" y="648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48" y="654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36" y="654"/>
                  </a:lnTo>
                  <a:lnTo>
                    <a:pt x="36" y="660"/>
                  </a:lnTo>
                  <a:lnTo>
                    <a:pt x="36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36" y="666"/>
                  </a:lnTo>
                  <a:lnTo>
                    <a:pt x="30" y="672"/>
                  </a:lnTo>
                  <a:lnTo>
                    <a:pt x="30" y="678"/>
                  </a:lnTo>
                  <a:lnTo>
                    <a:pt x="0" y="636"/>
                  </a:lnTo>
                  <a:lnTo>
                    <a:pt x="0" y="618"/>
                  </a:lnTo>
                  <a:lnTo>
                    <a:pt x="0" y="600"/>
                  </a:lnTo>
                  <a:lnTo>
                    <a:pt x="0" y="594"/>
                  </a:lnTo>
                  <a:lnTo>
                    <a:pt x="0" y="504"/>
                  </a:lnTo>
                  <a:lnTo>
                    <a:pt x="0" y="498"/>
                  </a:lnTo>
                  <a:lnTo>
                    <a:pt x="0" y="456"/>
                  </a:lnTo>
                  <a:lnTo>
                    <a:pt x="18" y="438"/>
                  </a:lnTo>
                  <a:lnTo>
                    <a:pt x="36" y="414"/>
                  </a:lnTo>
                  <a:lnTo>
                    <a:pt x="42" y="40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42" name="Freeform 102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auto">
            <a:xfrm>
              <a:off x="5045" y="1380"/>
              <a:ext cx="54" cy="60"/>
            </a:xfrm>
            <a:custGeom>
              <a:avLst/>
              <a:gdLst>
                <a:gd name="T0" fmla="*/ 7 w 84"/>
                <a:gd name="T1" fmla="*/ 2 h 90"/>
                <a:gd name="T2" fmla="*/ 10 w 84"/>
                <a:gd name="T3" fmla="*/ 3 h 90"/>
                <a:gd name="T4" fmla="*/ 10 w 84"/>
                <a:gd name="T5" fmla="*/ 1 h 90"/>
                <a:gd name="T6" fmla="*/ 11 w 84"/>
                <a:gd name="T7" fmla="*/ 1 h 90"/>
                <a:gd name="T8" fmla="*/ 12 w 84"/>
                <a:gd name="T9" fmla="*/ 1 h 90"/>
                <a:gd name="T10" fmla="*/ 14 w 84"/>
                <a:gd name="T11" fmla="*/ 3 h 90"/>
                <a:gd name="T12" fmla="*/ 15 w 84"/>
                <a:gd name="T13" fmla="*/ 5 h 90"/>
                <a:gd name="T14" fmla="*/ 15 w 84"/>
                <a:gd name="T15" fmla="*/ 7 h 90"/>
                <a:gd name="T16" fmla="*/ 14 w 84"/>
                <a:gd name="T17" fmla="*/ 9 h 90"/>
                <a:gd name="T18" fmla="*/ 11 w 84"/>
                <a:gd name="T19" fmla="*/ 9 h 90"/>
                <a:gd name="T20" fmla="*/ 10 w 84"/>
                <a:gd name="T21" fmla="*/ 9 h 90"/>
                <a:gd name="T22" fmla="*/ 10 w 84"/>
                <a:gd name="T23" fmla="*/ 11 h 90"/>
                <a:gd name="T24" fmla="*/ 8 w 84"/>
                <a:gd name="T25" fmla="*/ 12 h 90"/>
                <a:gd name="T26" fmla="*/ 7 w 84"/>
                <a:gd name="T27" fmla="*/ 13 h 90"/>
                <a:gd name="T28" fmla="*/ 8 w 84"/>
                <a:gd name="T29" fmla="*/ 12 h 90"/>
                <a:gd name="T30" fmla="*/ 10 w 84"/>
                <a:gd name="T31" fmla="*/ 12 h 90"/>
                <a:gd name="T32" fmla="*/ 12 w 84"/>
                <a:gd name="T33" fmla="*/ 12 h 90"/>
                <a:gd name="T34" fmla="*/ 12 w 84"/>
                <a:gd name="T35" fmla="*/ 12 h 90"/>
                <a:gd name="T36" fmla="*/ 14 w 84"/>
                <a:gd name="T37" fmla="*/ 13 h 90"/>
                <a:gd name="T38" fmla="*/ 10 w 84"/>
                <a:gd name="T39" fmla="*/ 17 h 90"/>
                <a:gd name="T40" fmla="*/ 10 w 84"/>
                <a:gd name="T41" fmla="*/ 18 h 90"/>
                <a:gd name="T42" fmla="*/ 8 w 84"/>
                <a:gd name="T43" fmla="*/ 17 h 90"/>
                <a:gd name="T44" fmla="*/ 6 w 84"/>
                <a:gd name="T45" fmla="*/ 17 h 90"/>
                <a:gd name="T46" fmla="*/ 5 w 84"/>
                <a:gd name="T47" fmla="*/ 18 h 90"/>
                <a:gd name="T48" fmla="*/ 3 w 84"/>
                <a:gd name="T49" fmla="*/ 18 h 90"/>
                <a:gd name="T50" fmla="*/ 1 w 84"/>
                <a:gd name="T51" fmla="*/ 18 h 90"/>
                <a:gd name="T52" fmla="*/ 1 w 84"/>
                <a:gd name="T53" fmla="*/ 14 h 90"/>
                <a:gd name="T54" fmla="*/ 0 w 84"/>
                <a:gd name="T55" fmla="*/ 12 h 90"/>
                <a:gd name="T56" fmla="*/ 1 w 84"/>
                <a:gd name="T57" fmla="*/ 11 h 90"/>
                <a:gd name="T58" fmla="*/ 2 w 84"/>
                <a:gd name="T59" fmla="*/ 9 h 90"/>
                <a:gd name="T60" fmla="*/ 4 w 84"/>
                <a:gd name="T61" fmla="*/ 7 h 90"/>
                <a:gd name="T62" fmla="*/ 4 w 84"/>
                <a:gd name="T63" fmla="*/ 5 h 90"/>
                <a:gd name="T64" fmla="*/ 5 w 84"/>
                <a:gd name="T65" fmla="*/ 3 h 9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84" h="90">
                  <a:moveTo>
                    <a:pt x="36" y="12"/>
                  </a:moveTo>
                  <a:lnTo>
                    <a:pt x="42" y="12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78" y="66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2"/>
                  </a:lnTo>
                  <a:close/>
                </a:path>
              </a:pathLst>
            </a:custGeom>
            <a:solidFill>
              <a:srgbClr val="E2E2E2">
                <a:alpha val="69019"/>
              </a:srgbClr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4643" name="Group 103"/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 bwMode="auto">
            <a:xfrm>
              <a:off x="2992" y="987"/>
              <a:ext cx="1264" cy="664"/>
              <a:chOff x="1195" y="1446"/>
              <a:chExt cx="1654" cy="827"/>
            </a:xfrm>
          </p:grpSpPr>
          <p:sp>
            <p:nvSpPr>
              <p:cNvPr id="24648" name="Freeform 104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718" y="1446"/>
                <a:ext cx="663" cy="590"/>
              </a:xfrm>
              <a:custGeom>
                <a:avLst/>
                <a:gdLst>
                  <a:gd name="T0" fmla="*/ 10 w 822"/>
                  <a:gd name="T1" fmla="*/ 208 h 732"/>
                  <a:gd name="T2" fmla="*/ 15 w 822"/>
                  <a:gd name="T3" fmla="*/ 195 h 732"/>
                  <a:gd name="T4" fmla="*/ 28 w 822"/>
                  <a:gd name="T5" fmla="*/ 206 h 732"/>
                  <a:gd name="T6" fmla="*/ 35 w 822"/>
                  <a:gd name="T7" fmla="*/ 200 h 732"/>
                  <a:gd name="T8" fmla="*/ 53 w 822"/>
                  <a:gd name="T9" fmla="*/ 200 h 732"/>
                  <a:gd name="T10" fmla="*/ 81 w 822"/>
                  <a:gd name="T11" fmla="*/ 197 h 732"/>
                  <a:gd name="T12" fmla="*/ 132 w 822"/>
                  <a:gd name="T13" fmla="*/ 197 h 732"/>
                  <a:gd name="T14" fmla="*/ 137 w 822"/>
                  <a:gd name="T15" fmla="*/ 149 h 732"/>
                  <a:gd name="T16" fmla="*/ 132 w 822"/>
                  <a:gd name="T17" fmla="*/ 96 h 732"/>
                  <a:gd name="T18" fmla="*/ 124 w 822"/>
                  <a:gd name="T19" fmla="*/ 33 h 732"/>
                  <a:gd name="T20" fmla="*/ 175 w 822"/>
                  <a:gd name="T21" fmla="*/ 10 h 732"/>
                  <a:gd name="T22" fmla="*/ 259 w 822"/>
                  <a:gd name="T23" fmla="*/ 66 h 732"/>
                  <a:gd name="T24" fmla="*/ 292 w 822"/>
                  <a:gd name="T25" fmla="*/ 91 h 732"/>
                  <a:gd name="T26" fmla="*/ 298 w 822"/>
                  <a:gd name="T27" fmla="*/ 99 h 732"/>
                  <a:gd name="T28" fmla="*/ 310 w 822"/>
                  <a:gd name="T29" fmla="*/ 102 h 732"/>
                  <a:gd name="T30" fmla="*/ 324 w 822"/>
                  <a:gd name="T31" fmla="*/ 106 h 732"/>
                  <a:gd name="T32" fmla="*/ 324 w 822"/>
                  <a:gd name="T33" fmla="*/ 116 h 732"/>
                  <a:gd name="T34" fmla="*/ 348 w 822"/>
                  <a:gd name="T35" fmla="*/ 122 h 732"/>
                  <a:gd name="T36" fmla="*/ 340 w 822"/>
                  <a:gd name="T37" fmla="*/ 193 h 732"/>
                  <a:gd name="T38" fmla="*/ 332 w 822"/>
                  <a:gd name="T39" fmla="*/ 202 h 732"/>
                  <a:gd name="T40" fmla="*/ 274 w 822"/>
                  <a:gd name="T41" fmla="*/ 210 h 732"/>
                  <a:gd name="T42" fmla="*/ 261 w 822"/>
                  <a:gd name="T43" fmla="*/ 210 h 732"/>
                  <a:gd name="T44" fmla="*/ 236 w 822"/>
                  <a:gd name="T45" fmla="*/ 213 h 732"/>
                  <a:gd name="T46" fmla="*/ 214 w 822"/>
                  <a:gd name="T47" fmla="*/ 226 h 732"/>
                  <a:gd name="T48" fmla="*/ 198 w 822"/>
                  <a:gd name="T49" fmla="*/ 236 h 732"/>
                  <a:gd name="T50" fmla="*/ 190 w 822"/>
                  <a:gd name="T51" fmla="*/ 236 h 732"/>
                  <a:gd name="T52" fmla="*/ 186 w 822"/>
                  <a:gd name="T53" fmla="*/ 248 h 732"/>
                  <a:gd name="T54" fmla="*/ 173 w 822"/>
                  <a:gd name="T55" fmla="*/ 243 h 732"/>
                  <a:gd name="T56" fmla="*/ 167 w 822"/>
                  <a:gd name="T57" fmla="*/ 251 h 732"/>
                  <a:gd name="T58" fmla="*/ 163 w 822"/>
                  <a:gd name="T59" fmla="*/ 258 h 732"/>
                  <a:gd name="T60" fmla="*/ 160 w 822"/>
                  <a:gd name="T61" fmla="*/ 268 h 732"/>
                  <a:gd name="T62" fmla="*/ 148 w 822"/>
                  <a:gd name="T63" fmla="*/ 273 h 732"/>
                  <a:gd name="T64" fmla="*/ 148 w 822"/>
                  <a:gd name="T65" fmla="*/ 279 h 732"/>
                  <a:gd name="T66" fmla="*/ 148 w 822"/>
                  <a:gd name="T67" fmla="*/ 284 h 732"/>
                  <a:gd name="T68" fmla="*/ 145 w 822"/>
                  <a:gd name="T69" fmla="*/ 297 h 732"/>
                  <a:gd name="T70" fmla="*/ 134 w 822"/>
                  <a:gd name="T71" fmla="*/ 303 h 732"/>
                  <a:gd name="T72" fmla="*/ 130 w 822"/>
                  <a:gd name="T73" fmla="*/ 306 h 732"/>
                  <a:gd name="T74" fmla="*/ 127 w 822"/>
                  <a:gd name="T75" fmla="*/ 301 h 732"/>
                  <a:gd name="T76" fmla="*/ 124 w 822"/>
                  <a:gd name="T77" fmla="*/ 301 h 732"/>
                  <a:gd name="T78" fmla="*/ 119 w 822"/>
                  <a:gd name="T79" fmla="*/ 303 h 732"/>
                  <a:gd name="T80" fmla="*/ 104 w 822"/>
                  <a:gd name="T81" fmla="*/ 310 h 732"/>
                  <a:gd name="T82" fmla="*/ 96 w 822"/>
                  <a:gd name="T83" fmla="*/ 303 h 732"/>
                  <a:gd name="T84" fmla="*/ 86 w 822"/>
                  <a:gd name="T85" fmla="*/ 306 h 732"/>
                  <a:gd name="T86" fmla="*/ 84 w 822"/>
                  <a:gd name="T87" fmla="*/ 291 h 732"/>
                  <a:gd name="T88" fmla="*/ 79 w 822"/>
                  <a:gd name="T89" fmla="*/ 289 h 732"/>
                  <a:gd name="T90" fmla="*/ 76 w 822"/>
                  <a:gd name="T91" fmla="*/ 279 h 732"/>
                  <a:gd name="T92" fmla="*/ 72 w 822"/>
                  <a:gd name="T93" fmla="*/ 268 h 732"/>
                  <a:gd name="T94" fmla="*/ 61 w 822"/>
                  <a:gd name="T95" fmla="*/ 260 h 732"/>
                  <a:gd name="T96" fmla="*/ 59 w 822"/>
                  <a:gd name="T97" fmla="*/ 266 h 732"/>
                  <a:gd name="T98" fmla="*/ 51 w 822"/>
                  <a:gd name="T99" fmla="*/ 268 h 732"/>
                  <a:gd name="T100" fmla="*/ 40 w 822"/>
                  <a:gd name="T101" fmla="*/ 268 h 732"/>
                  <a:gd name="T102" fmla="*/ 31 w 822"/>
                  <a:gd name="T103" fmla="*/ 271 h 732"/>
                  <a:gd name="T104" fmla="*/ 23 w 822"/>
                  <a:gd name="T105" fmla="*/ 268 h 732"/>
                  <a:gd name="T106" fmla="*/ 18 w 822"/>
                  <a:gd name="T107" fmla="*/ 263 h 732"/>
                  <a:gd name="T108" fmla="*/ 18 w 822"/>
                  <a:gd name="T109" fmla="*/ 251 h 732"/>
                  <a:gd name="T110" fmla="*/ 8 w 822"/>
                  <a:gd name="T111" fmla="*/ 243 h 732"/>
                  <a:gd name="T112" fmla="*/ 5 w 822"/>
                  <a:gd name="T113" fmla="*/ 228 h 732"/>
                  <a:gd name="T114" fmla="*/ 2 w 822"/>
                  <a:gd name="T115" fmla="*/ 218 h 73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822" h="732">
                    <a:moveTo>
                      <a:pt x="0" y="504"/>
                    </a:moveTo>
                    <a:lnTo>
                      <a:pt x="6" y="504"/>
                    </a:lnTo>
                    <a:lnTo>
                      <a:pt x="12" y="510"/>
                    </a:lnTo>
                    <a:lnTo>
                      <a:pt x="12" y="504"/>
                    </a:lnTo>
                    <a:lnTo>
                      <a:pt x="18" y="504"/>
                    </a:lnTo>
                    <a:lnTo>
                      <a:pt x="24" y="498"/>
                    </a:lnTo>
                    <a:lnTo>
                      <a:pt x="24" y="492"/>
                    </a:lnTo>
                    <a:lnTo>
                      <a:pt x="24" y="486"/>
                    </a:lnTo>
                    <a:lnTo>
                      <a:pt x="24" y="480"/>
                    </a:lnTo>
                    <a:lnTo>
                      <a:pt x="24" y="474"/>
                    </a:lnTo>
                    <a:lnTo>
                      <a:pt x="24" y="468"/>
                    </a:lnTo>
                    <a:lnTo>
                      <a:pt x="30" y="468"/>
                    </a:lnTo>
                    <a:lnTo>
                      <a:pt x="36" y="468"/>
                    </a:lnTo>
                    <a:lnTo>
                      <a:pt x="36" y="462"/>
                    </a:lnTo>
                    <a:lnTo>
                      <a:pt x="42" y="462"/>
                    </a:lnTo>
                    <a:lnTo>
                      <a:pt x="48" y="468"/>
                    </a:lnTo>
                    <a:lnTo>
                      <a:pt x="48" y="474"/>
                    </a:lnTo>
                    <a:lnTo>
                      <a:pt x="54" y="474"/>
                    </a:lnTo>
                    <a:lnTo>
                      <a:pt x="60" y="480"/>
                    </a:lnTo>
                    <a:lnTo>
                      <a:pt x="66" y="480"/>
                    </a:lnTo>
                    <a:lnTo>
                      <a:pt x="66" y="486"/>
                    </a:lnTo>
                    <a:lnTo>
                      <a:pt x="66" y="492"/>
                    </a:lnTo>
                    <a:lnTo>
                      <a:pt x="66" y="486"/>
                    </a:lnTo>
                    <a:lnTo>
                      <a:pt x="72" y="486"/>
                    </a:lnTo>
                    <a:lnTo>
                      <a:pt x="72" y="480"/>
                    </a:lnTo>
                    <a:lnTo>
                      <a:pt x="78" y="480"/>
                    </a:lnTo>
                    <a:lnTo>
                      <a:pt x="78" y="474"/>
                    </a:lnTo>
                    <a:lnTo>
                      <a:pt x="84" y="474"/>
                    </a:lnTo>
                    <a:lnTo>
                      <a:pt x="90" y="474"/>
                    </a:lnTo>
                    <a:lnTo>
                      <a:pt x="96" y="474"/>
                    </a:lnTo>
                    <a:lnTo>
                      <a:pt x="102" y="474"/>
                    </a:lnTo>
                    <a:lnTo>
                      <a:pt x="108" y="474"/>
                    </a:lnTo>
                    <a:lnTo>
                      <a:pt x="114" y="474"/>
                    </a:lnTo>
                    <a:lnTo>
                      <a:pt x="120" y="474"/>
                    </a:lnTo>
                    <a:lnTo>
                      <a:pt x="126" y="474"/>
                    </a:lnTo>
                    <a:lnTo>
                      <a:pt x="144" y="474"/>
                    </a:lnTo>
                    <a:lnTo>
                      <a:pt x="138" y="462"/>
                    </a:lnTo>
                    <a:lnTo>
                      <a:pt x="144" y="462"/>
                    </a:lnTo>
                    <a:lnTo>
                      <a:pt x="150" y="462"/>
                    </a:lnTo>
                    <a:lnTo>
                      <a:pt x="144" y="468"/>
                    </a:lnTo>
                    <a:lnTo>
                      <a:pt x="180" y="468"/>
                    </a:lnTo>
                    <a:lnTo>
                      <a:pt x="192" y="468"/>
                    </a:lnTo>
                    <a:lnTo>
                      <a:pt x="198" y="468"/>
                    </a:lnTo>
                    <a:lnTo>
                      <a:pt x="216" y="468"/>
                    </a:lnTo>
                    <a:lnTo>
                      <a:pt x="228" y="468"/>
                    </a:lnTo>
                    <a:lnTo>
                      <a:pt x="252" y="468"/>
                    </a:lnTo>
                    <a:lnTo>
                      <a:pt x="258" y="468"/>
                    </a:lnTo>
                    <a:lnTo>
                      <a:pt x="276" y="468"/>
                    </a:lnTo>
                    <a:lnTo>
                      <a:pt x="312" y="468"/>
                    </a:lnTo>
                    <a:lnTo>
                      <a:pt x="330" y="468"/>
                    </a:lnTo>
                    <a:lnTo>
                      <a:pt x="336" y="468"/>
                    </a:lnTo>
                    <a:lnTo>
                      <a:pt x="348" y="426"/>
                    </a:lnTo>
                    <a:lnTo>
                      <a:pt x="330" y="420"/>
                    </a:lnTo>
                    <a:lnTo>
                      <a:pt x="330" y="396"/>
                    </a:lnTo>
                    <a:lnTo>
                      <a:pt x="324" y="372"/>
                    </a:lnTo>
                    <a:lnTo>
                      <a:pt x="324" y="354"/>
                    </a:lnTo>
                    <a:lnTo>
                      <a:pt x="324" y="348"/>
                    </a:lnTo>
                    <a:lnTo>
                      <a:pt x="318" y="282"/>
                    </a:lnTo>
                    <a:lnTo>
                      <a:pt x="312" y="270"/>
                    </a:lnTo>
                    <a:lnTo>
                      <a:pt x="312" y="252"/>
                    </a:lnTo>
                    <a:lnTo>
                      <a:pt x="312" y="246"/>
                    </a:lnTo>
                    <a:lnTo>
                      <a:pt x="312" y="240"/>
                    </a:lnTo>
                    <a:lnTo>
                      <a:pt x="312" y="228"/>
                    </a:lnTo>
                    <a:lnTo>
                      <a:pt x="306" y="192"/>
                    </a:lnTo>
                    <a:lnTo>
                      <a:pt x="300" y="138"/>
                    </a:lnTo>
                    <a:lnTo>
                      <a:pt x="300" y="114"/>
                    </a:lnTo>
                    <a:lnTo>
                      <a:pt x="294" y="96"/>
                    </a:lnTo>
                    <a:lnTo>
                      <a:pt x="294" y="90"/>
                    </a:lnTo>
                    <a:lnTo>
                      <a:pt x="294" y="84"/>
                    </a:lnTo>
                    <a:lnTo>
                      <a:pt x="294" y="78"/>
                    </a:lnTo>
                    <a:lnTo>
                      <a:pt x="294" y="66"/>
                    </a:lnTo>
                    <a:lnTo>
                      <a:pt x="288" y="48"/>
                    </a:lnTo>
                    <a:lnTo>
                      <a:pt x="282" y="6"/>
                    </a:lnTo>
                    <a:lnTo>
                      <a:pt x="282" y="0"/>
                    </a:lnTo>
                    <a:lnTo>
                      <a:pt x="360" y="0"/>
                    </a:lnTo>
                    <a:lnTo>
                      <a:pt x="372" y="0"/>
                    </a:lnTo>
                    <a:lnTo>
                      <a:pt x="414" y="24"/>
                    </a:lnTo>
                    <a:lnTo>
                      <a:pt x="438" y="36"/>
                    </a:lnTo>
                    <a:lnTo>
                      <a:pt x="444" y="48"/>
                    </a:lnTo>
                    <a:lnTo>
                      <a:pt x="462" y="54"/>
                    </a:lnTo>
                    <a:lnTo>
                      <a:pt x="528" y="96"/>
                    </a:lnTo>
                    <a:lnTo>
                      <a:pt x="600" y="144"/>
                    </a:lnTo>
                    <a:lnTo>
                      <a:pt x="612" y="150"/>
                    </a:lnTo>
                    <a:lnTo>
                      <a:pt x="612" y="156"/>
                    </a:lnTo>
                    <a:lnTo>
                      <a:pt x="666" y="192"/>
                    </a:lnTo>
                    <a:lnTo>
                      <a:pt x="666" y="198"/>
                    </a:lnTo>
                    <a:lnTo>
                      <a:pt x="666" y="210"/>
                    </a:lnTo>
                    <a:lnTo>
                      <a:pt x="672" y="210"/>
                    </a:lnTo>
                    <a:lnTo>
                      <a:pt x="678" y="210"/>
                    </a:lnTo>
                    <a:lnTo>
                      <a:pt x="684" y="216"/>
                    </a:lnTo>
                    <a:lnTo>
                      <a:pt x="690" y="216"/>
                    </a:lnTo>
                    <a:lnTo>
                      <a:pt x="690" y="222"/>
                    </a:lnTo>
                    <a:lnTo>
                      <a:pt x="690" y="228"/>
                    </a:lnTo>
                    <a:lnTo>
                      <a:pt x="696" y="228"/>
                    </a:lnTo>
                    <a:lnTo>
                      <a:pt x="702" y="228"/>
                    </a:lnTo>
                    <a:lnTo>
                      <a:pt x="702" y="234"/>
                    </a:lnTo>
                    <a:lnTo>
                      <a:pt x="702" y="228"/>
                    </a:lnTo>
                    <a:lnTo>
                      <a:pt x="702" y="234"/>
                    </a:lnTo>
                    <a:lnTo>
                      <a:pt x="708" y="234"/>
                    </a:lnTo>
                    <a:lnTo>
                      <a:pt x="714" y="234"/>
                    </a:lnTo>
                    <a:lnTo>
                      <a:pt x="720" y="234"/>
                    </a:lnTo>
                    <a:lnTo>
                      <a:pt x="726" y="234"/>
                    </a:lnTo>
                    <a:lnTo>
                      <a:pt x="726" y="240"/>
                    </a:lnTo>
                    <a:lnTo>
                      <a:pt x="732" y="246"/>
                    </a:lnTo>
                    <a:lnTo>
                      <a:pt x="732" y="240"/>
                    </a:lnTo>
                    <a:lnTo>
                      <a:pt x="732" y="246"/>
                    </a:lnTo>
                    <a:lnTo>
                      <a:pt x="738" y="246"/>
                    </a:lnTo>
                    <a:lnTo>
                      <a:pt x="744" y="246"/>
                    </a:lnTo>
                    <a:lnTo>
                      <a:pt x="750" y="246"/>
                    </a:lnTo>
                    <a:lnTo>
                      <a:pt x="756" y="246"/>
                    </a:lnTo>
                    <a:lnTo>
                      <a:pt x="762" y="252"/>
                    </a:lnTo>
                    <a:lnTo>
                      <a:pt x="768" y="252"/>
                    </a:lnTo>
                    <a:lnTo>
                      <a:pt x="768" y="258"/>
                    </a:lnTo>
                    <a:lnTo>
                      <a:pt x="768" y="264"/>
                    </a:lnTo>
                    <a:lnTo>
                      <a:pt x="768" y="270"/>
                    </a:lnTo>
                    <a:lnTo>
                      <a:pt x="774" y="270"/>
                    </a:lnTo>
                    <a:lnTo>
                      <a:pt x="768" y="270"/>
                    </a:lnTo>
                    <a:lnTo>
                      <a:pt x="774" y="276"/>
                    </a:lnTo>
                    <a:lnTo>
                      <a:pt x="768" y="276"/>
                    </a:lnTo>
                    <a:lnTo>
                      <a:pt x="768" y="282"/>
                    </a:lnTo>
                    <a:lnTo>
                      <a:pt x="768" y="288"/>
                    </a:lnTo>
                    <a:lnTo>
                      <a:pt x="762" y="288"/>
                    </a:lnTo>
                    <a:lnTo>
                      <a:pt x="768" y="294"/>
                    </a:lnTo>
                    <a:lnTo>
                      <a:pt x="774" y="294"/>
                    </a:lnTo>
                    <a:lnTo>
                      <a:pt x="774" y="300"/>
                    </a:lnTo>
                    <a:lnTo>
                      <a:pt x="822" y="288"/>
                    </a:lnTo>
                    <a:lnTo>
                      <a:pt x="822" y="396"/>
                    </a:lnTo>
                    <a:lnTo>
                      <a:pt x="810" y="402"/>
                    </a:lnTo>
                    <a:lnTo>
                      <a:pt x="810" y="414"/>
                    </a:lnTo>
                    <a:lnTo>
                      <a:pt x="810" y="426"/>
                    </a:lnTo>
                    <a:lnTo>
                      <a:pt x="810" y="444"/>
                    </a:lnTo>
                    <a:lnTo>
                      <a:pt x="804" y="450"/>
                    </a:lnTo>
                    <a:lnTo>
                      <a:pt x="804" y="456"/>
                    </a:lnTo>
                    <a:lnTo>
                      <a:pt x="804" y="462"/>
                    </a:lnTo>
                    <a:lnTo>
                      <a:pt x="798" y="462"/>
                    </a:lnTo>
                    <a:lnTo>
                      <a:pt x="792" y="462"/>
                    </a:lnTo>
                    <a:lnTo>
                      <a:pt x="792" y="468"/>
                    </a:lnTo>
                    <a:lnTo>
                      <a:pt x="786" y="468"/>
                    </a:lnTo>
                    <a:lnTo>
                      <a:pt x="786" y="474"/>
                    </a:lnTo>
                    <a:lnTo>
                      <a:pt x="786" y="480"/>
                    </a:lnTo>
                    <a:lnTo>
                      <a:pt x="762" y="480"/>
                    </a:lnTo>
                    <a:lnTo>
                      <a:pt x="738" y="474"/>
                    </a:lnTo>
                    <a:lnTo>
                      <a:pt x="702" y="480"/>
                    </a:lnTo>
                    <a:lnTo>
                      <a:pt x="678" y="480"/>
                    </a:lnTo>
                    <a:lnTo>
                      <a:pt x="672" y="480"/>
                    </a:lnTo>
                    <a:lnTo>
                      <a:pt x="660" y="498"/>
                    </a:lnTo>
                    <a:lnTo>
                      <a:pt x="648" y="498"/>
                    </a:lnTo>
                    <a:lnTo>
                      <a:pt x="642" y="498"/>
                    </a:lnTo>
                    <a:lnTo>
                      <a:pt x="636" y="498"/>
                    </a:lnTo>
                    <a:lnTo>
                      <a:pt x="636" y="492"/>
                    </a:lnTo>
                    <a:lnTo>
                      <a:pt x="630" y="498"/>
                    </a:lnTo>
                    <a:lnTo>
                      <a:pt x="624" y="492"/>
                    </a:lnTo>
                    <a:lnTo>
                      <a:pt x="618" y="492"/>
                    </a:lnTo>
                    <a:lnTo>
                      <a:pt x="618" y="498"/>
                    </a:lnTo>
                    <a:lnTo>
                      <a:pt x="612" y="498"/>
                    </a:lnTo>
                    <a:lnTo>
                      <a:pt x="612" y="492"/>
                    </a:lnTo>
                    <a:lnTo>
                      <a:pt x="600" y="492"/>
                    </a:lnTo>
                    <a:lnTo>
                      <a:pt x="588" y="492"/>
                    </a:lnTo>
                    <a:lnTo>
                      <a:pt x="576" y="492"/>
                    </a:lnTo>
                    <a:lnTo>
                      <a:pt x="564" y="498"/>
                    </a:lnTo>
                    <a:lnTo>
                      <a:pt x="558" y="504"/>
                    </a:lnTo>
                    <a:lnTo>
                      <a:pt x="546" y="510"/>
                    </a:lnTo>
                    <a:lnTo>
                      <a:pt x="528" y="516"/>
                    </a:lnTo>
                    <a:lnTo>
                      <a:pt x="522" y="522"/>
                    </a:lnTo>
                    <a:lnTo>
                      <a:pt x="516" y="522"/>
                    </a:lnTo>
                    <a:lnTo>
                      <a:pt x="510" y="522"/>
                    </a:lnTo>
                    <a:lnTo>
                      <a:pt x="510" y="534"/>
                    </a:lnTo>
                    <a:lnTo>
                      <a:pt x="504" y="534"/>
                    </a:lnTo>
                    <a:lnTo>
                      <a:pt x="498" y="534"/>
                    </a:lnTo>
                    <a:lnTo>
                      <a:pt x="486" y="528"/>
                    </a:lnTo>
                    <a:lnTo>
                      <a:pt x="480" y="540"/>
                    </a:lnTo>
                    <a:lnTo>
                      <a:pt x="468" y="540"/>
                    </a:lnTo>
                    <a:lnTo>
                      <a:pt x="468" y="546"/>
                    </a:lnTo>
                    <a:lnTo>
                      <a:pt x="468" y="552"/>
                    </a:lnTo>
                    <a:lnTo>
                      <a:pt x="468" y="558"/>
                    </a:lnTo>
                    <a:lnTo>
                      <a:pt x="462" y="564"/>
                    </a:lnTo>
                    <a:lnTo>
                      <a:pt x="462" y="558"/>
                    </a:lnTo>
                    <a:lnTo>
                      <a:pt x="456" y="564"/>
                    </a:lnTo>
                    <a:lnTo>
                      <a:pt x="456" y="558"/>
                    </a:lnTo>
                    <a:lnTo>
                      <a:pt x="450" y="558"/>
                    </a:lnTo>
                    <a:lnTo>
                      <a:pt x="444" y="558"/>
                    </a:lnTo>
                    <a:lnTo>
                      <a:pt x="450" y="558"/>
                    </a:lnTo>
                    <a:lnTo>
                      <a:pt x="450" y="564"/>
                    </a:lnTo>
                    <a:lnTo>
                      <a:pt x="444" y="570"/>
                    </a:lnTo>
                    <a:lnTo>
                      <a:pt x="450" y="570"/>
                    </a:lnTo>
                    <a:lnTo>
                      <a:pt x="450" y="576"/>
                    </a:lnTo>
                    <a:lnTo>
                      <a:pt x="450" y="582"/>
                    </a:lnTo>
                    <a:lnTo>
                      <a:pt x="438" y="582"/>
                    </a:lnTo>
                    <a:lnTo>
                      <a:pt x="438" y="588"/>
                    </a:lnTo>
                    <a:lnTo>
                      <a:pt x="432" y="582"/>
                    </a:lnTo>
                    <a:lnTo>
                      <a:pt x="426" y="582"/>
                    </a:lnTo>
                    <a:lnTo>
                      <a:pt x="420" y="576"/>
                    </a:lnTo>
                    <a:lnTo>
                      <a:pt x="414" y="576"/>
                    </a:lnTo>
                    <a:lnTo>
                      <a:pt x="414" y="570"/>
                    </a:lnTo>
                    <a:lnTo>
                      <a:pt x="408" y="570"/>
                    </a:lnTo>
                    <a:lnTo>
                      <a:pt x="408" y="576"/>
                    </a:lnTo>
                    <a:lnTo>
                      <a:pt x="402" y="576"/>
                    </a:lnTo>
                    <a:lnTo>
                      <a:pt x="402" y="582"/>
                    </a:lnTo>
                    <a:lnTo>
                      <a:pt x="396" y="582"/>
                    </a:lnTo>
                    <a:lnTo>
                      <a:pt x="402" y="582"/>
                    </a:lnTo>
                    <a:lnTo>
                      <a:pt x="396" y="582"/>
                    </a:lnTo>
                    <a:lnTo>
                      <a:pt x="396" y="588"/>
                    </a:lnTo>
                    <a:lnTo>
                      <a:pt x="396" y="594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402" y="606"/>
                    </a:lnTo>
                    <a:lnTo>
                      <a:pt x="396" y="606"/>
                    </a:lnTo>
                    <a:lnTo>
                      <a:pt x="390" y="606"/>
                    </a:lnTo>
                    <a:lnTo>
                      <a:pt x="384" y="606"/>
                    </a:lnTo>
                    <a:lnTo>
                      <a:pt x="384" y="612"/>
                    </a:lnTo>
                    <a:lnTo>
                      <a:pt x="390" y="612"/>
                    </a:lnTo>
                    <a:lnTo>
                      <a:pt x="390" y="618"/>
                    </a:lnTo>
                    <a:lnTo>
                      <a:pt x="390" y="624"/>
                    </a:lnTo>
                    <a:lnTo>
                      <a:pt x="390" y="630"/>
                    </a:lnTo>
                    <a:lnTo>
                      <a:pt x="384" y="630"/>
                    </a:lnTo>
                    <a:lnTo>
                      <a:pt x="384" y="636"/>
                    </a:lnTo>
                    <a:lnTo>
                      <a:pt x="378" y="636"/>
                    </a:lnTo>
                    <a:lnTo>
                      <a:pt x="378" y="642"/>
                    </a:lnTo>
                    <a:lnTo>
                      <a:pt x="372" y="642"/>
                    </a:lnTo>
                    <a:lnTo>
                      <a:pt x="366" y="642"/>
                    </a:lnTo>
                    <a:lnTo>
                      <a:pt x="360" y="642"/>
                    </a:lnTo>
                    <a:lnTo>
                      <a:pt x="354" y="642"/>
                    </a:lnTo>
                    <a:lnTo>
                      <a:pt x="354" y="648"/>
                    </a:lnTo>
                    <a:lnTo>
                      <a:pt x="348" y="648"/>
                    </a:lnTo>
                    <a:lnTo>
                      <a:pt x="348" y="654"/>
                    </a:lnTo>
                    <a:lnTo>
                      <a:pt x="348" y="648"/>
                    </a:lnTo>
                    <a:lnTo>
                      <a:pt x="348" y="654"/>
                    </a:lnTo>
                    <a:lnTo>
                      <a:pt x="348" y="648"/>
                    </a:lnTo>
                    <a:lnTo>
                      <a:pt x="342" y="654"/>
                    </a:lnTo>
                    <a:lnTo>
                      <a:pt x="348" y="654"/>
                    </a:lnTo>
                    <a:lnTo>
                      <a:pt x="348" y="660"/>
                    </a:lnTo>
                    <a:lnTo>
                      <a:pt x="348" y="666"/>
                    </a:lnTo>
                    <a:lnTo>
                      <a:pt x="354" y="666"/>
                    </a:lnTo>
                    <a:lnTo>
                      <a:pt x="348" y="666"/>
                    </a:lnTo>
                    <a:lnTo>
                      <a:pt x="354" y="666"/>
                    </a:lnTo>
                    <a:lnTo>
                      <a:pt x="348" y="672"/>
                    </a:lnTo>
                    <a:lnTo>
                      <a:pt x="354" y="672"/>
                    </a:lnTo>
                    <a:lnTo>
                      <a:pt x="348" y="672"/>
                    </a:lnTo>
                    <a:lnTo>
                      <a:pt x="348" y="678"/>
                    </a:lnTo>
                    <a:lnTo>
                      <a:pt x="348" y="684"/>
                    </a:lnTo>
                    <a:lnTo>
                      <a:pt x="342" y="684"/>
                    </a:lnTo>
                    <a:lnTo>
                      <a:pt x="342" y="690"/>
                    </a:lnTo>
                    <a:lnTo>
                      <a:pt x="336" y="690"/>
                    </a:lnTo>
                    <a:lnTo>
                      <a:pt x="336" y="696"/>
                    </a:lnTo>
                    <a:lnTo>
                      <a:pt x="342" y="702"/>
                    </a:lnTo>
                    <a:lnTo>
                      <a:pt x="336" y="702"/>
                    </a:lnTo>
                    <a:lnTo>
                      <a:pt x="336" y="708"/>
                    </a:lnTo>
                    <a:lnTo>
                      <a:pt x="336" y="714"/>
                    </a:lnTo>
                    <a:lnTo>
                      <a:pt x="336" y="720"/>
                    </a:lnTo>
                    <a:lnTo>
                      <a:pt x="330" y="720"/>
                    </a:lnTo>
                    <a:lnTo>
                      <a:pt x="324" y="720"/>
                    </a:lnTo>
                    <a:lnTo>
                      <a:pt x="318" y="720"/>
                    </a:lnTo>
                    <a:lnTo>
                      <a:pt x="318" y="726"/>
                    </a:lnTo>
                    <a:lnTo>
                      <a:pt x="312" y="726"/>
                    </a:lnTo>
                    <a:lnTo>
                      <a:pt x="312" y="732"/>
                    </a:lnTo>
                    <a:lnTo>
                      <a:pt x="306" y="732"/>
                    </a:lnTo>
                    <a:lnTo>
                      <a:pt x="300" y="732"/>
                    </a:lnTo>
                    <a:lnTo>
                      <a:pt x="300" y="726"/>
                    </a:lnTo>
                    <a:lnTo>
                      <a:pt x="306" y="726"/>
                    </a:lnTo>
                    <a:lnTo>
                      <a:pt x="300" y="726"/>
                    </a:lnTo>
                    <a:lnTo>
                      <a:pt x="300" y="720"/>
                    </a:lnTo>
                    <a:lnTo>
                      <a:pt x="306" y="720"/>
                    </a:lnTo>
                    <a:lnTo>
                      <a:pt x="300" y="720"/>
                    </a:lnTo>
                    <a:lnTo>
                      <a:pt x="306" y="720"/>
                    </a:lnTo>
                    <a:lnTo>
                      <a:pt x="300" y="720"/>
                    </a:lnTo>
                    <a:lnTo>
                      <a:pt x="300" y="714"/>
                    </a:lnTo>
                    <a:lnTo>
                      <a:pt x="300" y="720"/>
                    </a:lnTo>
                    <a:lnTo>
                      <a:pt x="300" y="714"/>
                    </a:lnTo>
                    <a:lnTo>
                      <a:pt x="300" y="708"/>
                    </a:lnTo>
                    <a:lnTo>
                      <a:pt x="294" y="708"/>
                    </a:lnTo>
                    <a:lnTo>
                      <a:pt x="288" y="708"/>
                    </a:lnTo>
                    <a:lnTo>
                      <a:pt x="288" y="714"/>
                    </a:lnTo>
                    <a:lnTo>
                      <a:pt x="294" y="714"/>
                    </a:lnTo>
                    <a:lnTo>
                      <a:pt x="288" y="714"/>
                    </a:lnTo>
                    <a:lnTo>
                      <a:pt x="282" y="714"/>
                    </a:lnTo>
                    <a:lnTo>
                      <a:pt x="282" y="708"/>
                    </a:lnTo>
                    <a:lnTo>
                      <a:pt x="282" y="714"/>
                    </a:lnTo>
                    <a:lnTo>
                      <a:pt x="276" y="714"/>
                    </a:lnTo>
                    <a:lnTo>
                      <a:pt x="276" y="720"/>
                    </a:lnTo>
                    <a:lnTo>
                      <a:pt x="282" y="720"/>
                    </a:lnTo>
                    <a:lnTo>
                      <a:pt x="276" y="726"/>
                    </a:lnTo>
                    <a:lnTo>
                      <a:pt x="270" y="726"/>
                    </a:lnTo>
                    <a:lnTo>
                      <a:pt x="264" y="726"/>
                    </a:lnTo>
                    <a:lnTo>
                      <a:pt x="264" y="732"/>
                    </a:lnTo>
                    <a:lnTo>
                      <a:pt x="258" y="732"/>
                    </a:lnTo>
                    <a:lnTo>
                      <a:pt x="252" y="732"/>
                    </a:lnTo>
                    <a:lnTo>
                      <a:pt x="246" y="732"/>
                    </a:lnTo>
                    <a:lnTo>
                      <a:pt x="246" y="726"/>
                    </a:lnTo>
                    <a:lnTo>
                      <a:pt x="246" y="732"/>
                    </a:lnTo>
                    <a:lnTo>
                      <a:pt x="246" y="726"/>
                    </a:lnTo>
                    <a:lnTo>
                      <a:pt x="240" y="726"/>
                    </a:lnTo>
                    <a:lnTo>
                      <a:pt x="240" y="720"/>
                    </a:lnTo>
                    <a:lnTo>
                      <a:pt x="234" y="720"/>
                    </a:lnTo>
                    <a:lnTo>
                      <a:pt x="228" y="720"/>
                    </a:lnTo>
                    <a:lnTo>
                      <a:pt x="228" y="726"/>
                    </a:lnTo>
                    <a:lnTo>
                      <a:pt x="222" y="726"/>
                    </a:lnTo>
                    <a:lnTo>
                      <a:pt x="222" y="732"/>
                    </a:lnTo>
                    <a:lnTo>
                      <a:pt x="216" y="732"/>
                    </a:lnTo>
                    <a:lnTo>
                      <a:pt x="216" y="726"/>
                    </a:lnTo>
                    <a:lnTo>
                      <a:pt x="210" y="726"/>
                    </a:lnTo>
                    <a:lnTo>
                      <a:pt x="204" y="726"/>
                    </a:lnTo>
                    <a:lnTo>
                      <a:pt x="204" y="720"/>
                    </a:lnTo>
                    <a:lnTo>
                      <a:pt x="198" y="720"/>
                    </a:lnTo>
                    <a:lnTo>
                      <a:pt x="198" y="714"/>
                    </a:lnTo>
                    <a:lnTo>
                      <a:pt x="198" y="708"/>
                    </a:lnTo>
                    <a:lnTo>
                      <a:pt x="198" y="702"/>
                    </a:lnTo>
                    <a:lnTo>
                      <a:pt x="198" y="696"/>
                    </a:lnTo>
                    <a:lnTo>
                      <a:pt x="198" y="690"/>
                    </a:lnTo>
                    <a:lnTo>
                      <a:pt x="192" y="690"/>
                    </a:lnTo>
                    <a:lnTo>
                      <a:pt x="186" y="690"/>
                    </a:lnTo>
                    <a:lnTo>
                      <a:pt x="186" y="696"/>
                    </a:lnTo>
                    <a:lnTo>
                      <a:pt x="180" y="696"/>
                    </a:lnTo>
                    <a:lnTo>
                      <a:pt x="180" y="690"/>
                    </a:lnTo>
                    <a:lnTo>
                      <a:pt x="180" y="684"/>
                    </a:lnTo>
                    <a:lnTo>
                      <a:pt x="186" y="684"/>
                    </a:lnTo>
                    <a:lnTo>
                      <a:pt x="186" y="678"/>
                    </a:lnTo>
                    <a:lnTo>
                      <a:pt x="192" y="678"/>
                    </a:lnTo>
                    <a:lnTo>
                      <a:pt x="192" y="672"/>
                    </a:lnTo>
                    <a:lnTo>
                      <a:pt x="186" y="672"/>
                    </a:lnTo>
                    <a:lnTo>
                      <a:pt x="180" y="672"/>
                    </a:lnTo>
                    <a:lnTo>
                      <a:pt x="180" y="666"/>
                    </a:lnTo>
                    <a:lnTo>
                      <a:pt x="180" y="660"/>
                    </a:lnTo>
                    <a:lnTo>
                      <a:pt x="174" y="660"/>
                    </a:lnTo>
                    <a:lnTo>
                      <a:pt x="168" y="660"/>
                    </a:lnTo>
                    <a:lnTo>
                      <a:pt x="174" y="654"/>
                    </a:lnTo>
                    <a:lnTo>
                      <a:pt x="174" y="648"/>
                    </a:lnTo>
                    <a:lnTo>
                      <a:pt x="174" y="642"/>
                    </a:lnTo>
                    <a:lnTo>
                      <a:pt x="168" y="642"/>
                    </a:lnTo>
                    <a:lnTo>
                      <a:pt x="168" y="636"/>
                    </a:lnTo>
                    <a:lnTo>
                      <a:pt x="162" y="636"/>
                    </a:lnTo>
                    <a:lnTo>
                      <a:pt x="162" y="630"/>
                    </a:lnTo>
                    <a:lnTo>
                      <a:pt x="162" y="624"/>
                    </a:lnTo>
                    <a:lnTo>
                      <a:pt x="156" y="624"/>
                    </a:lnTo>
                    <a:lnTo>
                      <a:pt x="156" y="618"/>
                    </a:lnTo>
                    <a:lnTo>
                      <a:pt x="150" y="618"/>
                    </a:lnTo>
                    <a:lnTo>
                      <a:pt x="144" y="618"/>
                    </a:lnTo>
                    <a:lnTo>
                      <a:pt x="144" y="624"/>
                    </a:lnTo>
                    <a:lnTo>
                      <a:pt x="144" y="618"/>
                    </a:lnTo>
                    <a:lnTo>
                      <a:pt x="144" y="624"/>
                    </a:lnTo>
                    <a:lnTo>
                      <a:pt x="150" y="624"/>
                    </a:lnTo>
                    <a:lnTo>
                      <a:pt x="150" y="630"/>
                    </a:lnTo>
                    <a:lnTo>
                      <a:pt x="144" y="630"/>
                    </a:lnTo>
                    <a:lnTo>
                      <a:pt x="138" y="630"/>
                    </a:lnTo>
                    <a:lnTo>
                      <a:pt x="138" y="636"/>
                    </a:lnTo>
                    <a:lnTo>
                      <a:pt x="132" y="636"/>
                    </a:lnTo>
                    <a:lnTo>
                      <a:pt x="126" y="636"/>
                    </a:lnTo>
                    <a:lnTo>
                      <a:pt x="132" y="642"/>
                    </a:lnTo>
                    <a:lnTo>
                      <a:pt x="126" y="642"/>
                    </a:lnTo>
                    <a:lnTo>
                      <a:pt x="120" y="642"/>
                    </a:lnTo>
                    <a:lnTo>
                      <a:pt x="120" y="636"/>
                    </a:lnTo>
                    <a:lnTo>
                      <a:pt x="114" y="636"/>
                    </a:lnTo>
                    <a:lnTo>
                      <a:pt x="108" y="636"/>
                    </a:lnTo>
                    <a:lnTo>
                      <a:pt x="102" y="636"/>
                    </a:lnTo>
                    <a:lnTo>
                      <a:pt x="102" y="630"/>
                    </a:lnTo>
                    <a:lnTo>
                      <a:pt x="96" y="636"/>
                    </a:lnTo>
                    <a:lnTo>
                      <a:pt x="96" y="630"/>
                    </a:lnTo>
                    <a:lnTo>
                      <a:pt x="96" y="636"/>
                    </a:lnTo>
                    <a:lnTo>
                      <a:pt x="90" y="636"/>
                    </a:lnTo>
                    <a:lnTo>
                      <a:pt x="90" y="642"/>
                    </a:lnTo>
                    <a:lnTo>
                      <a:pt x="84" y="642"/>
                    </a:lnTo>
                    <a:lnTo>
                      <a:pt x="84" y="648"/>
                    </a:lnTo>
                    <a:lnTo>
                      <a:pt x="78" y="648"/>
                    </a:lnTo>
                    <a:lnTo>
                      <a:pt x="78" y="642"/>
                    </a:lnTo>
                    <a:lnTo>
                      <a:pt x="72" y="642"/>
                    </a:lnTo>
                    <a:lnTo>
                      <a:pt x="72" y="636"/>
                    </a:lnTo>
                    <a:lnTo>
                      <a:pt x="66" y="636"/>
                    </a:lnTo>
                    <a:lnTo>
                      <a:pt x="66" y="630"/>
                    </a:lnTo>
                    <a:lnTo>
                      <a:pt x="60" y="636"/>
                    </a:lnTo>
                    <a:lnTo>
                      <a:pt x="60" y="630"/>
                    </a:lnTo>
                    <a:lnTo>
                      <a:pt x="60" y="636"/>
                    </a:lnTo>
                    <a:lnTo>
                      <a:pt x="54" y="636"/>
                    </a:lnTo>
                    <a:lnTo>
                      <a:pt x="54" y="642"/>
                    </a:lnTo>
                    <a:lnTo>
                      <a:pt x="48" y="642"/>
                    </a:lnTo>
                    <a:lnTo>
                      <a:pt x="42" y="636"/>
                    </a:lnTo>
                    <a:lnTo>
                      <a:pt x="36" y="636"/>
                    </a:lnTo>
                    <a:lnTo>
                      <a:pt x="36" y="630"/>
                    </a:lnTo>
                    <a:lnTo>
                      <a:pt x="42" y="630"/>
                    </a:lnTo>
                    <a:lnTo>
                      <a:pt x="42" y="624"/>
                    </a:lnTo>
                    <a:lnTo>
                      <a:pt x="48" y="618"/>
                    </a:lnTo>
                    <a:lnTo>
                      <a:pt x="42" y="618"/>
                    </a:lnTo>
                    <a:lnTo>
                      <a:pt x="42" y="612"/>
                    </a:lnTo>
                    <a:lnTo>
                      <a:pt x="42" y="606"/>
                    </a:lnTo>
                    <a:lnTo>
                      <a:pt x="42" y="600"/>
                    </a:lnTo>
                    <a:lnTo>
                      <a:pt x="48" y="594"/>
                    </a:lnTo>
                    <a:lnTo>
                      <a:pt x="42" y="594"/>
                    </a:lnTo>
                    <a:lnTo>
                      <a:pt x="42" y="588"/>
                    </a:lnTo>
                    <a:lnTo>
                      <a:pt x="36" y="588"/>
                    </a:lnTo>
                    <a:lnTo>
                      <a:pt x="36" y="582"/>
                    </a:lnTo>
                    <a:lnTo>
                      <a:pt x="36" y="576"/>
                    </a:lnTo>
                    <a:lnTo>
                      <a:pt x="30" y="576"/>
                    </a:lnTo>
                    <a:lnTo>
                      <a:pt x="24" y="576"/>
                    </a:lnTo>
                    <a:lnTo>
                      <a:pt x="18" y="576"/>
                    </a:lnTo>
                    <a:lnTo>
                      <a:pt x="18" y="570"/>
                    </a:lnTo>
                    <a:lnTo>
                      <a:pt x="12" y="564"/>
                    </a:lnTo>
                    <a:lnTo>
                      <a:pt x="12" y="558"/>
                    </a:lnTo>
                    <a:lnTo>
                      <a:pt x="18" y="552"/>
                    </a:lnTo>
                    <a:lnTo>
                      <a:pt x="18" y="546"/>
                    </a:lnTo>
                    <a:lnTo>
                      <a:pt x="12" y="546"/>
                    </a:lnTo>
                    <a:lnTo>
                      <a:pt x="12" y="540"/>
                    </a:lnTo>
                    <a:lnTo>
                      <a:pt x="12" y="534"/>
                    </a:lnTo>
                    <a:lnTo>
                      <a:pt x="12" y="528"/>
                    </a:lnTo>
                    <a:lnTo>
                      <a:pt x="6" y="528"/>
                    </a:lnTo>
                    <a:lnTo>
                      <a:pt x="6" y="522"/>
                    </a:lnTo>
                    <a:lnTo>
                      <a:pt x="0" y="522"/>
                    </a:lnTo>
                    <a:lnTo>
                      <a:pt x="0" y="516"/>
                    </a:lnTo>
                    <a:lnTo>
                      <a:pt x="6" y="516"/>
                    </a:lnTo>
                    <a:lnTo>
                      <a:pt x="6" y="510"/>
                    </a:lnTo>
                    <a:lnTo>
                      <a:pt x="0" y="510"/>
                    </a:lnTo>
                    <a:lnTo>
                      <a:pt x="0" y="504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49" name="Freeform 105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2215" y="1505"/>
                <a:ext cx="634" cy="473"/>
              </a:xfrm>
              <a:custGeom>
                <a:avLst/>
                <a:gdLst>
                  <a:gd name="T0" fmla="*/ 8 w 786"/>
                  <a:gd name="T1" fmla="*/ 179 h 588"/>
                  <a:gd name="T2" fmla="*/ 23 w 786"/>
                  <a:gd name="T3" fmla="*/ 171 h 588"/>
                  <a:gd name="T4" fmla="*/ 61 w 786"/>
                  <a:gd name="T5" fmla="*/ 171 h 588"/>
                  <a:gd name="T6" fmla="*/ 73 w 786"/>
                  <a:gd name="T7" fmla="*/ 167 h 588"/>
                  <a:gd name="T8" fmla="*/ 79 w 786"/>
                  <a:gd name="T9" fmla="*/ 161 h 588"/>
                  <a:gd name="T10" fmla="*/ 81 w 786"/>
                  <a:gd name="T11" fmla="*/ 143 h 588"/>
                  <a:gd name="T12" fmla="*/ 99 w 786"/>
                  <a:gd name="T13" fmla="*/ 88 h 588"/>
                  <a:gd name="T14" fmla="*/ 148 w 786"/>
                  <a:gd name="T15" fmla="*/ 60 h 588"/>
                  <a:gd name="T16" fmla="*/ 231 w 786"/>
                  <a:gd name="T17" fmla="*/ 10 h 588"/>
                  <a:gd name="T18" fmla="*/ 264 w 786"/>
                  <a:gd name="T19" fmla="*/ 2 h 588"/>
                  <a:gd name="T20" fmla="*/ 279 w 786"/>
                  <a:gd name="T21" fmla="*/ 5 h 588"/>
                  <a:gd name="T22" fmla="*/ 294 w 786"/>
                  <a:gd name="T23" fmla="*/ 18 h 588"/>
                  <a:gd name="T24" fmla="*/ 315 w 786"/>
                  <a:gd name="T25" fmla="*/ 40 h 588"/>
                  <a:gd name="T26" fmla="*/ 323 w 786"/>
                  <a:gd name="T27" fmla="*/ 52 h 588"/>
                  <a:gd name="T28" fmla="*/ 327 w 786"/>
                  <a:gd name="T29" fmla="*/ 60 h 588"/>
                  <a:gd name="T30" fmla="*/ 327 w 786"/>
                  <a:gd name="T31" fmla="*/ 78 h 588"/>
                  <a:gd name="T32" fmla="*/ 325 w 786"/>
                  <a:gd name="T33" fmla="*/ 91 h 588"/>
                  <a:gd name="T34" fmla="*/ 310 w 786"/>
                  <a:gd name="T35" fmla="*/ 148 h 588"/>
                  <a:gd name="T36" fmla="*/ 298 w 786"/>
                  <a:gd name="T37" fmla="*/ 164 h 588"/>
                  <a:gd name="T38" fmla="*/ 287 w 786"/>
                  <a:gd name="T39" fmla="*/ 179 h 588"/>
                  <a:gd name="T40" fmla="*/ 284 w 786"/>
                  <a:gd name="T41" fmla="*/ 186 h 588"/>
                  <a:gd name="T42" fmla="*/ 282 w 786"/>
                  <a:gd name="T43" fmla="*/ 204 h 588"/>
                  <a:gd name="T44" fmla="*/ 274 w 786"/>
                  <a:gd name="T45" fmla="*/ 207 h 588"/>
                  <a:gd name="T46" fmla="*/ 272 w 786"/>
                  <a:gd name="T47" fmla="*/ 209 h 588"/>
                  <a:gd name="T48" fmla="*/ 272 w 786"/>
                  <a:gd name="T49" fmla="*/ 209 h 588"/>
                  <a:gd name="T50" fmla="*/ 267 w 786"/>
                  <a:gd name="T51" fmla="*/ 209 h 588"/>
                  <a:gd name="T52" fmla="*/ 261 w 786"/>
                  <a:gd name="T53" fmla="*/ 213 h 588"/>
                  <a:gd name="T54" fmla="*/ 261 w 786"/>
                  <a:gd name="T55" fmla="*/ 213 h 588"/>
                  <a:gd name="T56" fmla="*/ 254 w 786"/>
                  <a:gd name="T57" fmla="*/ 216 h 588"/>
                  <a:gd name="T58" fmla="*/ 248 w 786"/>
                  <a:gd name="T59" fmla="*/ 216 h 588"/>
                  <a:gd name="T60" fmla="*/ 241 w 786"/>
                  <a:gd name="T61" fmla="*/ 211 h 588"/>
                  <a:gd name="T62" fmla="*/ 229 w 786"/>
                  <a:gd name="T63" fmla="*/ 211 h 588"/>
                  <a:gd name="T64" fmla="*/ 208 w 786"/>
                  <a:gd name="T65" fmla="*/ 213 h 588"/>
                  <a:gd name="T66" fmla="*/ 200 w 786"/>
                  <a:gd name="T67" fmla="*/ 224 h 588"/>
                  <a:gd name="T68" fmla="*/ 188 w 786"/>
                  <a:gd name="T69" fmla="*/ 221 h 588"/>
                  <a:gd name="T70" fmla="*/ 177 w 786"/>
                  <a:gd name="T71" fmla="*/ 219 h 588"/>
                  <a:gd name="T72" fmla="*/ 170 w 786"/>
                  <a:gd name="T73" fmla="*/ 213 h 588"/>
                  <a:gd name="T74" fmla="*/ 157 w 786"/>
                  <a:gd name="T75" fmla="*/ 213 h 588"/>
                  <a:gd name="T76" fmla="*/ 145 w 786"/>
                  <a:gd name="T77" fmla="*/ 219 h 588"/>
                  <a:gd name="T78" fmla="*/ 132 w 786"/>
                  <a:gd name="T79" fmla="*/ 207 h 588"/>
                  <a:gd name="T80" fmla="*/ 124 w 786"/>
                  <a:gd name="T81" fmla="*/ 204 h 588"/>
                  <a:gd name="T82" fmla="*/ 106 w 786"/>
                  <a:gd name="T83" fmla="*/ 204 h 588"/>
                  <a:gd name="T84" fmla="*/ 99 w 786"/>
                  <a:gd name="T85" fmla="*/ 201 h 588"/>
                  <a:gd name="T86" fmla="*/ 84 w 786"/>
                  <a:gd name="T87" fmla="*/ 219 h 588"/>
                  <a:gd name="T88" fmla="*/ 73 w 786"/>
                  <a:gd name="T89" fmla="*/ 228 h 588"/>
                  <a:gd name="T90" fmla="*/ 73 w 786"/>
                  <a:gd name="T91" fmla="*/ 241 h 588"/>
                  <a:gd name="T92" fmla="*/ 69 w 786"/>
                  <a:gd name="T93" fmla="*/ 241 h 588"/>
                  <a:gd name="T94" fmla="*/ 64 w 786"/>
                  <a:gd name="T95" fmla="*/ 237 h 588"/>
                  <a:gd name="T96" fmla="*/ 56 w 786"/>
                  <a:gd name="T97" fmla="*/ 231 h 588"/>
                  <a:gd name="T98" fmla="*/ 48 w 786"/>
                  <a:gd name="T99" fmla="*/ 233 h 588"/>
                  <a:gd name="T100" fmla="*/ 48 w 786"/>
                  <a:gd name="T101" fmla="*/ 239 h 588"/>
                  <a:gd name="T102" fmla="*/ 40 w 786"/>
                  <a:gd name="T103" fmla="*/ 233 h 588"/>
                  <a:gd name="T104" fmla="*/ 43 w 786"/>
                  <a:gd name="T105" fmla="*/ 226 h 588"/>
                  <a:gd name="T106" fmla="*/ 35 w 786"/>
                  <a:gd name="T107" fmla="*/ 226 h 588"/>
                  <a:gd name="T108" fmla="*/ 18 w 786"/>
                  <a:gd name="T109" fmla="*/ 211 h 588"/>
                  <a:gd name="T110" fmla="*/ 20 w 786"/>
                  <a:gd name="T111" fmla="*/ 209 h 588"/>
                  <a:gd name="T112" fmla="*/ 12 w 786"/>
                  <a:gd name="T113" fmla="*/ 207 h 588"/>
                  <a:gd name="T114" fmla="*/ 8 w 786"/>
                  <a:gd name="T115" fmla="*/ 201 h 588"/>
                  <a:gd name="T116" fmla="*/ 5 w 786"/>
                  <a:gd name="T117" fmla="*/ 194 h 588"/>
                  <a:gd name="T118" fmla="*/ 0 w 786"/>
                  <a:gd name="T119" fmla="*/ 186 h 588"/>
                  <a:gd name="T120" fmla="*/ 2 w 786"/>
                  <a:gd name="T121" fmla="*/ 176 h 58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786" h="588">
                    <a:moveTo>
                      <a:pt x="6" y="420"/>
                    </a:moveTo>
                    <a:lnTo>
                      <a:pt x="12" y="426"/>
                    </a:lnTo>
                    <a:lnTo>
                      <a:pt x="18" y="420"/>
                    </a:lnTo>
                    <a:lnTo>
                      <a:pt x="18" y="426"/>
                    </a:lnTo>
                    <a:lnTo>
                      <a:pt x="24" y="426"/>
                    </a:lnTo>
                    <a:lnTo>
                      <a:pt x="30" y="426"/>
                    </a:lnTo>
                    <a:lnTo>
                      <a:pt x="42" y="426"/>
                    </a:lnTo>
                    <a:lnTo>
                      <a:pt x="54" y="408"/>
                    </a:lnTo>
                    <a:lnTo>
                      <a:pt x="60" y="408"/>
                    </a:lnTo>
                    <a:lnTo>
                      <a:pt x="84" y="408"/>
                    </a:lnTo>
                    <a:lnTo>
                      <a:pt x="120" y="402"/>
                    </a:lnTo>
                    <a:lnTo>
                      <a:pt x="144" y="408"/>
                    </a:lnTo>
                    <a:lnTo>
                      <a:pt x="168" y="408"/>
                    </a:lnTo>
                    <a:lnTo>
                      <a:pt x="168" y="402"/>
                    </a:lnTo>
                    <a:lnTo>
                      <a:pt x="168" y="396"/>
                    </a:lnTo>
                    <a:lnTo>
                      <a:pt x="174" y="396"/>
                    </a:lnTo>
                    <a:lnTo>
                      <a:pt x="174" y="390"/>
                    </a:lnTo>
                    <a:lnTo>
                      <a:pt x="180" y="390"/>
                    </a:lnTo>
                    <a:lnTo>
                      <a:pt x="186" y="390"/>
                    </a:lnTo>
                    <a:lnTo>
                      <a:pt x="186" y="384"/>
                    </a:lnTo>
                    <a:lnTo>
                      <a:pt x="186" y="378"/>
                    </a:lnTo>
                    <a:lnTo>
                      <a:pt x="192" y="372"/>
                    </a:lnTo>
                    <a:lnTo>
                      <a:pt x="192" y="354"/>
                    </a:lnTo>
                    <a:lnTo>
                      <a:pt x="192" y="342"/>
                    </a:lnTo>
                    <a:lnTo>
                      <a:pt x="192" y="330"/>
                    </a:lnTo>
                    <a:lnTo>
                      <a:pt x="204" y="324"/>
                    </a:lnTo>
                    <a:lnTo>
                      <a:pt x="204" y="216"/>
                    </a:lnTo>
                    <a:lnTo>
                      <a:pt x="234" y="210"/>
                    </a:lnTo>
                    <a:lnTo>
                      <a:pt x="282" y="204"/>
                    </a:lnTo>
                    <a:lnTo>
                      <a:pt x="312" y="174"/>
                    </a:lnTo>
                    <a:lnTo>
                      <a:pt x="330" y="156"/>
                    </a:lnTo>
                    <a:lnTo>
                      <a:pt x="348" y="144"/>
                    </a:lnTo>
                    <a:lnTo>
                      <a:pt x="360" y="132"/>
                    </a:lnTo>
                    <a:lnTo>
                      <a:pt x="420" y="96"/>
                    </a:lnTo>
                    <a:lnTo>
                      <a:pt x="468" y="66"/>
                    </a:lnTo>
                    <a:lnTo>
                      <a:pt x="546" y="24"/>
                    </a:lnTo>
                    <a:lnTo>
                      <a:pt x="588" y="0"/>
                    </a:lnTo>
                    <a:lnTo>
                      <a:pt x="594" y="0"/>
                    </a:lnTo>
                    <a:lnTo>
                      <a:pt x="606" y="6"/>
                    </a:lnTo>
                    <a:lnTo>
                      <a:pt x="624" y="6"/>
                    </a:lnTo>
                    <a:lnTo>
                      <a:pt x="630" y="6"/>
                    </a:lnTo>
                    <a:lnTo>
                      <a:pt x="648" y="12"/>
                    </a:lnTo>
                    <a:lnTo>
                      <a:pt x="654" y="12"/>
                    </a:lnTo>
                    <a:lnTo>
                      <a:pt x="660" y="12"/>
                    </a:lnTo>
                    <a:lnTo>
                      <a:pt x="660" y="18"/>
                    </a:lnTo>
                    <a:lnTo>
                      <a:pt x="666" y="18"/>
                    </a:lnTo>
                    <a:lnTo>
                      <a:pt x="672" y="24"/>
                    </a:lnTo>
                    <a:lnTo>
                      <a:pt x="696" y="42"/>
                    </a:lnTo>
                    <a:lnTo>
                      <a:pt x="738" y="24"/>
                    </a:lnTo>
                    <a:lnTo>
                      <a:pt x="744" y="54"/>
                    </a:lnTo>
                    <a:lnTo>
                      <a:pt x="744" y="72"/>
                    </a:lnTo>
                    <a:lnTo>
                      <a:pt x="744" y="96"/>
                    </a:lnTo>
                    <a:lnTo>
                      <a:pt x="744" y="102"/>
                    </a:lnTo>
                    <a:lnTo>
                      <a:pt x="750" y="102"/>
                    </a:lnTo>
                    <a:lnTo>
                      <a:pt x="768" y="126"/>
                    </a:lnTo>
                    <a:lnTo>
                      <a:pt x="762" y="126"/>
                    </a:lnTo>
                    <a:lnTo>
                      <a:pt x="762" y="132"/>
                    </a:lnTo>
                    <a:lnTo>
                      <a:pt x="768" y="138"/>
                    </a:lnTo>
                    <a:lnTo>
                      <a:pt x="774" y="138"/>
                    </a:lnTo>
                    <a:lnTo>
                      <a:pt x="774" y="144"/>
                    </a:lnTo>
                    <a:lnTo>
                      <a:pt x="780" y="150"/>
                    </a:lnTo>
                    <a:lnTo>
                      <a:pt x="786" y="156"/>
                    </a:lnTo>
                    <a:lnTo>
                      <a:pt x="774" y="174"/>
                    </a:lnTo>
                    <a:lnTo>
                      <a:pt x="774" y="186"/>
                    </a:lnTo>
                    <a:lnTo>
                      <a:pt x="774" y="192"/>
                    </a:lnTo>
                    <a:lnTo>
                      <a:pt x="774" y="198"/>
                    </a:lnTo>
                    <a:lnTo>
                      <a:pt x="768" y="210"/>
                    </a:lnTo>
                    <a:lnTo>
                      <a:pt x="768" y="216"/>
                    </a:lnTo>
                    <a:lnTo>
                      <a:pt x="768" y="222"/>
                    </a:lnTo>
                    <a:lnTo>
                      <a:pt x="768" y="234"/>
                    </a:lnTo>
                    <a:lnTo>
                      <a:pt x="762" y="330"/>
                    </a:lnTo>
                    <a:lnTo>
                      <a:pt x="732" y="354"/>
                    </a:lnTo>
                    <a:lnTo>
                      <a:pt x="726" y="366"/>
                    </a:lnTo>
                    <a:lnTo>
                      <a:pt x="720" y="372"/>
                    </a:lnTo>
                    <a:lnTo>
                      <a:pt x="708" y="384"/>
                    </a:lnTo>
                    <a:lnTo>
                      <a:pt x="702" y="390"/>
                    </a:lnTo>
                    <a:lnTo>
                      <a:pt x="696" y="396"/>
                    </a:lnTo>
                    <a:lnTo>
                      <a:pt x="684" y="414"/>
                    </a:lnTo>
                    <a:lnTo>
                      <a:pt x="678" y="420"/>
                    </a:lnTo>
                    <a:lnTo>
                      <a:pt x="678" y="426"/>
                    </a:lnTo>
                    <a:lnTo>
                      <a:pt x="678" y="432"/>
                    </a:lnTo>
                    <a:lnTo>
                      <a:pt x="678" y="438"/>
                    </a:lnTo>
                    <a:lnTo>
                      <a:pt x="672" y="438"/>
                    </a:lnTo>
                    <a:lnTo>
                      <a:pt x="672" y="444"/>
                    </a:lnTo>
                    <a:lnTo>
                      <a:pt x="666" y="444"/>
                    </a:lnTo>
                    <a:lnTo>
                      <a:pt x="660" y="450"/>
                    </a:lnTo>
                    <a:lnTo>
                      <a:pt x="660" y="456"/>
                    </a:lnTo>
                    <a:lnTo>
                      <a:pt x="666" y="486"/>
                    </a:lnTo>
                    <a:lnTo>
                      <a:pt x="660" y="486"/>
                    </a:lnTo>
                    <a:lnTo>
                      <a:pt x="654" y="486"/>
                    </a:lnTo>
                    <a:lnTo>
                      <a:pt x="654" y="492"/>
                    </a:lnTo>
                    <a:lnTo>
                      <a:pt x="648" y="492"/>
                    </a:lnTo>
                    <a:lnTo>
                      <a:pt x="654" y="492"/>
                    </a:lnTo>
                    <a:lnTo>
                      <a:pt x="648" y="492"/>
                    </a:lnTo>
                    <a:lnTo>
                      <a:pt x="648" y="498"/>
                    </a:lnTo>
                    <a:lnTo>
                      <a:pt x="642" y="498"/>
                    </a:lnTo>
                    <a:lnTo>
                      <a:pt x="642" y="492"/>
                    </a:lnTo>
                    <a:lnTo>
                      <a:pt x="642" y="498"/>
                    </a:lnTo>
                    <a:lnTo>
                      <a:pt x="642" y="492"/>
                    </a:lnTo>
                    <a:lnTo>
                      <a:pt x="642" y="498"/>
                    </a:lnTo>
                    <a:lnTo>
                      <a:pt x="642" y="492"/>
                    </a:lnTo>
                    <a:lnTo>
                      <a:pt x="642" y="498"/>
                    </a:lnTo>
                    <a:lnTo>
                      <a:pt x="636" y="498"/>
                    </a:lnTo>
                    <a:lnTo>
                      <a:pt x="630" y="498"/>
                    </a:lnTo>
                    <a:lnTo>
                      <a:pt x="630" y="504"/>
                    </a:lnTo>
                    <a:lnTo>
                      <a:pt x="624" y="504"/>
                    </a:lnTo>
                    <a:lnTo>
                      <a:pt x="624" y="510"/>
                    </a:lnTo>
                    <a:lnTo>
                      <a:pt x="618" y="510"/>
                    </a:lnTo>
                    <a:lnTo>
                      <a:pt x="618" y="504"/>
                    </a:lnTo>
                    <a:lnTo>
                      <a:pt x="618" y="510"/>
                    </a:lnTo>
                    <a:lnTo>
                      <a:pt x="612" y="510"/>
                    </a:lnTo>
                    <a:lnTo>
                      <a:pt x="618" y="510"/>
                    </a:lnTo>
                    <a:lnTo>
                      <a:pt x="618" y="516"/>
                    </a:lnTo>
                    <a:lnTo>
                      <a:pt x="612" y="516"/>
                    </a:lnTo>
                    <a:lnTo>
                      <a:pt x="606" y="516"/>
                    </a:lnTo>
                    <a:lnTo>
                      <a:pt x="600" y="516"/>
                    </a:lnTo>
                    <a:lnTo>
                      <a:pt x="594" y="516"/>
                    </a:lnTo>
                    <a:lnTo>
                      <a:pt x="600" y="516"/>
                    </a:lnTo>
                    <a:lnTo>
                      <a:pt x="594" y="516"/>
                    </a:lnTo>
                    <a:lnTo>
                      <a:pt x="588" y="516"/>
                    </a:lnTo>
                    <a:lnTo>
                      <a:pt x="588" y="510"/>
                    </a:lnTo>
                    <a:lnTo>
                      <a:pt x="582" y="510"/>
                    </a:lnTo>
                    <a:lnTo>
                      <a:pt x="570" y="510"/>
                    </a:lnTo>
                    <a:lnTo>
                      <a:pt x="570" y="504"/>
                    </a:lnTo>
                    <a:lnTo>
                      <a:pt x="564" y="504"/>
                    </a:lnTo>
                    <a:lnTo>
                      <a:pt x="558" y="504"/>
                    </a:lnTo>
                    <a:lnTo>
                      <a:pt x="546" y="504"/>
                    </a:lnTo>
                    <a:lnTo>
                      <a:pt x="540" y="504"/>
                    </a:lnTo>
                    <a:lnTo>
                      <a:pt x="522" y="504"/>
                    </a:lnTo>
                    <a:lnTo>
                      <a:pt x="510" y="510"/>
                    </a:lnTo>
                    <a:lnTo>
                      <a:pt x="498" y="510"/>
                    </a:lnTo>
                    <a:lnTo>
                      <a:pt x="492" y="510"/>
                    </a:lnTo>
                    <a:lnTo>
                      <a:pt x="486" y="516"/>
                    </a:lnTo>
                    <a:lnTo>
                      <a:pt x="480" y="522"/>
                    </a:lnTo>
                    <a:lnTo>
                      <a:pt x="474" y="528"/>
                    </a:lnTo>
                    <a:lnTo>
                      <a:pt x="474" y="534"/>
                    </a:lnTo>
                    <a:lnTo>
                      <a:pt x="462" y="528"/>
                    </a:lnTo>
                    <a:lnTo>
                      <a:pt x="456" y="528"/>
                    </a:lnTo>
                    <a:lnTo>
                      <a:pt x="450" y="528"/>
                    </a:lnTo>
                    <a:lnTo>
                      <a:pt x="444" y="528"/>
                    </a:lnTo>
                    <a:lnTo>
                      <a:pt x="438" y="528"/>
                    </a:lnTo>
                    <a:lnTo>
                      <a:pt x="432" y="528"/>
                    </a:lnTo>
                    <a:lnTo>
                      <a:pt x="426" y="528"/>
                    </a:lnTo>
                    <a:lnTo>
                      <a:pt x="420" y="522"/>
                    </a:lnTo>
                    <a:lnTo>
                      <a:pt x="414" y="516"/>
                    </a:lnTo>
                    <a:lnTo>
                      <a:pt x="408" y="516"/>
                    </a:lnTo>
                    <a:lnTo>
                      <a:pt x="402" y="516"/>
                    </a:lnTo>
                    <a:lnTo>
                      <a:pt x="402" y="510"/>
                    </a:lnTo>
                    <a:lnTo>
                      <a:pt x="396" y="510"/>
                    </a:lnTo>
                    <a:lnTo>
                      <a:pt x="390" y="504"/>
                    </a:lnTo>
                    <a:lnTo>
                      <a:pt x="378" y="504"/>
                    </a:lnTo>
                    <a:lnTo>
                      <a:pt x="372" y="510"/>
                    </a:lnTo>
                    <a:lnTo>
                      <a:pt x="360" y="516"/>
                    </a:lnTo>
                    <a:lnTo>
                      <a:pt x="348" y="516"/>
                    </a:lnTo>
                    <a:lnTo>
                      <a:pt x="348" y="522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16"/>
                    </a:lnTo>
                    <a:lnTo>
                      <a:pt x="324" y="504"/>
                    </a:lnTo>
                    <a:lnTo>
                      <a:pt x="312" y="492"/>
                    </a:lnTo>
                    <a:lnTo>
                      <a:pt x="306" y="486"/>
                    </a:lnTo>
                    <a:lnTo>
                      <a:pt x="300" y="486"/>
                    </a:lnTo>
                    <a:lnTo>
                      <a:pt x="300" y="492"/>
                    </a:lnTo>
                    <a:lnTo>
                      <a:pt x="294" y="486"/>
                    </a:lnTo>
                    <a:lnTo>
                      <a:pt x="276" y="480"/>
                    </a:lnTo>
                    <a:lnTo>
                      <a:pt x="264" y="480"/>
                    </a:lnTo>
                    <a:lnTo>
                      <a:pt x="258" y="480"/>
                    </a:lnTo>
                    <a:lnTo>
                      <a:pt x="252" y="486"/>
                    </a:lnTo>
                    <a:lnTo>
                      <a:pt x="246" y="486"/>
                    </a:lnTo>
                    <a:lnTo>
                      <a:pt x="240" y="486"/>
                    </a:lnTo>
                    <a:lnTo>
                      <a:pt x="234" y="486"/>
                    </a:lnTo>
                    <a:lnTo>
                      <a:pt x="234" y="480"/>
                    </a:lnTo>
                    <a:lnTo>
                      <a:pt x="216" y="486"/>
                    </a:lnTo>
                    <a:lnTo>
                      <a:pt x="198" y="498"/>
                    </a:lnTo>
                    <a:lnTo>
                      <a:pt x="198" y="516"/>
                    </a:lnTo>
                    <a:lnTo>
                      <a:pt x="198" y="522"/>
                    </a:lnTo>
                    <a:lnTo>
                      <a:pt x="192" y="528"/>
                    </a:lnTo>
                    <a:lnTo>
                      <a:pt x="186" y="534"/>
                    </a:lnTo>
                    <a:lnTo>
                      <a:pt x="180" y="540"/>
                    </a:lnTo>
                    <a:lnTo>
                      <a:pt x="174" y="546"/>
                    </a:lnTo>
                    <a:lnTo>
                      <a:pt x="174" y="558"/>
                    </a:lnTo>
                    <a:lnTo>
                      <a:pt x="174" y="564"/>
                    </a:lnTo>
                    <a:lnTo>
                      <a:pt x="174" y="570"/>
                    </a:lnTo>
                    <a:lnTo>
                      <a:pt x="174" y="576"/>
                    </a:lnTo>
                    <a:lnTo>
                      <a:pt x="174" y="582"/>
                    </a:lnTo>
                    <a:lnTo>
                      <a:pt x="168" y="588"/>
                    </a:lnTo>
                    <a:lnTo>
                      <a:pt x="168" y="582"/>
                    </a:lnTo>
                    <a:lnTo>
                      <a:pt x="162" y="576"/>
                    </a:lnTo>
                    <a:lnTo>
                      <a:pt x="156" y="576"/>
                    </a:lnTo>
                    <a:lnTo>
                      <a:pt x="156" y="570"/>
                    </a:lnTo>
                    <a:lnTo>
                      <a:pt x="150" y="570"/>
                    </a:lnTo>
                    <a:lnTo>
                      <a:pt x="150" y="564"/>
                    </a:lnTo>
                    <a:lnTo>
                      <a:pt x="144" y="564"/>
                    </a:lnTo>
                    <a:lnTo>
                      <a:pt x="144" y="558"/>
                    </a:lnTo>
                    <a:lnTo>
                      <a:pt x="138" y="558"/>
                    </a:lnTo>
                    <a:lnTo>
                      <a:pt x="132" y="552"/>
                    </a:lnTo>
                    <a:lnTo>
                      <a:pt x="126" y="552"/>
                    </a:lnTo>
                    <a:lnTo>
                      <a:pt x="126" y="558"/>
                    </a:lnTo>
                    <a:lnTo>
                      <a:pt x="120" y="558"/>
                    </a:lnTo>
                    <a:lnTo>
                      <a:pt x="114" y="558"/>
                    </a:lnTo>
                    <a:lnTo>
                      <a:pt x="108" y="558"/>
                    </a:lnTo>
                    <a:lnTo>
                      <a:pt x="108" y="564"/>
                    </a:lnTo>
                    <a:lnTo>
                      <a:pt x="114" y="564"/>
                    </a:lnTo>
                    <a:lnTo>
                      <a:pt x="114" y="570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14" y="576"/>
                    </a:lnTo>
                    <a:lnTo>
                      <a:pt x="96" y="558"/>
                    </a:lnTo>
                    <a:lnTo>
                      <a:pt x="96" y="552"/>
                    </a:lnTo>
                    <a:lnTo>
                      <a:pt x="102" y="552"/>
                    </a:lnTo>
                    <a:lnTo>
                      <a:pt x="102" y="546"/>
                    </a:lnTo>
                    <a:lnTo>
                      <a:pt x="102" y="540"/>
                    </a:lnTo>
                    <a:lnTo>
                      <a:pt x="96" y="540"/>
                    </a:lnTo>
                    <a:lnTo>
                      <a:pt x="96" y="534"/>
                    </a:lnTo>
                    <a:lnTo>
                      <a:pt x="90" y="534"/>
                    </a:lnTo>
                    <a:lnTo>
                      <a:pt x="84" y="540"/>
                    </a:lnTo>
                    <a:lnTo>
                      <a:pt x="72" y="540"/>
                    </a:lnTo>
                    <a:lnTo>
                      <a:pt x="42" y="522"/>
                    </a:lnTo>
                    <a:lnTo>
                      <a:pt x="42" y="516"/>
                    </a:lnTo>
                    <a:lnTo>
                      <a:pt x="42" y="504"/>
                    </a:lnTo>
                    <a:lnTo>
                      <a:pt x="48" y="504"/>
                    </a:lnTo>
                    <a:lnTo>
                      <a:pt x="54" y="504"/>
                    </a:lnTo>
                    <a:lnTo>
                      <a:pt x="48" y="504"/>
                    </a:lnTo>
                    <a:lnTo>
                      <a:pt x="48" y="498"/>
                    </a:lnTo>
                    <a:lnTo>
                      <a:pt x="42" y="498"/>
                    </a:lnTo>
                    <a:lnTo>
                      <a:pt x="42" y="492"/>
                    </a:lnTo>
                    <a:lnTo>
                      <a:pt x="36" y="492"/>
                    </a:lnTo>
                    <a:lnTo>
                      <a:pt x="30" y="492"/>
                    </a:lnTo>
                    <a:lnTo>
                      <a:pt x="30" y="486"/>
                    </a:lnTo>
                    <a:lnTo>
                      <a:pt x="24" y="486"/>
                    </a:lnTo>
                    <a:lnTo>
                      <a:pt x="24" y="480"/>
                    </a:lnTo>
                    <a:lnTo>
                      <a:pt x="18" y="480"/>
                    </a:lnTo>
                    <a:lnTo>
                      <a:pt x="18" y="474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2" y="462"/>
                    </a:lnTo>
                    <a:lnTo>
                      <a:pt x="12" y="456"/>
                    </a:lnTo>
                    <a:lnTo>
                      <a:pt x="6" y="456"/>
                    </a:lnTo>
                    <a:lnTo>
                      <a:pt x="0" y="450"/>
                    </a:lnTo>
                    <a:lnTo>
                      <a:pt x="0" y="444"/>
                    </a:lnTo>
                    <a:lnTo>
                      <a:pt x="0" y="438"/>
                    </a:lnTo>
                    <a:lnTo>
                      <a:pt x="0" y="432"/>
                    </a:lnTo>
                    <a:lnTo>
                      <a:pt x="6" y="426"/>
                    </a:lnTo>
                    <a:lnTo>
                      <a:pt x="6" y="420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0" name="Freeform 106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505" y="1775"/>
                <a:ext cx="251" cy="179"/>
              </a:xfrm>
              <a:custGeom>
                <a:avLst/>
                <a:gdLst>
                  <a:gd name="T0" fmla="*/ 23 w 312"/>
                  <a:gd name="T1" fmla="*/ 12 h 222"/>
                  <a:gd name="T2" fmla="*/ 28 w 312"/>
                  <a:gd name="T3" fmla="*/ 5 h 222"/>
                  <a:gd name="T4" fmla="*/ 33 w 312"/>
                  <a:gd name="T5" fmla="*/ 5 h 222"/>
                  <a:gd name="T6" fmla="*/ 43 w 312"/>
                  <a:gd name="T7" fmla="*/ 5 h 222"/>
                  <a:gd name="T8" fmla="*/ 45 w 312"/>
                  <a:gd name="T9" fmla="*/ 2 h 222"/>
                  <a:gd name="T10" fmla="*/ 51 w 312"/>
                  <a:gd name="T11" fmla="*/ 2 h 222"/>
                  <a:gd name="T12" fmla="*/ 52 w 312"/>
                  <a:gd name="T13" fmla="*/ 0 h 222"/>
                  <a:gd name="T14" fmla="*/ 60 w 312"/>
                  <a:gd name="T15" fmla="*/ 2 h 222"/>
                  <a:gd name="T16" fmla="*/ 71 w 312"/>
                  <a:gd name="T17" fmla="*/ 2 h 222"/>
                  <a:gd name="T18" fmla="*/ 76 w 312"/>
                  <a:gd name="T19" fmla="*/ 8 h 222"/>
                  <a:gd name="T20" fmla="*/ 80 w 312"/>
                  <a:gd name="T21" fmla="*/ 12 h 222"/>
                  <a:gd name="T22" fmla="*/ 88 w 312"/>
                  <a:gd name="T23" fmla="*/ 18 h 222"/>
                  <a:gd name="T24" fmla="*/ 93 w 312"/>
                  <a:gd name="T25" fmla="*/ 25 h 222"/>
                  <a:gd name="T26" fmla="*/ 95 w 312"/>
                  <a:gd name="T27" fmla="*/ 28 h 222"/>
                  <a:gd name="T28" fmla="*/ 103 w 312"/>
                  <a:gd name="T29" fmla="*/ 35 h 222"/>
                  <a:gd name="T30" fmla="*/ 108 w 312"/>
                  <a:gd name="T31" fmla="*/ 40 h 222"/>
                  <a:gd name="T32" fmla="*/ 113 w 312"/>
                  <a:gd name="T33" fmla="*/ 45 h 222"/>
                  <a:gd name="T34" fmla="*/ 113 w 312"/>
                  <a:gd name="T35" fmla="*/ 51 h 222"/>
                  <a:gd name="T36" fmla="*/ 116 w 312"/>
                  <a:gd name="T37" fmla="*/ 59 h 222"/>
                  <a:gd name="T38" fmla="*/ 116 w 312"/>
                  <a:gd name="T39" fmla="*/ 66 h 222"/>
                  <a:gd name="T40" fmla="*/ 124 w 312"/>
                  <a:gd name="T41" fmla="*/ 71 h 222"/>
                  <a:gd name="T42" fmla="*/ 128 w 312"/>
                  <a:gd name="T43" fmla="*/ 76 h 222"/>
                  <a:gd name="T44" fmla="*/ 128 w 312"/>
                  <a:gd name="T45" fmla="*/ 84 h 222"/>
                  <a:gd name="T46" fmla="*/ 128 w 312"/>
                  <a:gd name="T47" fmla="*/ 91 h 222"/>
                  <a:gd name="T48" fmla="*/ 118 w 312"/>
                  <a:gd name="T49" fmla="*/ 91 h 222"/>
                  <a:gd name="T50" fmla="*/ 111 w 312"/>
                  <a:gd name="T51" fmla="*/ 94 h 222"/>
                  <a:gd name="T52" fmla="*/ 103 w 312"/>
                  <a:gd name="T53" fmla="*/ 91 h 222"/>
                  <a:gd name="T54" fmla="*/ 95 w 312"/>
                  <a:gd name="T55" fmla="*/ 89 h 222"/>
                  <a:gd name="T56" fmla="*/ 91 w 312"/>
                  <a:gd name="T57" fmla="*/ 85 h 222"/>
                  <a:gd name="T58" fmla="*/ 58 w 312"/>
                  <a:gd name="T59" fmla="*/ 85 h 222"/>
                  <a:gd name="T60" fmla="*/ 45 w 312"/>
                  <a:gd name="T61" fmla="*/ 89 h 222"/>
                  <a:gd name="T62" fmla="*/ 33 w 312"/>
                  <a:gd name="T63" fmla="*/ 89 h 222"/>
                  <a:gd name="T64" fmla="*/ 23 w 312"/>
                  <a:gd name="T65" fmla="*/ 91 h 222"/>
                  <a:gd name="T66" fmla="*/ 20 w 312"/>
                  <a:gd name="T67" fmla="*/ 89 h 222"/>
                  <a:gd name="T68" fmla="*/ 25 w 312"/>
                  <a:gd name="T69" fmla="*/ 85 h 222"/>
                  <a:gd name="T70" fmla="*/ 18 w 312"/>
                  <a:gd name="T71" fmla="*/ 89 h 222"/>
                  <a:gd name="T72" fmla="*/ 18 w 312"/>
                  <a:gd name="T73" fmla="*/ 84 h 222"/>
                  <a:gd name="T74" fmla="*/ 25 w 312"/>
                  <a:gd name="T75" fmla="*/ 76 h 222"/>
                  <a:gd name="T76" fmla="*/ 40 w 312"/>
                  <a:gd name="T77" fmla="*/ 71 h 222"/>
                  <a:gd name="T78" fmla="*/ 51 w 312"/>
                  <a:gd name="T79" fmla="*/ 71 h 222"/>
                  <a:gd name="T80" fmla="*/ 52 w 312"/>
                  <a:gd name="T81" fmla="*/ 69 h 222"/>
                  <a:gd name="T82" fmla="*/ 60 w 312"/>
                  <a:gd name="T83" fmla="*/ 71 h 222"/>
                  <a:gd name="T84" fmla="*/ 68 w 312"/>
                  <a:gd name="T85" fmla="*/ 73 h 222"/>
                  <a:gd name="T86" fmla="*/ 76 w 312"/>
                  <a:gd name="T87" fmla="*/ 71 h 222"/>
                  <a:gd name="T88" fmla="*/ 73 w 312"/>
                  <a:gd name="T89" fmla="*/ 66 h 222"/>
                  <a:gd name="T90" fmla="*/ 65 w 312"/>
                  <a:gd name="T91" fmla="*/ 66 h 222"/>
                  <a:gd name="T92" fmla="*/ 58 w 312"/>
                  <a:gd name="T93" fmla="*/ 64 h 222"/>
                  <a:gd name="T94" fmla="*/ 51 w 312"/>
                  <a:gd name="T95" fmla="*/ 64 h 222"/>
                  <a:gd name="T96" fmla="*/ 45 w 312"/>
                  <a:gd name="T97" fmla="*/ 64 h 222"/>
                  <a:gd name="T98" fmla="*/ 20 w 312"/>
                  <a:gd name="T99" fmla="*/ 66 h 222"/>
                  <a:gd name="T100" fmla="*/ 20 w 312"/>
                  <a:gd name="T101" fmla="*/ 61 h 222"/>
                  <a:gd name="T102" fmla="*/ 18 w 312"/>
                  <a:gd name="T103" fmla="*/ 59 h 222"/>
                  <a:gd name="T104" fmla="*/ 15 w 312"/>
                  <a:gd name="T105" fmla="*/ 56 h 222"/>
                  <a:gd name="T106" fmla="*/ 12 w 312"/>
                  <a:gd name="T107" fmla="*/ 48 h 222"/>
                  <a:gd name="T108" fmla="*/ 7 w 312"/>
                  <a:gd name="T109" fmla="*/ 43 h 222"/>
                  <a:gd name="T110" fmla="*/ 2 w 312"/>
                  <a:gd name="T111" fmla="*/ 40 h 222"/>
                  <a:gd name="T112" fmla="*/ 12 w 312"/>
                  <a:gd name="T113" fmla="*/ 35 h 222"/>
                  <a:gd name="T114" fmla="*/ 20 w 312"/>
                  <a:gd name="T115" fmla="*/ 25 h 222"/>
                  <a:gd name="T116" fmla="*/ 23 w 312"/>
                  <a:gd name="T117" fmla="*/ 15 h 22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12" h="222">
                    <a:moveTo>
                      <a:pt x="54" y="36"/>
                    </a:moveTo>
                    <a:lnTo>
                      <a:pt x="54" y="30"/>
                    </a:lnTo>
                    <a:lnTo>
                      <a:pt x="60" y="30"/>
                    </a:lnTo>
                    <a:lnTo>
                      <a:pt x="54" y="30"/>
                    </a:lnTo>
                    <a:lnTo>
                      <a:pt x="60" y="24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72" y="12"/>
                    </a:lnTo>
                    <a:lnTo>
                      <a:pt x="72" y="6"/>
                    </a:lnTo>
                    <a:lnTo>
                      <a:pt x="72" y="12"/>
                    </a:lnTo>
                    <a:lnTo>
                      <a:pt x="78" y="12"/>
                    </a:lnTo>
                    <a:lnTo>
                      <a:pt x="84" y="12"/>
                    </a:lnTo>
                    <a:lnTo>
                      <a:pt x="90" y="12"/>
                    </a:lnTo>
                    <a:lnTo>
                      <a:pt x="96" y="12"/>
                    </a:lnTo>
                    <a:lnTo>
                      <a:pt x="102" y="12"/>
                    </a:lnTo>
                    <a:lnTo>
                      <a:pt x="102" y="6"/>
                    </a:lnTo>
                    <a:lnTo>
                      <a:pt x="108" y="6"/>
                    </a:lnTo>
                    <a:lnTo>
                      <a:pt x="108" y="12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20" y="6"/>
                    </a:lnTo>
                    <a:lnTo>
                      <a:pt x="126" y="6"/>
                    </a:lnTo>
                    <a:lnTo>
                      <a:pt x="120" y="6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26" y="6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2" y="6"/>
                    </a:lnTo>
                    <a:lnTo>
                      <a:pt x="138" y="6"/>
                    </a:lnTo>
                    <a:lnTo>
                      <a:pt x="144" y="6"/>
                    </a:lnTo>
                    <a:lnTo>
                      <a:pt x="150" y="6"/>
                    </a:lnTo>
                    <a:lnTo>
                      <a:pt x="156" y="6"/>
                    </a:lnTo>
                    <a:lnTo>
                      <a:pt x="162" y="6"/>
                    </a:lnTo>
                    <a:lnTo>
                      <a:pt x="168" y="6"/>
                    </a:lnTo>
                    <a:lnTo>
                      <a:pt x="168" y="12"/>
                    </a:lnTo>
                    <a:lnTo>
                      <a:pt x="174" y="12"/>
                    </a:lnTo>
                    <a:lnTo>
                      <a:pt x="174" y="18"/>
                    </a:lnTo>
                    <a:lnTo>
                      <a:pt x="180" y="18"/>
                    </a:lnTo>
                    <a:lnTo>
                      <a:pt x="180" y="24"/>
                    </a:lnTo>
                    <a:lnTo>
                      <a:pt x="186" y="24"/>
                    </a:lnTo>
                    <a:lnTo>
                      <a:pt x="186" y="30"/>
                    </a:lnTo>
                    <a:lnTo>
                      <a:pt x="192" y="30"/>
                    </a:lnTo>
                    <a:lnTo>
                      <a:pt x="198" y="30"/>
                    </a:lnTo>
                    <a:lnTo>
                      <a:pt x="204" y="30"/>
                    </a:lnTo>
                    <a:lnTo>
                      <a:pt x="210" y="36"/>
                    </a:lnTo>
                    <a:lnTo>
                      <a:pt x="210" y="42"/>
                    </a:lnTo>
                    <a:lnTo>
                      <a:pt x="216" y="48"/>
                    </a:lnTo>
                    <a:lnTo>
                      <a:pt x="216" y="54"/>
                    </a:lnTo>
                    <a:lnTo>
                      <a:pt x="222" y="54"/>
                    </a:lnTo>
                    <a:lnTo>
                      <a:pt x="222" y="60"/>
                    </a:lnTo>
                    <a:lnTo>
                      <a:pt x="228" y="60"/>
                    </a:lnTo>
                    <a:lnTo>
                      <a:pt x="228" y="66"/>
                    </a:lnTo>
                    <a:lnTo>
                      <a:pt x="234" y="66"/>
                    </a:lnTo>
                    <a:lnTo>
                      <a:pt x="228" y="66"/>
                    </a:lnTo>
                    <a:lnTo>
                      <a:pt x="234" y="72"/>
                    </a:lnTo>
                    <a:lnTo>
                      <a:pt x="234" y="78"/>
                    </a:lnTo>
                    <a:lnTo>
                      <a:pt x="240" y="78"/>
                    </a:lnTo>
                    <a:lnTo>
                      <a:pt x="246" y="84"/>
                    </a:lnTo>
                    <a:lnTo>
                      <a:pt x="252" y="84"/>
                    </a:lnTo>
                    <a:lnTo>
                      <a:pt x="252" y="90"/>
                    </a:lnTo>
                    <a:lnTo>
                      <a:pt x="258" y="90"/>
                    </a:lnTo>
                    <a:lnTo>
                      <a:pt x="258" y="96"/>
                    </a:lnTo>
                    <a:lnTo>
                      <a:pt x="264" y="96"/>
                    </a:lnTo>
                    <a:lnTo>
                      <a:pt x="264" y="102"/>
                    </a:lnTo>
                    <a:lnTo>
                      <a:pt x="270" y="102"/>
                    </a:lnTo>
                    <a:lnTo>
                      <a:pt x="270" y="108"/>
                    </a:lnTo>
                    <a:lnTo>
                      <a:pt x="264" y="108"/>
                    </a:lnTo>
                    <a:lnTo>
                      <a:pt x="264" y="114"/>
                    </a:lnTo>
                    <a:lnTo>
                      <a:pt x="270" y="114"/>
                    </a:lnTo>
                    <a:lnTo>
                      <a:pt x="270" y="120"/>
                    </a:lnTo>
                    <a:lnTo>
                      <a:pt x="276" y="120"/>
                    </a:lnTo>
                    <a:lnTo>
                      <a:pt x="276" y="126"/>
                    </a:lnTo>
                    <a:lnTo>
                      <a:pt x="276" y="132"/>
                    </a:lnTo>
                    <a:lnTo>
                      <a:pt x="276" y="138"/>
                    </a:lnTo>
                    <a:lnTo>
                      <a:pt x="282" y="138"/>
                    </a:lnTo>
                    <a:lnTo>
                      <a:pt x="282" y="144"/>
                    </a:lnTo>
                    <a:lnTo>
                      <a:pt x="276" y="150"/>
                    </a:lnTo>
                    <a:lnTo>
                      <a:pt x="276" y="156"/>
                    </a:lnTo>
                    <a:lnTo>
                      <a:pt x="282" y="162"/>
                    </a:lnTo>
                    <a:lnTo>
                      <a:pt x="282" y="168"/>
                    </a:lnTo>
                    <a:lnTo>
                      <a:pt x="288" y="168"/>
                    </a:lnTo>
                    <a:lnTo>
                      <a:pt x="294" y="168"/>
                    </a:lnTo>
                    <a:lnTo>
                      <a:pt x="300" y="168"/>
                    </a:lnTo>
                    <a:lnTo>
                      <a:pt x="300" y="174"/>
                    </a:lnTo>
                    <a:lnTo>
                      <a:pt x="300" y="180"/>
                    </a:lnTo>
                    <a:lnTo>
                      <a:pt x="306" y="180"/>
                    </a:lnTo>
                    <a:lnTo>
                      <a:pt x="306" y="186"/>
                    </a:lnTo>
                    <a:lnTo>
                      <a:pt x="312" y="186"/>
                    </a:lnTo>
                    <a:lnTo>
                      <a:pt x="306" y="192"/>
                    </a:lnTo>
                    <a:lnTo>
                      <a:pt x="306" y="198"/>
                    </a:lnTo>
                    <a:lnTo>
                      <a:pt x="306" y="204"/>
                    </a:lnTo>
                    <a:lnTo>
                      <a:pt x="306" y="210"/>
                    </a:lnTo>
                    <a:lnTo>
                      <a:pt x="312" y="210"/>
                    </a:lnTo>
                    <a:lnTo>
                      <a:pt x="306" y="216"/>
                    </a:lnTo>
                    <a:lnTo>
                      <a:pt x="300" y="216"/>
                    </a:lnTo>
                    <a:lnTo>
                      <a:pt x="294" y="216"/>
                    </a:lnTo>
                    <a:lnTo>
                      <a:pt x="288" y="216"/>
                    </a:lnTo>
                    <a:lnTo>
                      <a:pt x="282" y="216"/>
                    </a:lnTo>
                    <a:lnTo>
                      <a:pt x="276" y="216"/>
                    </a:lnTo>
                    <a:lnTo>
                      <a:pt x="270" y="216"/>
                    </a:lnTo>
                    <a:lnTo>
                      <a:pt x="264" y="216"/>
                    </a:lnTo>
                    <a:lnTo>
                      <a:pt x="264" y="222"/>
                    </a:lnTo>
                    <a:lnTo>
                      <a:pt x="258" y="222"/>
                    </a:lnTo>
                    <a:lnTo>
                      <a:pt x="258" y="216"/>
                    </a:lnTo>
                    <a:lnTo>
                      <a:pt x="252" y="216"/>
                    </a:lnTo>
                    <a:lnTo>
                      <a:pt x="246" y="216"/>
                    </a:lnTo>
                    <a:lnTo>
                      <a:pt x="240" y="216"/>
                    </a:lnTo>
                    <a:lnTo>
                      <a:pt x="240" y="210"/>
                    </a:lnTo>
                    <a:lnTo>
                      <a:pt x="234" y="210"/>
                    </a:lnTo>
                    <a:lnTo>
                      <a:pt x="228" y="210"/>
                    </a:lnTo>
                    <a:lnTo>
                      <a:pt x="222" y="210"/>
                    </a:lnTo>
                    <a:lnTo>
                      <a:pt x="228" y="204"/>
                    </a:lnTo>
                    <a:lnTo>
                      <a:pt x="222" y="204"/>
                    </a:lnTo>
                    <a:lnTo>
                      <a:pt x="216" y="204"/>
                    </a:lnTo>
                    <a:lnTo>
                      <a:pt x="210" y="204"/>
                    </a:lnTo>
                    <a:lnTo>
                      <a:pt x="198" y="204"/>
                    </a:lnTo>
                    <a:lnTo>
                      <a:pt x="192" y="204"/>
                    </a:lnTo>
                    <a:lnTo>
                      <a:pt x="138" y="204"/>
                    </a:lnTo>
                    <a:lnTo>
                      <a:pt x="126" y="204"/>
                    </a:lnTo>
                    <a:lnTo>
                      <a:pt x="120" y="204"/>
                    </a:lnTo>
                    <a:lnTo>
                      <a:pt x="114" y="204"/>
                    </a:lnTo>
                    <a:lnTo>
                      <a:pt x="108" y="210"/>
                    </a:lnTo>
                    <a:lnTo>
                      <a:pt x="102" y="210"/>
                    </a:lnTo>
                    <a:lnTo>
                      <a:pt x="96" y="216"/>
                    </a:lnTo>
                    <a:lnTo>
                      <a:pt x="84" y="216"/>
                    </a:lnTo>
                    <a:lnTo>
                      <a:pt x="78" y="210"/>
                    </a:lnTo>
                    <a:lnTo>
                      <a:pt x="72" y="210"/>
                    </a:lnTo>
                    <a:lnTo>
                      <a:pt x="66" y="210"/>
                    </a:lnTo>
                    <a:lnTo>
                      <a:pt x="60" y="216"/>
                    </a:lnTo>
                    <a:lnTo>
                      <a:pt x="54" y="216"/>
                    </a:lnTo>
                    <a:lnTo>
                      <a:pt x="48" y="216"/>
                    </a:lnTo>
                    <a:lnTo>
                      <a:pt x="42" y="216"/>
                    </a:lnTo>
                    <a:lnTo>
                      <a:pt x="42" y="210"/>
                    </a:lnTo>
                    <a:lnTo>
                      <a:pt x="48" y="210"/>
                    </a:lnTo>
                    <a:lnTo>
                      <a:pt x="48" y="204"/>
                    </a:lnTo>
                    <a:lnTo>
                      <a:pt x="54" y="204"/>
                    </a:lnTo>
                    <a:lnTo>
                      <a:pt x="60" y="210"/>
                    </a:lnTo>
                    <a:lnTo>
                      <a:pt x="60" y="204"/>
                    </a:lnTo>
                    <a:lnTo>
                      <a:pt x="54" y="204"/>
                    </a:lnTo>
                    <a:lnTo>
                      <a:pt x="48" y="204"/>
                    </a:lnTo>
                    <a:lnTo>
                      <a:pt x="42" y="204"/>
                    </a:lnTo>
                    <a:lnTo>
                      <a:pt x="42" y="210"/>
                    </a:lnTo>
                    <a:lnTo>
                      <a:pt x="42" y="204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2" y="186"/>
                    </a:lnTo>
                    <a:lnTo>
                      <a:pt x="42" y="180"/>
                    </a:lnTo>
                    <a:lnTo>
                      <a:pt x="60" y="180"/>
                    </a:lnTo>
                    <a:lnTo>
                      <a:pt x="78" y="180"/>
                    </a:lnTo>
                    <a:lnTo>
                      <a:pt x="90" y="180"/>
                    </a:lnTo>
                    <a:lnTo>
                      <a:pt x="90" y="168"/>
                    </a:lnTo>
                    <a:lnTo>
                      <a:pt x="96" y="168"/>
                    </a:lnTo>
                    <a:lnTo>
                      <a:pt x="102" y="168"/>
                    </a:lnTo>
                    <a:lnTo>
                      <a:pt x="108" y="168"/>
                    </a:lnTo>
                    <a:lnTo>
                      <a:pt x="114" y="168"/>
                    </a:lnTo>
                    <a:lnTo>
                      <a:pt x="120" y="168"/>
                    </a:lnTo>
                    <a:lnTo>
                      <a:pt x="120" y="162"/>
                    </a:lnTo>
                    <a:lnTo>
                      <a:pt x="120" y="156"/>
                    </a:lnTo>
                    <a:lnTo>
                      <a:pt x="126" y="156"/>
                    </a:lnTo>
                    <a:lnTo>
                      <a:pt x="126" y="162"/>
                    </a:lnTo>
                    <a:lnTo>
                      <a:pt x="132" y="162"/>
                    </a:lnTo>
                    <a:lnTo>
                      <a:pt x="138" y="162"/>
                    </a:lnTo>
                    <a:lnTo>
                      <a:pt x="138" y="168"/>
                    </a:lnTo>
                    <a:lnTo>
                      <a:pt x="144" y="168"/>
                    </a:lnTo>
                    <a:lnTo>
                      <a:pt x="150" y="168"/>
                    </a:lnTo>
                    <a:lnTo>
                      <a:pt x="156" y="168"/>
                    </a:lnTo>
                    <a:lnTo>
                      <a:pt x="156" y="174"/>
                    </a:lnTo>
                    <a:lnTo>
                      <a:pt x="162" y="174"/>
                    </a:lnTo>
                    <a:lnTo>
                      <a:pt x="168" y="174"/>
                    </a:lnTo>
                    <a:lnTo>
                      <a:pt x="174" y="174"/>
                    </a:lnTo>
                    <a:lnTo>
                      <a:pt x="180" y="174"/>
                    </a:lnTo>
                    <a:lnTo>
                      <a:pt x="180" y="168"/>
                    </a:lnTo>
                    <a:lnTo>
                      <a:pt x="186" y="168"/>
                    </a:lnTo>
                    <a:lnTo>
                      <a:pt x="186" y="162"/>
                    </a:lnTo>
                    <a:lnTo>
                      <a:pt x="180" y="156"/>
                    </a:lnTo>
                    <a:lnTo>
                      <a:pt x="174" y="156"/>
                    </a:lnTo>
                    <a:lnTo>
                      <a:pt x="168" y="162"/>
                    </a:lnTo>
                    <a:lnTo>
                      <a:pt x="162" y="162"/>
                    </a:lnTo>
                    <a:lnTo>
                      <a:pt x="156" y="162"/>
                    </a:lnTo>
                    <a:lnTo>
                      <a:pt x="156" y="156"/>
                    </a:lnTo>
                    <a:lnTo>
                      <a:pt x="150" y="156"/>
                    </a:lnTo>
                    <a:lnTo>
                      <a:pt x="144" y="156"/>
                    </a:lnTo>
                    <a:lnTo>
                      <a:pt x="138" y="156"/>
                    </a:lnTo>
                    <a:lnTo>
                      <a:pt x="138" y="150"/>
                    </a:lnTo>
                    <a:lnTo>
                      <a:pt x="132" y="144"/>
                    </a:lnTo>
                    <a:lnTo>
                      <a:pt x="126" y="144"/>
                    </a:lnTo>
                    <a:lnTo>
                      <a:pt x="120" y="144"/>
                    </a:lnTo>
                    <a:lnTo>
                      <a:pt x="120" y="150"/>
                    </a:lnTo>
                    <a:lnTo>
                      <a:pt x="114" y="150"/>
                    </a:lnTo>
                    <a:lnTo>
                      <a:pt x="114" y="144"/>
                    </a:lnTo>
                    <a:lnTo>
                      <a:pt x="114" y="150"/>
                    </a:lnTo>
                    <a:lnTo>
                      <a:pt x="108" y="150"/>
                    </a:lnTo>
                    <a:lnTo>
                      <a:pt x="102" y="156"/>
                    </a:lnTo>
                    <a:lnTo>
                      <a:pt x="90" y="156"/>
                    </a:lnTo>
                    <a:lnTo>
                      <a:pt x="54" y="156"/>
                    </a:lnTo>
                    <a:lnTo>
                      <a:pt x="48" y="156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44"/>
                    </a:lnTo>
                    <a:lnTo>
                      <a:pt x="48" y="144"/>
                    </a:lnTo>
                    <a:lnTo>
                      <a:pt x="42" y="144"/>
                    </a:lnTo>
                    <a:lnTo>
                      <a:pt x="42" y="150"/>
                    </a:lnTo>
                    <a:lnTo>
                      <a:pt x="42" y="144"/>
                    </a:lnTo>
                    <a:lnTo>
                      <a:pt x="42" y="138"/>
                    </a:lnTo>
                    <a:lnTo>
                      <a:pt x="42" y="144"/>
                    </a:lnTo>
                    <a:lnTo>
                      <a:pt x="42" y="138"/>
                    </a:lnTo>
                    <a:lnTo>
                      <a:pt x="42" y="132"/>
                    </a:lnTo>
                    <a:lnTo>
                      <a:pt x="36" y="132"/>
                    </a:lnTo>
                    <a:lnTo>
                      <a:pt x="36" y="126"/>
                    </a:lnTo>
                    <a:lnTo>
                      <a:pt x="36" y="120"/>
                    </a:lnTo>
                    <a:lnTo>
                      <a:pt x="30" y="120"/>
                    </a:lnTo>
                    <a:lnTo>
                      <a:pt x="30" y="114"/>
                    </a:lnTo>
                    <a:lnTo>
                      <a:pt x="24" y="114"/>
                    </a:lnTo>
                    <a:lnTo>
                      <a:pt x="24" y="108"/>
                    </a:lnTo>
                    <a:lnTo>
                      <a:pt x="24" y="102"/>
                    </a:lnTo>
                    <a:lnTo>
                      <a:pt x="18" y="102"/>
                    </a:lnTo>
                    <a:lnTo>
                      <a:pt x="12" y="102"/>
                    </a:lnTo>
                    <a:lnTo>
                      <a:pt x="6" y="102"/>
                    </a:lnTo>
                    <a:lnTo>
                      <a:pt x="0" y="96"/>
                    </a:lnTo>
                    <a:lnTo>
                      <a:pt x="6" y="96"/>
                    </a:lnTo>
                    <a:lnTo>
                      <a:pt x="12" y="96"/>
                    </a:lnTo>
                    <a:lnTo>
                      <a:pt x="18" y="90"/>
                    </a:lnTo>
                    <a:lnTo>
                      <a:pt x="24" y="90"/>
                    </a:lnTo>
                    <a:lnTo>
                      <a:pt x="30" y="84"/>
                    </a:lnTo>
                    <a:lnTo>
                      <a:pt x="30" y="78"/>
                    </a:lnTo>
                    <a:lnTo>
                      <a:pt x="36" y="72"/>
                    </a:lnTo>
                    <a:lnTo>
                      <a:pt x="42" y="66"/>
                    </a:lnTo>
                    <a:lnTo>
                      <a:pt x="48" y="60"/>
                    </a:lnTo>
                    <a:lnTo>
                      <a:pt x="48" y="54"/>
                    </a:lnTo>
                    <a:lnTo>
                      <a:pt x="54" y="48"/>
                    </a:lnTo>
                    <a:lnTo>
                      <a:pt x="54" y="42"/>
                    </a:lnTo>
                    <a:lnTo>
                      <a:pt x="54" y="36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1" name="Freeform 107"/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611" y="1939"/>
                <a:ext cx="291" cy="218"/>
              </a:xfrm>
              <a:custGeom>
                <a:avLst/>
                <a:gdLst>
                  <a:gd name="T0" fmla="*/ 8 w 360"/>
                  <a:gd name="T1" fmla="*/ 23 h 270"/>
                  <a:gd name="T2" fmla="*/ 23 w 360"/>
                  <a:gd name="T3" fmla="*/ 18 h 270"/>
                  <a:gd name="T4" fmla="*/ 23 w 360"/>
                  <a:gd name="T5" fmla="*/ 12 h 270"/>
                  <a:gd name="T6" fmla="*/ 28 w 360"/>
                  <a:gd name="T7" fmla="*/ 8 h 270"/>
                  <a:gd name="T8" fmla="*/ 33 w 360"/>
                  <a:gd name="T9" fmla="*/ 0 h 270"/>
                  <a:gd name="T10" fmla="*/ 43 w 360"/>
                  <a:gd name="T11" fmla="*/ 2 h 270"/>
                  <a:gd name="T12" fmla="*/ 53 w 360"/>
                  <a:gd name="T13" fmla="*/ 8 h 270"/>
                  <a:gd name="T14" fmla="*/ 66 w 360"/>
                  <a:gd name="T15" fmla="*/ 5 h 270"/>
                  <a:gd name="T16" fmla="*/ 72 w 360"/>
                  <a:gd name="T17" fmla="*/ 10 h 270"/>
                  <a:gd name="T18" fmla="*/ 82 w 360"/>
                  <a:gd name="T19" fmla="*/ 8 h 270"/>
                  <a:gd name="T20" fmla="*/ 90 w 360"/>
                  <a:gd name="T21" fmla="*/ 12 h 270"/>
                  <a:gd name="T22" fmla="*/ 97 w 360"/>
                  <a:gd name="T23" fmla="*/ 10 h 270"/>
                  <a:gd name="T24" fmla="*/ 105 w 360"/>
                  <a:gd name="T25" fmla="*/ 10 h 270"/>
                  <a:gd name="T26" fmla="*/ 112 w 360"/>
                  <a:gd name="T27" fmla="*/ 10 h 270"/>
                  <a:gd name="T28" fmla="*/ 118 w 360"/>
                  <a:gd name="T29" fmla="*/ 5 h 270"/>
                  <a:gd name="T30" fmla="*/ 123 w 360"/>
                  <a:gd name="T31" fmla="*/ 5 h 270"/>
                  <a:gd name="T32" fmla="*/ 131 w 360"/>
                  <a:gd name="T33" fmla="*/ 12 h 270"/>
                  <a:gd name="T34" fmla="*/ 133 w 360"/>
                  <a:gd name="T35" fmla="*/ 23 h 270"/>
                  <a:gd name="T36" fmla="*/ 136 w 360"/>
                  <a:gd name="T37" fmla="*/ 31 h 270"/>
                  <a:gd name="T38" fmla="*/ 138 w 360"/>
                  <a:gd name="T39" fmla="*/ 33 h 270"/>
                  <a:gd name="T40" fmla="*/ 141 w 360"/>
                  <a:gd name="T41" fmla="*/ 46 h 270"/>
                  <a:gd name="T42" fmla="*/ 146 w 360"/>
                  <a:gd name="T43" fmla="*/ 53 h 270"/>
                  <a:gd name="T44" fmla="*/ 144 w 360"/>
                  <a:gd name="T45" fmla="*/ 59 h 270"/>
                  <a:gd name="T46" fmla="*/ 144 w 360"/>
                  <a:gd name="T47" fmla="*/ 64 h 270"/>
                  <a:gd name="T48" fmla="*/ 151 w 360"/>
                  <a:gd name="T49" fmla="*/ 66 h 270"/>
                  <a:gd name="T50" fmla="*/ 154 w 360"/>
                  <a:gd name="T51" fmla="*/ 73 h 270"/>
                  <a:gd name="T52" fmla="*/ 151 w 360"/>
                  <a:gd name="T53" fmla="*/ 82 h 270"/>
                  <a:gd name="T54" fmla="*/ 151 w 360"/>
                  <a:gd name="T55" fmla="*/ 90 h 270"/>
                  <a:gd name="T56" fmla="*/ 144 w 360"/>
                  <a:gd name="T57" fmla="*/ 86 h 270"/>
                  <a:gd name="T58" fmla="*/ 144 w 360"/>
                  <a:gd name="T59" fmla="*/ 91 h 270"/>
                  <a:gd name="T60" fmla="*/ 148 w 360"/>
                  <a:gd name="T61" fmla="*/ 97 h 270"/>
                  <a:gd name="T62" fmla="*/ 146 w 360"/>
                  <a:gd name="T63" fmla="*/ 105 h 270"/>
                  <a:gd name="T64" fmla="*/ 136 w 360"/>
                  <a:gd name="T65" fmla="*/ 105 h 270"/>
                  <a:gd name="T66" fmla="*/ 131 w 360"/>
                  <a:gd name="T67" fmla="*/ 112 h 270"/>
                  <a:gd name="T68" fmla="*/ 123 w 360"/>
                  <a:gd name="T69" fmla="*/ 115 h 270"/>
                  <a:gd name="T70" fmla="*/ 115 w 360"/>
                  <a:gd name="T71" fmla="*/ 112 h 270"/>
                  <a:gd name="T72" fmla="*/ 118 w 360"/>
                  <a:gd name="T73" fmla="*/ 100 h 270"/>
                  <a:gd name="T74" fmla="*/ 112 w 360"/>
                  <a:gd name="T75" fmla="*/ 90 h 270"/>
                  <a:gd name="T76" fmla="*/ 111 w 360"/>
                  <a:gd name="T77" fmla="*/ 86 h 270"/>
                  <a:gd name="T78" fmla="*/ 100 w 360"/>
                  <a:gd name="T79" fmla="*/ 86 h 270"/>
                  <a:gd name="T80" fmla="*/ 90 w 360"/>
                  <a:gd name="T81" fmla="*/ 91 h 270"/>
                  <a:gd name="T82" fmla="*/ 95 w 360"/>
                  <a:gd name="T83" fmla="*/ 82 h 270"/>
                  <a:gd name="T84" fmla="*/ 90 w 360"/>
                  <a:gd name="T85" fmla="*/ 72 h 270"/>
                  <a:gd name="T86" fmla="*/ 84 w 360"/>
                  <a:gd name="T87" fmla="*/ 61 h 270"/>
                  <a:gd name="T88" fmla="*/ 60 w 360"/>
                  <a:gd name="T89" fmla="*/ 56 h 270"/>
                  <a:gd name="T90" fmla="*/ 51 w 360"/>
                  <a:gd name="T91" fmla="*/ 64 h 270"/>
                  <a:gd name="T92" fmla="*/ 43 w 360"/>
                  <a:gd name="T93" fmla="*/ 72 h 270"/>
                  <a:gd name="T94" fmla="*/ 36 w 360"/>
                  <a:gd name="T95" fmla="*/ 73 h 270"/>
                  <a:gd name="T96" fmla="*/ 33 w 360"/>
                  <a:gd name="T97" fmla="*/ 73 h 270"/>
                  <a:gd name="T98" fmla="*/ 31 w 360"/>
                  <a:gd name="T99" fmla="*/ 69 h 270"/>
                  <a:gd name="T100" fmla="*/ 26 w 360"/>
                  <a:gd name="T101" fmla="*/ 64 h 270"/>
                  <a:gd name="T102" fmla="*/ 26 w 360"/>
                  <a:gd name="T103" fmla="*/ 59 h 270"/>
                  <a:gd name="T104" fmla="*/ 18 w 360"/>
                  <a:gd name="T105" fmla="*/ 53 h 270"/>
                  <a:gd name="T106" fmla="*/ 12 w 360"/>
                  <a:gd name="T107" fmla="*/ 51 h 270"/>
                  <a:gd name="T108" fmla="*/ 5 w 360"/>
                  <a:gd name="T109" fmla="*/ 43 h 270"/>
                  <a:gd name="T110" fmla="*/ 5 w 360"/>
                  <a:gd name="T111" fmla="*/ 43 h 270"/>
                  <a:gd name="T112" fmla="*/ 2 w 360"/>
                  <a:gd name="T113" fmla="*/ 36 h 270"/>
                  <a:gd name="T114" fmla="*/ 0 w 360"/>
                  <a:gd name="T115" fmla="*/ 33 h 27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60" h="270">
                    <a:moveTo>
                      <a:pt x="0" y="78"/>
                    </a:moveTo>
                    <a:lnTo>
                      <a:pt x="6" y="66"/>
                    </a:lnTo>
                    <a:lnTo>
                      <a:pt x="6" y="60"/>
                    </a:lnTo>
                    <a:lnTo>
                      <a:pt x="12" y="60"/>
                    </a:lnTo>
                    <a:lnTo>
                      <a:pt x="12" y="54"/>
                    </a:lnTo>
                    <a:lnTo>
                      <a:pt x="18" y="54"/>
                    </a:lnTo>
                    <a:lnTo>
                      <a:pt x="30" y="48"/>
                    </a:lnTo>
                    <a:lnTo>
                      <a:pt x="36" y="48"/>
                    </a:lnTo>
                    <a:lnTo>
                      <a:pt x="42" y="48"/>
                    </a:lnTo>
                    <a:lnTo>
                      <a:pt x="48" y="48"/>
                    </a:lnTo>
                    <a:lnTo>
                      <a:pt x="54" y="48"/>
                    </a:lnTo>
                    <a:lnTo>
                      <a:pt x="54" y="42"/>
                    </a:lnTo>
                    <a:lnTo>
                      <a:pt x="54" y="48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60" y="36"/>
                    </a:lnTo>
                    <a:lnTo>
                      <a:pt x="60" y="30"/>
                    </a:lnTo>
                    <a:lnTo>
                      <a:pt x="54" y="30"/>
                    </a:lnTo>
                    <a:lnTo>
                      <a:pt x="54" y="24"/>
                    </a:lnTo>
                    <a:lnTo>
                      <a:pt x="48" y="24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90" y="6"/>
                    </a:lnTo>
                    <a:lnTo>
                      <a:pt x="96" y="6"/>
                    </a:lnTo>
                    <a:lnTo>
                      <a:pt x="102" y="6"/>
                    </a:lnTo>
                    <a:lnTo>
                      <a:pt x="108" y="6"/>
                    </a:lnTo>
                    <a:lnTo>
                      <a:pt x="108" y="12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6" y="12"/>
                    </a:lnTo>
                    <a:lnTo>
                      <a:pt x="126" y="18"/>
                    </a:lnTo>
                    <a:lnTo>
                      <a:pt x="132" y="18"/>
                    </a:lnTo>
                    <a:lnTo>
                      <a:pt x="132" y="12"/>
                    </a:lnTo>
                    <a:lnTo>
                      <a:pt x="138" y="12"/>
                    </a:lnTo>
                    <a:lnTo>
                      <a:pt x="144" y="12"/>
                    </a:lnTo>
                    <a:lnTo>
                      <a:pt x="150" y="12"/>
                    </a:lnTo>
                    <a:lnTo>
                      <a:pt x="156" y="12"/>
                    </a:lnTo>
                    <a:lnTo>
                      <a:pt x="162" y="12"/>
                    </a:lnTo>
                    <a:lnTo>
                      <a:pt x="168" y="12"/>
                    </a:lnTo>
                    <a:lnTo>
                      <a:pt x="174" y="12"/>
                    </a:lnTo>
                    <a:lnTo>
                      <a:pt x="174" y="18"/>
                    </a:lnTo>
                    <a:lnTo>
                      <a:pt x="168" y="18"/>
                    </a:lnTo>
                    <a:lnTo>
                      <a:pt x="168" y="24"/>
                    </a:lnTo>
                    <a:lnTo>
                      <a:pt x="174" y="24"/>
                    </a:lnTo>
                    <a:lnTo>
                      <a:pt x="180" y="30"/>
                    </a:lnTo>
                    <a:lnTo>
                      <a:pt x="186" y="30"/>
                    </a:lnTo>
                    <a:lnTo>
                      <a:pt x="186" y="24"/>
                    </a:lnTo>
                    <a:lnTo>
                      <a:pt x="192" y="24"/>
                    </a:lnTo>
                    <a:lnTo>
                      <a:pt x="192" y="18"/>
                    </a:lnTo>
                    <a:lnTo>
                      <a:pt x="192" y="24"/>
                    </a:lnTo>
                    <a:lnTo>
                      <a:pt x="198" y="18"/>
                    </a:lnTo>
                    <a:lnTo>
                      <a:pt x="198" y="24"/>
                    </a:lnTo>
                    <a:lnTo>
                      <a:pt x="204" y="24"/>
                    </a:lnTo>
                    <a:lnTo>
                      <a:pt x="204" y="30"/>
                    </a:lnTo>
                    <a:lnTo>
                      <a:pt x="210" y="30"/>
                    </a:lnTo>
                    <a:lnTo>
                      <a:pt x="210" y="36"/>
                    </a:lnTo>
                    <a:lnTo>
                      <a:pt x="216" y="36"/>
                    </a:lnTo>
                    <a:lnTo>
                      <a:pt x="216" y="30"/>
                    </a:lnTo>
                    <a:lnTo>
                      <a:pt x="222" y="30"/>
                    </a:lnTo>
                    <a:lnTo>
                      <a:pt x="222" y="24"/>
                    </a:lnTo>
                    <a:lnTo>
                      <a:pt x="228" y="24"/>
                    </a:lnTo>
                    <a:lnTo>
                      <a:pt x="228" y="18"/>
                    </a:lnTo>
                    <a:lnTo>
                      <a:pt x="228" y="24"/>
                    </a:lnTo>
                    <a:lnTo>
                      <a:pt x="234" y="18"/>
                    </a:lnTo>
                    <a:lnTo>
                      <a:pt x="234" y="24"/>
                    </a:lnTo>
                    <a:lnTo>
                      <a:pt x="240" y="24"/>
                    </a:lnTo>
                    <a:lnTo>
                      <a:pt x="246" y="24"/>
                    </a:lnTo>
                    <a:lnTo>
                      <a:pt x="252" y="24"/>
                    </a:lnTo>
                    <a:lnTo>
                      <a:pt x="252" y="30"/>
                    </a:lnTo>
                    <a:lnTo>
                      <a:pt x="258" y="30"/>
                    </a:lnTo>
                    <a:lnTo>
                      <a:pt x="264" y="30"/>
                    </a:lnTo>
                    <a:lnTo>
                      <a:pt x="258" y="24"/>
                    </a:lnTo>
                    <a:lnTo>
                      <a:pt x="264" y="24"/>
                    </a:lnTo>
                    <a:lnTo>
                      <a:pt x="270" y="24"/>
                    </a:lnTo>
                    <a:lnTo>
                      <a:pt x="270" y="18"/>
                    </a:lnTo>
                    <a:lnTo>
                      <a:pt x="276" y="18"/>
                    </a:lnTo>
                    <a:lnTo>
                      <a:pt x="282" y="18"/>
                    </a:lnTo>
                    <a:lnTo>
                      <a:pt x="282" y="12"/>
                    </a:lnTo>
                    <a:lnTo>
                      <a:pt x="276" y="12"/>
                    </a:lnTo>
                    <a:lnTo>
                      <a:pt x="276" y="6"/>
                    </a:lnTo>
                    <a:lnTo>
                      <a:pt x="276" y="12"/>
                    </a:lnTo>
                    <a:lnTo>
                      <a:pt x="276" y="6"/>
                    </a:lnTo>
                    <a:lnTo>
                      <a:pt x="282" y="6"/>
                    </a:lnTo>
                    <a:lnTo>
                      <a:pt x="288" y="6"/>
                    </a:lnTo>
                    <a:lnTo>
                      <a:pt x="288" y="12"/>
                    </a:lnTo>
                    <a:lnTo>
                      <a:pt x="294" y="12"/>
                    </a:lnTo>
                    <a:lnTo>
                      <a:pt x="294" y="18"/>
                    </a:lnTo>
                    <a:lnTo>
                      <a:pt x="294" y="24"/>
                    </a:lnTo>
                    <a:lnTo>
                      <a:pt x="300" y="24"/>
                    </a:lnTo>
                    <a:lnTo>
                      <a:pt x="300" y="30"/>
                    </a:lnTo>
                    <a:lnTo>
                      <a:pt x="306" y="30"/>
                    </a:lnTo>
                    <a:lnTo>
                      <a:pt x="306" y="36"/>
                    </a:lnTo>
                    <a:lnTo>
                      <a:pt x="306" y="42"/>
                    </a:lnTo>
                    <a:lnTo>
                      <a:pt x="300" y="48"/>
                    </a:lnTo>
                    <a:lnTo>
                      <a:pt x="306" y="48"/>
                    </a:lnTo>
                    <a:lnTo>
                      <a:pt x="312" y="48"/>
                    </a:lnTo>
                    <a:lnTo>
                      <a:pt x="312" y="54"/>
                    </a:lnTo>
                    <a:lnTo>
                      <a:pt x="312" y="60"/>
                    </a:lnTo>
                    <a:lnTo>
                      <a:pt x="318" y="60"/>
                    </a:lnTo>
                    <a:lnTo>
                      <a:pt x="324" y="60"/>
                    </a:lnTo>
                    <a:lnTo>
                      <a:pt x="324" y="66"/>
                    </a:lnTo>
                    <a:lnTo>
                      <a:pt x="318" y="66"/>
                    </a:lnTo>
                    <a:lnTo>
                      <a:pt x="318" y="72"/>
                    </a:lnTo>
                    <a:lnTo>
                      <a:pt x="312" y="72"/>
                    </a:lnTo>
                    <a:lnTo>
                      <a:pt x="312" y="78"/>
                    </a:lnTo>
                    <a:lnTo>
                      <a:pt x="312" y="84"/>
                    </a:lnTo>
                    <a:lnTo>
                      <a:pt x="318" y="84"/>
                    </a:lnTo>
                    <a:lnTo>
                      <a:pt x="318" y="78"/>
                    </a:lnTo>
                    <a:lnTo>
                      <a:pt x="324" y="78"/>
                    </a:lnTo>
                    <a:lnTo>
                      <a:pt x="330" y="78"/>
                    </a:lnTo>
                    <a:lnTo>
                      <a:pt x="330" y="84"/>
                    </a:lnTo>
                    <a:lnTo>
                      <a:pt x="330" y="90"/>
                    </a:lnTo>
                    <a:lnTo>
                      <a:pt x="330" y="96"/>
                    </a:lnTo>
                    <a:lnTo>
                      <a:pt x="330" y="102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14"/>
                    </a:lnTo>
                    <a:lnTo>
                      <a:pt x="342" y="114"/>
                    </a:lnTo>
                    <a:lnTo>
                      <a:pt x="348" y="114"/>
                    </a:lnTo>
                    <a:lnTo>
                      <a:pt x="348" y="120"/>
                    </a:lnTo>
                    <a:lnTo>
                      <a:pt x="342" y="126"/>
                    </a:lnTo>
                    <a:lnTo>
                      <a:pt x="336" y="132"/>
                    </a:lnTo>
                    <a:lnTo>
                      <a:pt x="336" y="138"/>
                    </a:lnTo>
                    <a:lnTo>
                      <a:pt x="336" y="132"/>
                    </a:lnTo>
                    <a:lnTo>
                      <a:pt x="336" y="138"/>
                    </a:lnTo>
                    <a:lnTo>
                      <a:pt x="342" y="138"/>
                    </a:lnTo>
                    <a:lnTo>
                      <a:pt x="336" y="138"/>
                    </a:lnTo>
                    <a:lnTo>
                      <a:pt x="342" y="138"/>
                    </a:lnTo>
                    <a:lnTo>
                      <a:pt x="336" y="138"/>
                    </a:lnTo>
                    <a:lnTo>
                      <a:pt x="342" y="138"/>
                    </a:lnTo>
                    <a:lnTo>
                      <a:pt x="336" y="138"/>
                    </a:lnTo>
                    <a:lnTo>
                      <a:pt x="336" y="144"/>
                    </a:lnTo>
                    <a:lnTo>
                      <a:pt x="336" y="150"/>
                    </a:lnTo>
                    <a:lnTo>
                      <a:pt x="336" y="156"/>
                    </a:lnTo>
                    <a:lnTo>
                      <a:pt x="342" y="156"/>
                    </a:lnTo>
                    <a:lnTo>
                      <a:pt x="342" y="162"/>
                    </a:lnTo>
                    <a:lnTo>
                      <a:pt x="348" y="162"/>
                    </a:lnTo>
                    <a:lnTo>
                      <a:pt x="348" y="156"/>
                    </a:lnTo>
                    <a:lnTo>
                      <a:pt x="354" y="156"/>
                    </a:lnTo>
                    <a:lnTo>
                      <a:pt x="354" y="162"/>
                    </a:lnTo>
                    <a:lnTo>
                      <a:pt x="348" y="162"/>
                    </a:lnTo>
                    <a:lnTo>
                      <a:pt x="348" y="168"/>
                    </a:lnTo>
                    <a:lnTo>
                      <a:pt x="348" y="174"/>
                    </a:lnTo>
                    <a:lnTo>
                      <a:pt x="354" y="174"/>
                    </a:lnTo>
                    <a:lnTo>
                      <a:pt x="360" y="174"/>
                    </a:lnTo>
                    <a:lnTo>
                      <a:pt x="354" y="174"/>
                    </a:lnTo>
                    <a:lnTo>
                      <a:pt x="354" y="180"/>
                    </a:lnTo>
                    <a:lnTo>
                      <a:pt x="348" y="180"/>
                    </a:lnTo>
                    <a:lnTo>
                      <a:pt x="348" y="186"/>
                    </a:lnTo>
                    <a:lnTo>
                      <a:pt x="348" y="192"/>
                    </a:lnTo>
                    <a:lnTo>
                      <a:pt x="354" y="192"/>
                    </a:lnTo>
                    <a:lnTo>
                      <a:pt x="360" y="198"/>
                    </a:lnTo>
                    <a:lnTo>
                      <a:pt x="360" y="204"/>
                    </a:lnTo>
                    <a:lnTo>
                      <a:pt x="360" y="210"/>
                    </a:lnTo>
                    <a:lnTo>
                      <a:pt x="354" y="210"/>
                    </a:lnTo>
                    <a:lnTo>
                      <a:pt x="354" y="204"/>
                    </a:lnTo>
                    <a:lnTo>
                      <a:pt x="354" y="210"/>
                    </a:lnTo>
                    <a:lnTo>
                      <a:pt x="348" y="210"/>
                    </a:lnTo>
                    <a:lnTo>
                      <a:pt x="348" y="204"/>
                    </a:lnTo>
                    <a:lnTo>
                      <a:pt x="348" y="210"/>
                    </a:lnTo>
                    <a:lnTo>
                      <a:pt x="348" y="204"/>
                    </a:lnTo>
                    <a:lnTo>
                      <a:pt x="342" y="204"/>
                    </a:lnTo>
                    <a:lnTo>
                      <a:pt x="336" y="204"/>
                    </a:lnTo>
                    <a:lnTo>
                      <a:pt x="336" y="210"/>
                    </a:lnTo>
                    <a:lnTo>
                      <a:pt x="330" y="204"/>
                    </a:lnTo>
                    <a:lnTo>
                      <a:pt x="330" y="210"/>
                    </a:lnTo>
                    <a:lnTo>
                      <a:pt x="336" y="210"/>
                    </a:lnTo>
                    <a:lnTo>
                      <a:pt x="330" y="216"/>
                    </a:lnTo>
                    <a:lnTo>
                      <a:pt x="336" y="216"/>
                    </a:lnTo>
                    <a:lnTo>
                      <a:pt x="330" y="216"/>
                    </a:lnTo>
                    <a:lnTo>
                      <a:pt x="336" y="216"/>
                    </a:lnTo>
                    <a:lnTo>
                      <a:pt x="336" y="222"/>
                    </a:lnTo>
                    <a:lnTo>
                      <a:pt x="342" y="222"/>
                    </a:lnTo>
                    <a:lnTo>
                      <a:pt x="342" y="228"/>
                    </a:lnTo>
                    <a:lnTo>
                      <a:pt x="348" y="228"/>
                    </a:lnTo>
                    <a:lnTo>
                      <a:pt x="342" y="228"/>
                    </a:lnTo>
                    <a:lnTo>
                      <a:pt x="342" y="234"/>
                    </a:lnTo>
                    <a:lnTo>
                      <a:pt x="336" y="234"/>
                    </a:lnTo>
                    <a:lnTo>
                      <a:pt x="336" y="240"/>
                    </a:lnTo>
                    <a:lnTo>
                      <a:pt x="342" y="240"/>
                    </a:lnTo>
                    <a:lnTo>
                      <a:pt x="342" y="246"/>
                    </a:lnTo>
                    <a:lnTo>
                      <a:pt x="336" y="246"/>
                    </a:lnTo>
                    <a:lnTo>
                      <a:pt x="336" y="252"/>
                    </a:lnTo>
                    <a:lnTo>
                      <a:pt x="330" y="252"/>
                    </a:lnTo>
                    <a:lnTo>
                      <a:pt x="324" y="252"/>
                    </a:lnTo>
                    <a:lnTo>
                      <a:pt x="318" y="252"/>
                    </a:lnTo>
                    <a:lnTo>
                      <a:pt x="318" y="246"/>
                    </a:lnTo>
                    <a:lnTo>
                      <a:pt x="312" y="246"/>
                    </a:lnTo>
                    <a:lnTo>
                      <a:pt x="306" y="252"/>
                    </a:lnTo>
                    <a:lnTo>
                      <a:pt x="312" y="252"/>
                    </a:lnTo>
                    <a:lnTo>
                      <a:pt x="306" y="258"/>
                    </a:lnTo>
                    <a:lnTo>
                      <a:pt x="300" y="264"/>
                    </a:lnTo>
                    <a:lnTo>
                      <a:pt x="306" y="264"/>
                    </a:lnTo>
                    <a:lnTo>
                      <a:pt x="300" y="264"/>
                    </a:lnTo>
                    <a:lnTo>
                      <a:pt x="306" y="264"/>
                    </a:lnTo>
                    <a:lnTo>
                      <a:pt x="300" y="264"/>
                    </a:lnTo>
                    <a:lnTo>
                      <a:pt x="294" y="264"/>
                    </a:lnTo>
                    <a:lnTo>
                      <a:pt x="294" y="270"/>
                    </a:lnTo>
                    <a:lnTo>
                      <a:pt x="288" y="270"/>
                    </a:lnTo>
                    <a:lnTo>
                      <a:pt x="288" y="264"/>
                    </a:lnTo>
                    <a:lnTo>
                      <a:pt x="282" y="264"/>
                    </a:lnTo>
                    <a:lnTo>
                      <a:pt x="282" y="258"/>
                    </a:lnTo>
                    <a:lnTo>
                      <a:pt x="276" y="258"/>
                    </a:lnTo>
                    <a:lnTo>
                      <a:pt x="270" y="258"/>
                    </a:lnTo>
                    <a:lnTo>
                      <a:pt x="270" y="264"/>
                    </a:lnTo>
                    <a:lnTo>
                      <a:pt x="270" y="258"/>
                    </a:lnTo>
                    <a:lnTo>
                      <a:pt x="276" y="258"/>
                    </a:lnTo>
                    <a:lnTo>
                      <a:pt x="276" y="252"/>
                    </a:lnTo>
                    <a:lnTo>
                      <a:pt x="276" y="246"/>
                    </a:lnTo>
                    <a:lnTo>
                      <a:pt x="276" y="240"/>
                    </a:lnTo>
                    <a:lnTo>
                      <a:pt x="276" y="234"/>
                    </a:lnTo>
                    <a:lnTo>
                      <a:pt x="276" y="228"/>
                    </a:lnTo>
                    <a:lnTo>
                      <a:pt x="270" y="228"/>
                    </a:lnTo>
                    <a:lnTo>
                      <a:pt x="270" y="222"/>
                    </a:lnTo>
                    <a:lnTo>
                      <a:pt x="270" y="216"/>
                    </a:lnTo>
                    <a:lnTo>
                      <a:pt x="270" y="210"/>
                    </a:lnTo>
                    <a:lnTo>
                      <a:pt x="264" y="210"/>
                    </a:lnTo>
                    <a:lnTo>
                      <a:pt x="264" y="204"/>
                    </a:lnTo>
                    <a:lnTo>
                      <a:pt x="258" y="204"/>
                    </a:lnTo>
                    <a:lnTo>
                      <a:pt x="258" y="210"/>
                    </a:lnTo>
                    <a:lnTo>
                      <a:pt x="258" y="204"/>
                    </a:lnTo>
                    <a:lnTo>
                      <a:pt x="252" y="204"/>
                    </a:lnTo>
                    <a:lnTo>
                      <a:pt x="258" y="204"/>
                    </a:lnTo>
                    <a:lnTo>
                      <a:pt x="252" y="204"/>
                    </a:lnTo>
                    <a:lnTo>
                      <a:pt x="246" y="204"/>
                    </a:lnTo>
                    <a:lnTo>
                      <a:pt x="246" y="210"/>
                    </a:lnTo>
                    <a:lnTo>
                      <a:pt x="240" y="210"/>
                    </a:lnTo>
                    <a:lnTo>
                      <a:pt x="240" y="204"/>
                    </a:lnTo>
                    <a:lnTo>
                      <a:pt x="234" y="204"/>
                    </a:lnTo>
                    <a:lnTo>
                      <a:pt x="228" y="204"/>
                    </a:lnTo>
                    <a:lnTo>
                      <a:pt x="222" y="210"/>
                    </a:lnTo>
                    <a:lnTo>
                      <a:pt x="222" y="216"/>
                    </a:lnTo>
                    <a:lnTo>
                      <a:pt x="216" y="216"/>
                    </a:lnTo>
                    <a:lnTo>
                      <a:pt x="210" y="210"/>
                    </a:lnTo>
                    <a:lnTo>
                      <a:pt x="210" y="216"/>
                    </a:lnTo>
                    <a:lnTo>
                      <a:pt x="210" y="210"/>
                    </a:lnTo>
                    <a:lnTo>
                      <a:pt x="210" y="204"/>
                    </a:lnTo>
                    <a:lnTo>
                      <a:pt x="216" y="204"/>
                    </a:lnTo>
                    <a:lnTo>
                      <a:pt x="216" y="198"/>
                    </a:lnTo>
                    <a:lnTo>
                      <a:pt x="222" y="198"/>
                    </a:lnTo>
                    <a:lnTo>
                      <a:pt x="222" y="192"/>
                    </a:lnTo>
                    <a:lnTo>
                      <a:pt x="216" y="192"/>
                    </a:lnTo>
                    <a:lnTo>
                      <a:pt x="216" y="186"/>
                    </a:lnTo>
                    <a:lnTo>
                      <a:pt x="216" y="180"/>
                    </a:lnTo>
                    <a:lnTo>
                      <a:pt x="216" y="174"/>
                    </a:lnTo>
                    <a:lnTo>
                      <a:pt x="210" y="174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04" y="162"/>
                    </a:lnTo>
                    <a:lnTo>
                      <a:pt x="204" y="156"/>
                    </a:lnTo>
                    <a:lnTo>
                      <a:pt x="204" y="150"/>
                    </a:lnTo>
                    <a:lnTo>
                      <a:pt x="198" y="150"/>
                    </a:lnTo>
                    <a:lnTo>
                      <a:pt x="198" y="144"/>
                    </a:lnTo>
                    <a:lnTo>
                      <a:pt x="192" y="138"/>
                    </a:lnTo>
                    <a:lnTo>
                      <a:pt x="186" y="138"/>
                    </a:lnTo>
                    <a:lnTo>
                      <a:pt x="186" y="132"/>
                    </a:lnTo>
                    <a:lnTo>
                      <a:pt x="150" y="132"/>
                    </a:lnTo>
                    <a:lnTo>
                      <a:pt x="138" y="138"/>
                    </a:lnTo>
                    <a:lnTo>
                      <a:pt x="138" y="132"/>
                    </a:lnTo>
                    <a:lnTo>
                      <a:pt x="132" y="132"/>
                    </a:lnTo>
                    <a:lnTo>
                      <a:pt x="132" y="138"/>
                    </a:lnTo>
                    <a:lnTo>
                      <a:pt x="126" y="138"/>
                    </a:lnTo>
                    <a:lnTo>
                      <a:pt x="120" y="138"/>
                    </a:lnTo>
                    <a:lnTo>
                      <a:pt x="120" y="144"/>
                    </a:lnTo>
                    <a:lnTo>
                      <a:pt x="120" y="150"/>
                    </a:lnTo>
                    <a:lnTo>
                      <a:pt x="114" y="150"/>
                    </a:lnTo>
                    <a:lnTo>
                      <a:pt x="114" y="156"/>
                    </a:lnTo>
                    <a:lnTo>
                      <a:pt x="114" y="162"/>
                    </a:lnTo>
                    <a:lnTo>
                      <a:pt x="108" y="162"/>
                    </a:lnTo>
                    <a:lnTo>
                      <a:pt x="108" y="168"/>
                    </a:lnTo>
                    <a:lnTo>
                      <a:pt x="102" y="168"/>
                    </a:lnTo>
                    <a:lnTo>
                      <a:pt x="96" y="168"/>
                    </a:lnTo>
                    <a:lnTo>
                      <a:pt x="96" y="174"/>
                    </a:lnTo>
                    <a:lnTo>
                      <a:pt x="96" y="180"/>
                    </a:lnTo>
                    <a:lnTo>
                      <a:pt x="90" y="180"/>
                    </a:lnTo>
                    <a:lnTo>
                      <a:pt x="90" y="174"/>
                    </a:lnTo>
                    <a:lnTo>
                      <a:pt x="84" y="174"/>
                    </a:lnTo>
                    <a:lnTo>
                      <a:pt x="78" y="180"/>
                    </a:lnTo>
                    <a:lnTo>
                      <a:pt x="78" y="174"/>
                    </a:lnTo>
                    <a:lnTo>
                      <a:pt x="84" y="174"/>
                    </a:lnTo>
                    <a:lnTo>
                      <a:pt x="84" y="168"/>
                    </a:lnTo>
                    <a:lnTo>
                      <a:pt x="84" y="174"/>
                    </a:lnTo>
                    <a:lnTo>
                      <a:pt x="78" y="174"/>
                    </a:lnTo>
                    <a:lnTo>
                      <a:pt x="78" y="168"/>
                    </a:lnTo>
                    <a:lnTo>
                      <a:pt x="78" y="162"/>
                    </a:lnTo>
                    <a:lnTo>
                      <a:pt x="78" y="168"/>
                    </a:lnTo>
                    <a:lnTo>
                      <a:pt x="72" y="162"/>
                    </a:lnTo>
                    <a:lnTo>
                      <a:pt x="78" y="162"/>
                    </a:lnTo>
                    <a:lnTo>
                      <a:pt x="72" y="162"/>
                    </a:lnTo>
                    <a:lnTo>
                      <a:pt x="72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6" y="150"/>
                    </a:lnTo>
                    <a:lnTo>
                      <a:pt x="66" y="144"/>
                    </a:lnTo>
                    <a:lnTo>
                      <a:pt x="66" y="138"/>
                    </a:lnTo>
                    <a:lnTo>
                      <a:pt x="66" y="144"/>
                    </a:lnTo>
                    <a:lnTo>
                      <a:pt x="60" y="144"/>
                    </a:lnTo>
                    <a:lnTo>
                      <a:pt x="60" y="138"/>
                    </a:lnTo>
                    <a:lnTo>
                      <a:pt x="60" y="132"/>
                    </a:lnTo>
                    <a:lnTo>
                      <a:pt x="60" y="138"/>
                    </a:lnTo>
                    <a:lnTo>
                      <a:pt x="54" y="138"/>
                    </a:lnTo>
                    <a:lnTo>
                      <a:pt x="48" y="132"/>
                    </a:lnTo>
                    <a:lnTo>
                      <a:pt x="42" y="132"/>
                    </a:lnTo>
                    <a:lnTo>
                      <a:pt x="42" y="126"/>
                    </a:lnTo>
                    <a:lnTo>
                      <a:pt x="42" y="120"/>
                    </a:lnTo>
                    <a:lnTo>
                      <a:pt x="42" y="126"/>
                    </a:lnTo>
                    <a:lnTo>
                      <a:pt x="36" y="126"/>
                    </a:lnTo>
                    <a:lnTo>
                      <a:pt x="36" y="120"/>
                    </a:lnTo>
                    <a:lnTo>
                      <a:pt x="36" y="126"/>
                    </a:lnTo>
                    <a:lnTo>
                      <a:pt x="30" y="120"/>
                    </a:lnTo>
                    <a:lnTo>
                      <a:pt x="24" y="120"/>
                    </a:lnTo>
                    <a:lnTo>
                      <a:pt x="24" y="114"/>
                    </a:lnTo>
                    <a:lnTo>
                      <a:pt x="18" y="114"/>
                    </a:lnTo>
                    <a:lnTo>
                      <a:pt x="18" y="108"/>
                    </a:lnTo>
                    <a:lnTo>
                      <a:pt x="12" y="108"/>
                    </a:lnTo>
                    <a:lnTo>
                      <a:pt x="12" y="102"/>
                    </a:lnTo>
                    <a:lnTo>
                      <a:pt x="18" y="102"/>
                    </a:lnTo>
                    <a:lnTo>
                      <a:pt x="18" y="96"/>
                    </a:lnTo>
                    <a:lnTo>
                      <a:pt x="18" y="90"/>
                    </a:lnTo>
                    <a:lnTo>
                      <a:pt x="18" y="96"/>
                    </a:lnTo>
                    <a:lnTo>
                      <a:pt x="12" y="96"/>
                    </a:lnTo>
                    <a:lnTo>
                      <a:pt x="12" y="102"/>
                    </a:lnTo>
                    <a:lnTo>
                      <a:pt x="12" y="96"/>
                    </a:lnTo>
                    <a:lnTo>
                      <a:pt x="12" y="90"/>
                    </a:lnTo>
                    <a:lnTo>
                      <a:pt x="12" y="96"/>
                    </a:lnTo>
                    <a:lnTo>
                      <a:pt x="6" y="96"/>
                    </a:lnTo>
                    <a:lnTo>
                      <a:pt x="6" y="90"/>
                    </a:lnTo>
                    <a:lnTo>
                      <a:pt x="6" y="84"/>
                    </a:lnTo>
                    <a:lnTo>
                      <a:pt x="12" y="84"/>
                    </a:lnTo>
                    <a:lnTo>
                      <a:pt x="12" y="78"/>
                    </a:lnTo>
                    <a:lnTo>
                      <a:pt x="12" y="84"/>
                    </a:lnTo>
                    <a:lnTo>
                      <a:pt x="6" y="84"/>
                    </a:lnTo>
                    <a:lnTo>
                      <a:pt x="0" y="84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2" name="Freeform 108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1674" y="2046"/>
                <a:ext cx="121" cy="120"/>
              </a:xfrm>
              <a:custGeom>
                <a:avLst/>
                <a:gdLst>
                  <a:gd name="T0" fmla="*/ 5 w 150"/>
                  <a:gd name="T1" fmla="*/ 18 h 150"/>
                  <a:gd name="T2" fmla="*/ 8 w 150"/>
                  <a:gd name="T3" fmla="*/ 18 h 150"/>
                  <a:gd name="T4" fmla="*/ 12 w 150"/>
                  <a:gd name="T5" fmla="*/ 14 h 150"/>
                  <a:gd name="T6" fmla="*/ 15 w 150"/>
                  <a:gd name="T7" fmla="*/ 10 h 150"/>
                  <a:gd name="T8" fmla="*/ 18 w 150"/>
                  <a:gd name="T9" fmla="*/ 5 h 150"/>
                  <a:gd name="T10" fmla="*/ 23 w 150"/>
                  <a:gd name="T11" fmla="*/ 2 h 150"/>
                  <a:gd name="T12" fmla="*/ 25 w 150"/>
                  <a:gd name="T13" fmla="*/ 2 h 150"/>
                  <a:gd name="T14" fmla="*/ 45 w 150"/>
                  <a:gd name="T15" fmla="*/ 2 h 150"/>
                  <a:gd name="T16" fmla="*/ 51 w 150"/>
                  <a:gd name="T17" fmla="*/ 7 h 150"/>
                  <a:gd name="T18" fmla="*/ 53 w 150"/>
                  <a:gd name="T19" fmla="*/ 12 h 150"/>
                  <a:gd name="T20" fmla="*/ 56 w 150"/>
                  <a:gd name="T21" fmla="*/ 18 h 150"/>
                  <a:gd name="T22" fmla="*/ 59 w 150"/>
                  <a:gd name="T23" fmla="*/ 22 h 150"/>
                  <a:gd name="T24" fmla="*/ 61 w 150"/>
                  <a:gd name="T25" fmla="*/ 27 h 150"/>
                  <a:gd name="T26" fmla="*/ 56 w 150"/>
                  <a:gd name="T27" fmla="*/ 30 h 150"/>
                  <a:gd name="T28" fmla="*/ 56 w 150"/>
                  <a:gd name="T29" fmla="*/ 32 h 150"/>
                  <a:gd name="T30" fmla="*/ 61 w 150"/>
                  <a:gd name="T31" fmla="*/ 32 h 150"/>
                  <a:gd name="T32" fmla="*/ 64 w 150"/>
                  <a:gd name="T33" fmla="*/ 34 h 150"/>
                  <a:gd name="T34" fmla="*/ 59 w 150"/>
                  <a:gd name="T35" fmla="*/ 40 h 150"/>
                  <a:gd name="T36" fmla="*/ 56 w 150"/>
                  <a:gd name="T37" fmla="*/ 46 h 150"/>
                  <a:gd name="T38" fmla="*/ 51 w 150"/>
                  <a:gd name="T39" fmla="*/ 50 h 150"/>
                  <a:gd name="T40" fmla="*/ 45 w 150"/>
                  <a:gd name="T41" fmla="*/ 54 h 150"/>
                  <a:gd name="T42" fmla="*/ 43 w 150"/>
                  <a:gd name="T43" fmla="*/ 59 h 150"/>
                  <a:gd name="T44" fmla="*/ 35 w 150"/>
                  <a:gd name="T45" fmla="*/ 59 h 150"/>
                  <a:gd name="T46" fmla="*/ 23 w 150"/>
                  <a:gd name="T47" fmla="*/ 54 h 150"/>
                  <a:gd name="T48" fmla="*/ 20 w 150"/>
                  <a:gd name="T49" fmla="*/ 52 h 150"/>
                  <a:gd name="T50" fmla="*/ 18 w 150"/>
                  <a:gd name="T51" fmla="*/ 52 h 150"/>
                  <a:gd name="T52" fmla="*/ 20 w 150"/>
                  <a:gd name="T53" fmla="*/ 50 h 150"/>
                  <a:gd name="T54" fmla="*/ 20 w 150"/>
                  <a:gd name="T55" fmla="*/ 46 h 150"/>
                  <a:gd name="T56" fmla="*/ 18 w 150"/>
                  <a:gd name="T57" fmla="*/ 46 h 150"/>
                  <a:gd name="T58" fmla="*/ 12 w 150"/>
                  <a:gd name="T59" fmla="*/ 46 h 150"/>
                  <a:gd name="T60" fmla="*/ 10 w 150"/>
                  <a:gd name="T61" fmla="*/ 42 h 150"/>
                  <a:gd name="T62" fmla="*/ 12 w 150"/>
                  <a:gd name="T63" fmla="*/ 42 h 150"/>
                  <a:gd name="T64" fmla="*/ 10 w 150"/>
                  <a:gd name="T65" fmla="*/ 37 h 150"/>
                  <a:gd name="T66" fmla="*/ 5 w 150"/>
                  <a:gd name="T67" fmla="*/ 34 h 150"/>
                  <a:gd name="T68" fmla="*/ 2 w 150"/>
                  <a:gd name="T69" fmla="*/ 34 h 150"/>
                  <a:gd name="T70" fmla="*/ 5 w 150"/>
                  <a:gd name="T71" fmla="*/ 30 h 150"/>
                  <a:gd name="T72" fmla="*/ 5 w 150"/>
                  <a:gd name="T73" fmla="*/ 32 h 150"/>
                  <a:gd name="T74" fmla="*/ 10 w 150"/>
                  <a:gd name="T75" fmla="*/ 30 h 150"/>
                  <a:gd name="T76" fmla="*/ 5 w 150"/>
                  <a:gd name="T77" fmla="*/ 30 h 150"/>
                  <a:gd name="T78" fmla="*/ 2 w 150"/>
                  <a:gd name="T79" fmla="*/ 30 h 150"/>
                  <a:gd name="T80" fmla="*/ 2 w 150"/>
                  <a:gd name="T81" fmla="*/ 27 h 150"/>
                  <a:gd name="T82" fmla="*/ 5 w 150"/>
                  <a:gd name="T83" fmla="*/ 22 h 150"/>
                  <a:gd name="T84" fmla="*/ 2 w 150"/>
                  <a:gd name="T85" fmla="*/ 22 h 15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50" h="150">
                    <a:moveTo>
                      <a:pt x="0" y="48"/>
                    </a:moveTo>
                    <a:lnTo>
                      <a:pt x="6" y="42"/>
                    </a:lnTo>
                    <a:lnTo>
                      <a:pt x="12" y="42"/>
                    </a:lnTo>
                    <a:lnTo>
                      <a:pt x="12" y="48"/>
                    </a:lnTo>
                    <a:lnTo>
                      <a:pt x="18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24" y="36"/>
                    </a:lnTo>
                    <a:lnTo>
                      <a:pt x="30" y="36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42" y="18"/>
                    </a:lnTo>
                    <a:lnTo>
                      <a:pt x="42" y="12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54" y="6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72" y="0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26" y="18"/>
                    </a:lnTo>
                    <a:lnTo>
                      <a:pt x="126" y="24"/>
                    </a:lnTo>
                    <a:lnTo>
                      <a:pt x="126" y="30"/>
                    </a:lnTo>
                    <a:lnTo>
                      <a:pt x="132" y="30"/>
                    </a:lnTo>
                    <a:lnTo>
                      <a:pt x="132" y="36"/>
                    </a:lnTo>
                    <a:lnTo>
                      <a:pt x="132" y="42"/>
                    </a:lnTo>
                    <a:lnTo>
                      <a:pt x="138" y="42"/>
                    </a:lnTo>
                    <a:lnTo>
                      <a:pt x="138" y="48"/>
                    </a:lnTo>
                    <a:lnTo>
                      <a:pt x="138" y="54"/>
                    </a:lnTo>
                    <a:lnTo>
                      <a:pt x="138" y="60"/>
                    </a:lnTo>
                    <a:lnTo>
                      <a:pt x="144" y="60"/>
                    </a:lnTo>
                    <a:lnTo>
                      <a:pt x="144" y="66"/>
                    </a:lnTo>
                    <a:lnTo>
                      <a:pt x="138" y="66"/>
                    </a:lnTo>
                    <a:lnTo>
                      <a:pt x="138" y="72"/>
                    </a:lnTo>
                    <a:lnTo>
                      <a:pt x="132" y="72"/>
                    </a:lnTo>
                    <a:lnTo>
                      <a:pt x="132" y="78"/>
                    </a:lnTo>
                    <a:lnTo>
                      <a:pt x="132" y="84"/>
                    </a:lnTo>
                    <a:lnTo>
                      <a:pt x="132" y="78"/>
                    </a:lnTo>
                    <a:lnTo>
                      <a:pt x="138" y="84"/>
                    </a:lnTo>
                    <a:lnTo>
                      <a:pt x="144" y="84"/>
                    </a:lnTo>
                    <a:lnTo>
                      <a:pt x="144" y="78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50" y="84"/>
                    </a:lnTo>
                    <a:lnTo>
                      <a:pt x="150" y="90"/>
                    </a:lnTo>
                    <a:lnTo>
                      <a:pt x="144" y="90"/>
                    </a:lnTo>
                    <a:lnTo>
                      <a:pt x="138" y="96"/>
                    </a:lnTo>
                    <a:lnTo>
                      <a:pt x="138" y="108"/>
                    </a:lnTo>
                    <a:lnTo>
                      <a:pt x="132" y="108"/>
                    </a:lnTo>
                    <a:lnTo>
                      <a:pt x="132" y="114"/>
                    </a:lnTo>
                    <a:lnTo>
                      <a:pt x="126" y="114"/>
                    </a:lnTo>
                    <a:lnTo>
                      <a:pt x="126" y="120"/>
                    </a:lnTo>
                    <a:lnTo>
                      <a:pt x="120" y="120"/>
                    </a:lnTo>
                    <a:lnTo>
                      <a:pt x="120" y="126"/>
                    </a:lnTo>
                    <a:lnTo>
                      <a:pt x="114" y="126"/>
                    </a:lnTo>
                    <a:lnTo>
                      <a:pt x="108" y="132"/>
                    </a:lnTo>
                    <a:lnTo>
                      <a:pt x="108" y="138"/>
                    </a:lnTo>
                    <a:lnTo>
                      <a:pt x="102" y="138"/>
                    </a:lnTo>
                    <a:lnTo>
                      <a:pt x="102" y="144"/>
                    </a:lnTo>
                    <a:lnTo>
                      <a:pt x="96" y="150"/>
                    </a:lnTo>
                    <a:lnTo>
                      <a:pt x="90" y="150"/>
                    </a:lnTo>
                    <a:lnTo>
                      <a:pt x="84" y="144"/>
                    </a:lnTo>
                    <a:lnTo>
                      <a:pt x="78" y="144"/>
                    </a:lnTo>
                    <a:lnTo>
                      <a:pt x="72" y="138"/>
                    </a:lnTo>
                    <a:lnTo>
                      <a:pt x="54" y="132"/>
                    </a:lnTo>
                    <a:lnTo>
                      <a:pt x="48" y="132"/>
                    </a:lnTo>
                    <a:lnTo>
                      <a:pt x="42" y="126"/>
                    </a:lnTo>
                    <a:lnTo>
                      <a:pt x="48" y="126"/>
                    </a:lnTo>
                    <a:lnTo>
                      <a:pt x="54" y="126"/>
                    </a:lnTo>
                    <a:lnTo>
                      <a:pt x="48" y="126"/>
                    </a:lnTo>
                    <a:lnTo>
                      <a:pt x="42" y="126"/>
                    </a:lnTo>
                    <a:lnTo>
                      <a:pt x="48" y="120"/>
                    </a:lnTo>
                    <a:lnTo>
                      <a:pt x="54" y="120"/>
                    </a:lnTo>
                    <a:lnTo>
                      <a:pt x="48" y="120"/>
                    </a:lnTo>
                    <a:lnTo>
                      <a:pt x="42" y="120"/>
                    </a:lnTo>
                    <a:lnTo>
                      <a:pt x="42" y="114"/>
                    </a:lnTo>
                    <a:lnTo>
                      <a:pt x="48" y="114"/>
                    </a:lnTo>
                    <a:lnTo>
                      <a:pt x="42" y="114"/>
                    </a:lnTo>
                    <a:lnTo>
                      <a:pt x="42" y="108"/>
                    </a:lnTo>
                    <a:lnTo>
                      <a:pt x="42" y="114"/>
                    </a:lnTo>
                    <a:lnTo>
                      <a:pt x="42" y="108"/>
                    </a:lnTo>
                    <a:lnTo>
                      <a:pt x="36" y="114"/>
                    </a:lnTo>
                    <a:lnTo>
                      <a:pt x="30" y="114"/>
                    </a:lnTo>
                    <a:lnTo>
                      <a:pt x="30" y="108"/>
                    </a:lnTo>
                    <a:lnTo>
                      <a:pt x="24" y="108"/>
                    </a:lnTo>
                    <a:lnTo>
                      <a:pt x="24" y="102"/>
                    </a:lnTo>
                    <a:lnTo>
                      <a:pt x="18" y="102"/>
                    </a:lnTo>
                    <a:lnTo>
                      <a:pt x="24" y="102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24" y="96"/>
                    </a:lnTo>
                    <a:lnTo>
                      <a:pt x="24" y="90"/>
                    </a:lnTo>
                    <a:lnTo>
                      <a:pt x="18" y="90"/>
                    </a:lnTo>
                    <a:lnTo>
                      <a:pt x="18" y="84"/>
                    </a:lnTo>
                    <a:lnTo>
                      <a:pt x="12" y="84"/>
                    </a:lnTo>
                    <a:lnTo>
                      <a:pt x="12" y="90"/>
                    </a:lnTo>
                    <a:lnTo>
                      <a:pt x="12" y="84"/>
                    </a:lnTo>
                    <a:lnTo>
                      <a:pt x="6" y="84"/>
                    </a:lnTo>
                    <a:lnTo>
                      <a:pt x="6" y="78"/>
                    </a:lnTo>
                    <a:lnTo>
                      <a:pt x="6" y="72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12" y="72"/>
                    </a:lnTo>
                    <a:lnTo>
                      <a:pt x="18" y="72"/>
                    </a:lnTo>
                    <a:lnTo>
                      <a:pt x="24" y="72"/>
                    </a:lnTo>
                    <a:lnTo>
                      <a:pt x="18" y="72"/>
                    </a:lnTo>
                    <a:lnTo>
                      <a:pt x="18" y="66"/>
                    </a:lnTo>
                    <a:lnTo>
                      <a:pt x="12" y="72"/>
                    </a:lnTo>
                    <a:lnTo>
                      <a:pt x="12" y="66"/>
                    </a:lnTo>
                    <a:lnTo>
                      <a:pt x="12" y="72"/>
                    </a:lnTo>
                    <a:lnTo>
                      <a:pt x="6" y="72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6" y="54"/>
                    </a:lnTo>
                    <a:lnTo>
                      <a:pt x="6" y="48"/>
                    </a:lnTo>
                    <a:lnTo>
                      <a:pt x="6" y="54"/>
                    </a:lnTo>
                    <a:lnTo>
                      <a:pt x="6" y="48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3" name="Freeform 109"/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1989" y="1842"/>
                <a:ext cx="318" cy="228"/>
              </a:xfrm>
              <a:custGeom>
                <a:avLst/>
                <a:gdLst>
                  <a:gd name="T0" fmla="*/ 2 w 396"/>
                  <a:gd name="T1" fmla="*/ 90 h 282"/>
                  <a:gd name="T2" fmla="*/ 5 w 396"/>
                  <a:gd name="T3" fmla="*/ 82 h 282"/>
                  <a:gd name="T4" fmla="*/ 7 w 396"/>
                  <a:gd name="T5" fmla="*/ 74 h 282"/>
                  <a:gd name="T6" fmla="*/ 5 w 396"/>
                  <a:gd name="T7" fmla="*/ 70 h 282"/>
                  <a:gd name="T8" fmla="*/ 5 w 396"/>
                  <a:gd name="T9" fmla="*/ 70 h 282"/>
                  <a:gd name="T10" fmla="*/ 12 w 396"/>
                  <a:gd name="T11" fmla="*/ 64 h 282"/>
                  <a:gd name="T12" fmla="*/ 20 w 396"/>
                  <a:gd name="T13" fmla="*/ 60 h 282"/>
                  <a:gd name="T14" fmla="*/ 20 w 396"/>
                  <a:gd name="T15" fmla="*/ 51 h 282"/>
                  <a:gd name="T16" fmla="*/ 28 w 396"/>
                  <a:gd name="T17" fmla="*/ 46 h 282"/>
                  <a:gd name="T18" fmla="*/ 28 w 396"/>
                  <a:gd name="T19" fmla="*/ 39 h 282"/>
                  <a:gd name="T20" fmla="*/ 31 w 396"/>
                  <a:gd name="T21" fmla="*/ 33 h 282"/>
                  <a:gd name="T22" fmla="*/ 40 w 396"/>
                  <a:gd name="T23" fmla="*/ 39 h 282"/>
                  <a:gd name="T24" fmla="*/ 47 w 396"/>
                  <a:gd name="T25" fmla="*/ 33 h 282"/>
                  <a:gd name="T26" fmla="*/ 47 w 396"/>
                  <a:gd name="T27" fmla="*/ 28 h 282"/>
                  <a:gd name="T28" fmla="*/ 55 w 396"/>
                  <a:gd name="T29" fmla="*/ 28 h 282"/>
                  <a:gd name="T30" fmla="*/ 62 w 396"/>
                  <a:gd name="T31" fmla="*/ 15 h 282"/>
                  <a:gd name="T32" fmla="*/ 75 w 396"/>
                  <a:gd name="T33" fmla="*/ 12 h 282"/>
                  <a:gd name="T34" fmla="*/ 95 w 396"/>
                  <a:gd name="T35" fmla="*/ 2 h 282"/>
                  <a:gd name="T36" fmla="*/ 115 w 396"/>
                  <a:gd name="T37" fmla="*/ 2 h 282"/>
                  <a:gd name="T38" fmla="*/ 116 w 396"/>
                  <a:gd name="T39" fmla="*/ 5 h 282"/>
                  <a:gd name="T40" fmla="*/ 123 w 396"/>
                  <a:gd name="T41" fmla="*/ 15 h 282"/>
                  <a:gd name="T42" fmla="*/ 125 w 396"/>
                  <a:gd name="T43" fmla="*/ 26 h 282"/>
                  <a:gd name="T44" fmla="*/ 133 w 396"/>
                  <a:gd name="T45" fmla="*/ 31 h 282"/>
                  <a:gd name="T46" fmla="*/ 140 w 396"/>
                  <a:gd name="T47" fmla="*/ 36 h 282"/>
                  <a:gd name="T48" fmla="*/ 147 w 396"/>
                  <a:gd name="T49" fmla="*/ 51 h 282"/>
                  <a:gd name="T50" fmla="*/ 159 w 396"/>
                  <a:gd name="T51" fmla="*/ 51 h 282"/>
                  <a:gd name="T52" fmla="*/ 165 w 396"/>
                  <a:gd name="T53" fmla="*/ 66 h 282"/>
                  <a:gd name="T54" fmla="*/ 162 w 396"/>
                  <a:gd name="T55" fmla="*/ 72 h 282"/>
                  <a:gd name="T56" fmla="*/ 149 w 396"/>
                  <a:gd name="T57" fmla="*/ 77 h 282"/>
                  <a:gd name="T58" fmla="*/ 140 w 396"/>
                  <a:gd name="T59" fmla="*/ 79 h 282"/>
                  <a:gd name="T60" fmla="*/ 135 w 396"/>
                  <a:gd name="T61" fmla="*/ 82 h 282"/>
                  <a:gd name="T62" fmla="*/ 128 w 396"/>
                  <a:gd name="T63" fmla="*/ 87 h 282"/>
                  <a:gd name="T64" fmla="*/ 107 w 396"/>
                  <a:gd name="T65" fmla="*/ 84 h 282"/>
                  <a:gd name="T66" fmla="*/ 103 w 396"/>
                  <a:gd name="T67" fmla="*/ 84 h 282"/>
                  <a:gd name="T68" fmla="*/ 97 w 396"/>
                  <a:gd name="T69" fmla="*/ 87 h 282"/>
                  <a:gd name="T70" fmla="*/ 90 w 396"/>
                  <a:gd name="T71" fmla="*/ 87 h 282"/>
                  <a:gd name="T72" fmla="*/ 80 w 396"/>
                  <a:gd name="T73" fmla="*/ 87 h 282"/>
                  <a:gd name="T74" fmla="*/ 62 w 396"/>
                  <a:gd name="T75" fmla="*/ 87 h 282"/>
                  <a:gd name="T76" fmla="*/ 55 w 396"/>
                  <a:gd name="T77" fmla="*/ 87 h 282"/>
                  <a:gd name="T78" fmla="*/ 52 w 396"/>
                  <a:gd name="T79" fmla="*/ 95 h 282"/>
                  <a:gd name="T80" fmla="*/ 55 w 396"/>
                  <a:gd name="T81" fmla="*/ 97 h 282"/>
                  <a:gd name="T82" fmla="*/ 55 w 396"/>
                  <a:gd name="T83" fmla="*/ 105 h 282"/>
                  <a:gd name="T84" fmla="*/ 57 w 396"/>
                  <a:gd name="T85" fmla="*/ 112 h 282"/>
                  <a:gd name="T86" fmla="*/ 57 w 396"/>
                  <a:gd name="T87" fmla="*/ 120 h 282"/>
                  <a:gd name="T88" fmla="*/ 50 w 396"/>
                  <a:gd name="T89" fmla="*/ 112 h 282"/>
                  <a:gd name="T90" fmla="*/ 45 w 396"/>
                  <a:gd name="T91" fmla="*/ 111 h 282"/>
                  <a:gd name="T92" fmla="*/ 35 w 396"/>
                  <a:gd name="T93" fmla="*/ 108 h 282"/>
                  <a:gd name="T94" fmla="*/ 28 w 396"/>
                  <a:gd name="T95" fmla="*/ 112 h 282"/>
                  <a:gd name="T96" fmla="*/ 20 w 396"/>
                  <a:gd name="T97" fmla="*/ 112 h 282"/>
                  <a:gd name="T98" fmla="*/ 10 w 396"/>
                  <a:gd name="T99" fmla="*/ 111 h 282"/>
                  <a:gd name="T100" fmla="*/ 10 w 396"/>
                  <a:gd name="T101" fmla="*/ 105 h 282"/>
                  <a:gd name="T102" fmla="*/ 7 w 396"/>
                  <a:gd name="T103" fmla="*/ 100 h 28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96" h="282">
                    <a:moveTo>
                      <a:pt x="0" y="228"/>
                    </a:moveTo>
                    <a:lnTo>
                      <a:pt x="0" y="222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6" y="210"/>
                    </a:lnTo>
                    <a:lnTo>
                      <a:pt x="0" y="204"/>
                    </a:lnTo>
                    <a:lnTo>
                      <a:pt x="0" y="198"/>
                    </a:lnTo>
                    <a:lnTo>
                      <a:pt x="6" y="198"/>
                    </a:lnTo>
                    <a:lnTo>
                      <a:pt x="6" y="192"/>
                    </a:lnTo>
                    <a:lnTo>
                      <a:pt x="12" y="192"/>
                    </a:lnTo>
                    <a:lnTo>
                      <a:pt x="12" y="186"/>
                    </a:lnTo>
                    <a:lnTo>
                      <a:pt x="12" y="180"/>
                    </a:lnTo>
                    <a:lnTo>
                      <a:pt x="18" y="180"/>
                    </a:lnTo>
                    <a:lnTo>
                      <a:pt x="12" y="180"/>
                    </a:lnTo>
                    <a:lnTo>
                      <a:pt x="18" y="174"/>
                    </a:lnTo>
                    <a:lnTo>
                      <a:pt x="12" y="174"/>
                    </a:lnTo>
                    <a:lnTo>
                      <a:pt x="18" y="174"/>
                    </a:lnTo>
                    <a:lnTo>
                      <a:pt x="12" y="174"/>
                    </a:lnTo>
                    <a:lnTo>
                      <a:pt x="12" y="168"/>
                    </a:lnTo>
                    <a:lnTo>
                      <a:pt x="12" y="162"/>
                    </a:lnTo>
                    <a:lnTo>
                      <a:pt x="6" y="162"/>
                    </a:lnTo>
                    <a:lnTo>
                      <a:pt x="12" y="156"/>
                    </a:lnTo>
                    <a:lnTo>
                      <a:pt x="12" y="162"/>
                    </a:lnTo>
                    <a:lnTo>
                      <a:pt x="12" y="156"/>
                    </a:lnTo>
                    <a:lnTo>
                      <a:pt x="12" y="162"/>
                    </a:lnTo>
                    <a:lnTo>
                      <a:pt x="12" y="156"/>
                    </a:lnTo>
                    <a:lnTo>
                      <a:pt x="18" y="156"/>
                    </a:lnTo>
                    <a:lnTo>
                      <a:pt x="18" y="150"/>
                    </a:lnTo>
                    <a:lnTo>
                      <a:pt x="24" y="150"/>
                    </a:lnTo>
                    <a:lnTo>
                      <a:pt x="30" y="150"/>
                    </a:lnTo>
                    <a:lnTo>
                      <a:pt x="36" y="150"/>
                    </a:lnTo>
                    <a:lnTo>
                      <a:pt x="42" y="150"/>
                    </a:lnTo>
                    <a:lnTo>
                      <a:pt x="42" y="144"/>
                    </a:lnTo>
                    <a:lnTo>
                      <a:pt x="48" y="144"/>
                    </a:lnTo>
                    <a:lnTo>
                      <a:pt x="48" y="138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54" y="126"/>
                    </a:lnTo>
                    <a:lnTo>
                      <a:pt x="54" y="120"/>
                    </a:lnTo>
                    <a:lnTo>
                      <a:pt x="48" y="120"/>
                    </a:lnTo>
                    <a:lnTo>
                      <a:pt x="48" y="114"/>
                    </a:lnTo>
                    <a:lnTo>
                      <a:pt x="54" y="114"/>
                    </a:lnTo>
                    <a:lnTo>
                      <a:pt x="60" y="114"/>
                    </a:lnTo>
                    <a:lnTo>
                      <a:pt x="66" y="114"/>
                    </a:lnTo>
                    <a:lnTo>
                      <a:pt x="66" y="108"/>
                    </a:lnTo>
                    <a:lnTo>
                      <a:pt x="66" y="102"/>
                    </a:lnTo>
                    <a:lnTo>
                      <a:pt x="60" y="102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6" y="90"/>
                    </a:lnTo>
                    <a:lnTo>
                      <a:pt x="66" y="84"/>
                    </a:lnTo>
                    <a:lnTo>
                      <a:pt x="72" y="84"/>
                    </a:lnTo>
                    <a:lnTo>
                      <a:pt x="72" y="78"/>
                    </a:lnTo>
                    <a:lnTo>
                      <a:pt x="78" y="78"/>
                    </a:lnTo>
                    <a:lnTo>
                      <a:pt x="78" y="84"/>
                    </a:lnTo>
                    <a:lnTo>
                      <a:pt x="84" y="84"/>
                    </a:lnTo>
                    <a:lnTo>
                      <a:pt x="90" y="90"/>
                    </a:lnTo>
                    <a:lnTo>
                      <a:pt x="96" y="90"/>
                    </a:lnTo>
                    <a:lnTo>
                      <a:pt x="102" y="96"/>
                    </a:lnTo>
                    <a:lnTo>
                      <a:pt x="102" y="90"/>
                    </a:lnTo>
                    <a:lnTo>
                      <a:pt x="114" y="90"/>
                    </a:lnTo>
                    <a:lnTo>
                      <a:pt x="114" y="84"/>
                    </a:lnTo>
                    <a:lnTo>
                      <a:pt x="114" y="78"/>
                    </a:lnTo>
                    <a:lnTo>
                      <a:pt x="108" y="78"/>
                    </a:lnTo>
                    <a:lnTo>
                      <a:pt x="114" y="72"/>
                    </a:lnTo>
                    <a:lnTo>
                      <a:pt x="114" y="66"/>
                    </a:lnTo>
                    <a:lnTo>
                      <a:pt x="108" y="66"/>
                    </a:lnTo>
                    <a:lnTo>
                      <a:pt x="114" y="66"/>
                    </a:lnTo>
                    <a:lnTo>
                      <a:pt x="120" y="6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6" y="72"/>
                    </a:lnTo>
                    <a:lnTo>
                      <a:pt x="132" y="66"/>
                    </a:lnTo>
                    <a:lnTo>
                      <a:pt x="132" y="60"/>
                    </a:lnTo>
                    <a:lnTo>
                      <a:pt x="132" y="54"/>
                    </a:lnTo>
                    <a:lnTo>
                      <a:pt x="132" y="48"/>
                    </a:lnTo>
                    <a:lnTo>
                      <a:pt x="144" y="48"/>
                    </a:lnTo>
                    <a:lnTo>
                      <a:pt x="150" y="36"/>
                    </a:lnTo>
                    <a:lnTo>
                      <a:pt x="162" y="42"/>
                    </a:lnTo>
                    <a:lnTo>
                      <a:pt x="168" y="42"/>
                    </a:lnTo>
                    <a:lnTo>
                      <a:pt x="174" y="42"/>
                    </a:lnTo>
                    <a:lnTo>
                      <a:pt x="174" y="30"/>
                    </a:lnTo>
                    <a:lnTo>
                      <a:pt x="180" y="30"/>
                    </a:lnTo>
                    <a:lnTo>
                      <a:pt x="186" y="30"/>
                    </a:lnTo>
                    <a:lnTo>
                      <a:pt x="192" y="24"/>
                    </a:lnTo>
                    <a:lnTo>
                      <a:pt x="210" y="18"/>
                    </a:lnTo>
                    <a:lnTo>
                      <a:pt x="222" y="12"/>
                    </a:lnTo>
                    <a:lnTo>
                      <a:pt x="228" y="6"/>
                    </a:lnTo>
                    <a:lnTo>
                      <a:pt x="240" y="0"/>
                    </a:lnTo>
                    <a:lnTo>
                      <a:pt x="252" y="0"/>
                    </a:lnTo>
                    <a:lnTo>
                      <a:pt x="264" y="0"/>
                    </a:lnTo>
                    <a:lnTo>
                      <a:pt x="276" y="0"/>
                    </a:lnTo>
                    <a:lnTo>
                      <a:pt x="276" y="6"/>
                    </a:lnTo>
                    <a:lnTo>
                      <a:pt x="282" y="6"/>
                    </a:lnTo>
                    <a:lnTo>
                      <a:pt x="282" y="0"/>
                    </a:lnTo>
                    <a:lnTo>
                      <a:pt x="288" y="0"/>
                    </a:lnTo>
                    <a:lnTo>
                      <a:pt x="288" y="6"/>
                    </a:lnTo>
                    <a:lnTo>
                      <a:pt x="282" y="12"/>
                    </a:lnTo>
                    <a:lnTo>
                      <a:pt x="282" y="18"/>
                    </a:lnTo>
                    <a:lnTo>
                      <a:pt x="282" y="24"/>
                    </a:lnTo>
                    <a:lnTo>
                      <a:pt x="282" y="30"/>
                    </a:lnTo>
                    <a:lnTo>
                      <a:pt x="288" y="36"/>
                    </a:lnTo>
                    <a:lnTo>
                      <a:pt x="294" y="36"/>
                    </a:lnTo>
                    <a:lnTo>
                      <a:pt x="294" y="42"/>
                    </a:lnTo>
                    <a:lnTo>
                      <a:pt x="294" y="48"/>
                    </a:lnTo>
                    <a:lnTo>
                      <a:pt x="294" y="54"/>
                    </a:lnTo>
                    <a:lnTo>
                      <a:pt x="300" y="54"/>
                    </a:lnTo>
                    <a:lnTo>
                      <a:pt x="300" y="60"/>
                    </a:lnTo>
                    <a:lnTo>
                      <a:pt x="306" y="60"/>
                    </a:lnTo>
                    <a:lnTo>
                      <a:pt x="306" y="66"/>
                    </a:lnTo>
                    <a:lnTo>
                      <a:pt x="312" y="66"/>
                    </a:lnTo>
                    <a:lnTo>
                      <a:pt x="312" y="72"/>
                    </a:lnTo>
                    <a:lnTo>
                      <a:pt x="318" y="72"/>
                    </a:lnTo>
                    <a:lnTo>
                      <a:pt x="324" y="72"/>
                    </a:lnTo>
                    <a:lnTo>
                      <a:pt x="324" y="78"/>
                    </a:lnTo>
                    <a:lnTo>
                      <a:pt x="330" y="78"/>
                    </a:lnTo>
                    <a:lnTo>
                      <a:pt x="330" y="84"/>
                    </a:lnTo>
                    <a:lnTo>
                      <a:pt x="336" y="84"/>
                    </a:lnTo>
                    <a:lnTo>
                      <a:pt x="330" y="84"/>
                    </a:lnTo>
                    <a:lnTo>
                      <a:pt x="324" y="84"/>
                    </a:lnTo>
                    <a:lnTo>
                      <a:pt x="324" y="96"/>
                    </a:lnTo>
                    <a:lnTo>
                      <a:pt x="324" y="102"/>
                    </a:lnTo>
                    <a:lnTo>
                      <a:pt x="354" y="120"/>
                    </a:lnTo>
                    <a:lnTo>
                      <a:pt x="366" y="120"/>
                    </a:lnTo>
                    <a:lnTo>
                      <a:pt x="372" y="114"/>
                    </a:lnTo>
                    <a:lnTo>
                      <a:pt x="378" y="114"/>
                    </a:lnTo>
                    <a:lnTo>
                      <a:pt x="378" y="120"/>
                    </a:lnTo>
                    <a:lnTo>
                      <a:pt x="384" y="120"/>
                    </a:lnTo>
                    <a:lnTo>
                      <a:pt x="384" y="126"/>
                    </a:lnTo>
                    <a:lnTo>
                      <a:pt x="384" y="132"/>
                    </a:lnTo>
                    <a:lnTo>
                      <a:pt x="378" y="132"/>
                    </a:lnTo>
                    <a:lnTo>
                      <a:pt x="378" y="138"/>
                    </a:lnTo>
                    <a:lnTo>
                      <a:pt x="396" y="156"/>
                    </a:lnTo>
                    <a:lnTo>
                      <a:pt x="390" y="156"/>
                    </a:lnTo>
                    <a:lnTo>
                      <a:pt x="396" y="156"/>
                    </a:lnTo>
                    <a:lnTo>
                      <a:pt x="390" y="156"/>
                    </a:lnTo>
                    <a:lnTo>
                      <a:pt x="390" y="162"/>
                    </a:lnTo>
                    <a:lnTo>
                      <a:pt x="390" y="168"/>
                    </a:lnTo>
                    <a:lnTo>
                      <a:pt x="384" y="168"/>
                    </a:lnTo>
                    <a:lnTo>
                      <a:pt x="384" y="174"/>
                    </a:lnTo>
                    <a:lnTo>
                      <a:pt x="372" y="180"/>
                    </a:lnTo>
                    <a:lnTo>
                      <a:pt x="366" y="180"/>
                    </a:lnTo>
                    <a:lnTo>
                      <a:pt x="360" y="180"/>
                    </a:lnTo>
                    <a:lnTo>
                      <a:pt x="354" y="180"/>
                    </a:lnTo>
                    <a:lnTo>
                      <a:pt x="348" y="180"/>
                    </a:lnTo>
                    <a:lnTo>
                      <a:pt x="342" y="180"/>
                    </a:lnTo>
                    <a:lnTo>
                      <a:pt x="342" y="186"/>
                    </a:lnTo>
                    <a:lnTo>
                      <a:pt x="336" y="186"/>
                    </a:lnTo>
                    <a:lnTo>
                      <a:pt x="330" y="186"/>
                    </a:lnTo>
                    <a:lnTo>
                      <a:pt x="330" y="192"/>
                    </a:lnTo>
                    <a:lnTo>
                      <a:pt x="324" y="192"/>
                    </a:lnTo>
                    <a:lnTo>
                      <a:pt x="324" y="198"/>
                    </a:lnTo>
                    <a:lnTo>
                      <a:pt x="324" y="192"/>
                    </a:lnTo>
                    <a:lnTo>
                      <a:pt x="330" y="198"/>
                    </a:lnTo>
                    <a:lnTo>
                      <a:pt x="324" y="198"/>
                    </a:lnTo>
                    <a:lnTo>
                      <a:pt x="318" y="198"/>
                    </a:lnTo>
                    <a:lnTo>
                      <a:pt x="318" y="204"/>
                    </a:lnTo>
                    <a:lnTo>
                      <a:pt x="306" y="204"/>
                    </a:lnTo>
                    <a:lnTo>
                      <a:pt x="300" y="204"/>
                    </a:lnTo>
                    <a:lnTo>
                      <a:pt x="300" y="198"/>
                    </a:lnTo>
                    <a:lnTo>
                      <a:pt x="264" y="192"/>
                    </a:lnTo>
                    <a:lnTo>
                      <a:pt x="258" y="192"/>
                    </a:lnTo>
                    <a:lnTo>
                      <a:pt x="258" y="198"/>
                    </a:lnTo>
                    <a:lnTo>
                      <a:pt x="252" y="198"/>
                    </a:lnTo>
                    <a:lnTo>
                      <a:pt x="258" y="198"/>
                    </a:lnTo>
                    <a:lnTo>
                      <a:pt x="252" y="192"/>
                    </a:lnTo>
                    <a:lnTo>
                      <a:pt x="252" y="198"/>
                    </a:lnTo>
                    <a:lnTo>
                      <a:pt x="246" y="198"/>
                    </a:lnTo>
                    <a:lnTo>
                      <a:pt x="246" y="204"/>
                    </a:lnTo>
                    <a:lnTo>
                      <a:pt x="240" y="204"/>
                    </a:lnTo>
                    <a:lnTo>
                      <a:pt x="234" y="204"/>
                    </a:lnTo>
                    <a:lnTo>
                      <a:pt x="234" y="198"/>
                    </a:lnTo>
                    <a:lnTo>
                      <a:pt x="234" y="204"/>
                    </a:lnTo>
                    <a:lnTo>
                      <a:pt x="228" y="204"/>
                    </a:lnTo>
                    <a:lnTo>
                      <a:pt x="222" y="204"/>
                    </a:lnTo>
                    <a:lnTo>
                      <a:pt x="222" y="198"/>
                    </a:lnTo>
                    <a:lnTo>
                      <a:pt x="216" y="198"/>
                    </a:lnTo>
                    <a:lnTo>
                      <a:pt x="216" y="204"/>
                    </a:lnTo>
                    <a:lnTo>
                      <a:pt x="210" y="204"/>
                    </a:lnTo>
                    <a:lnTo>
                      <a:pt x="204" y="204"/>
                    </a:lnTo>
                    <a:lnTo>
                      <a:pt x="204" y="198"/>
                    </a:lnTo>
                    <a:lnTo>
                      <a:pt x="192" y="198"/>
                    </a:lnTo>
                    <a:lnTo>
                      <a:pt x="192" y="204"/>
                    </a:lnTo>
                    <a:lnTo>
                      <a:pt x="186" y="204"/>
                    </a:lnTo>
                    <a:lnTo>
                      <a:pt x="168" y="204"/>
                    </a:lnTo>
                    <a:lnTo>
                      <a:pt x="162" y="204"/>
                    </a:lnTo>
                    <a:lnTo>
                      <a:pt x="156" y="204"/>
                    </a:lnTo>
                    <a:lnTo>
                      <a:pt x="150" y="204"/>
                    </a:lnTo>
                    <a:lnTo>
                      <a:pt x="144" y="204"/>
                    </a:lnTo>
                    <a:lnTo>
                      <a:pt x="138" y="204"/>
                    </a:lnTo>
                    <a:lnTo>
                      <a:pt x="138" y="198"/>
                    </a:lnTo>
                    <a:lnTo>
                      <a:pt x="132" y="198"/>
                    </a:lnTo>
                    <a:lnTo>
                      <a:pt x="132" y="204"/>
                    </a:lnTo>
                    <a:lnTo>
                      <a:pt x="132" y="210"/>
                    </a:lnTo>
                    <a:lnTo>
                      <a:pt x="126" y="216"/>
                    </a:lnTo>
                    <a:lnTo>
                      <a:pt x="132" y="216"/>
                    </a:lnTo>
                    <a:lnTo>
                      <a:pt x="126" y="216"/>
                    </a:lnTo>
                    <a:lnTo>
                      <a:pt x="126" y="222"/>
                    </a:lnTo>
                    <a:lnTo>
                      <a:pt x="132" y="222"/>
                    </a:lnTo>
                    <a:lnTo>
                      <a:pt x="132" y="228"/>
                    </a:lnTo>
                    <a:lnTo>
                      <a:pt x="138" y="228"/>
                    </a:lnTo>
                    <a:lnTo>
                      <a:pt x="132" y="234"/>
                    </a:lnTo>
                    <a:lnTo>
                      <a:pt x="132" y="228"/>
                    </a:lnTo>
                    <a:lnTo>
                      <a:pt x="132" y="234"/>
                    </a:lnTo>
                    <a:lnTo>
                      <a:pt x="138" y="240"/>
                    </a:lnTo>
                    <a:lnTo>
                      <a:pt x="132" y="240"/>
                    </a:lnTo>
                    <a:lnTo>
                      <a:pt x="138" y="246"/>
                    </a:lnTo>
                    <a:lnTo>
                      <a:pt x="132" y="246"/>
                    </a:lnTo>
                    <a:lnTo>
                      <a:pt x="138" y="246"/>
                    </a:lnTo>
                    <a:lnTo>
                      <a:pt x="138" y="252"/>
                    </a:lnTo>
                    <a:lnTo>
                      <a:pt x="138" y="258"/>
                    </a:lnTo>
                    <a:lnTo>
                      <a:pt x="132" y="264"/>
                    </a:lnTo>
                    <a:lnTo>
                      <a:pt x="138" y="264"/>
                    </a:lnTo>
                    <a:lnTo>
                      <a:pt x="132" y="264"/>
                    </a:lnTo>
                    <a:lnTo>
                      <a:pt x="138" y="264"/>
                    </a:lnTo>
                    <a:lnTo>
                      <a:pt x="138" y="270"/>
                    </a:lnTo>
                    <a:lnTo>
                      <a:pt x="138" y="276"/>
                    </a:lnTo>
                    <a:lnTo>
                      <a:pt x="138" y="282"/>
                    </a:lnTo>
                    <a:lnTo>
                      <a:pt x="132" y="282"/>
                    </a:lnTo>
                    <a:lnTo>
                      <a:pt x="132" y="276"/>
                    </a:lnTo>
                    <a:lnTo>
                      <a:pt x="126" y="270"/>
                    </a:lnTo>
                    <a:lnTo>
                      <a:pt x="126" y="264"/>
                    </a:lnTo>
                    <a:lnTo>
                      <a:pt x="120" y="264"/>
                    </a:lnTo>
                    <a:lnTo>
                      <a:pt x="120" y="258"/>
                    </a:lnTo>
                    <a:lnTo>
                      <a:pt x="114" y="258"/>
                    </a:lnTo>
                    <a:lnTo>
                      <a:pt x="114" y="252"/>
                    </a:lnTo>
                    <a:lnTo>
                      <a:pt x="114" y="258"/>
                    </a:lnTo>
                    <a:lnTo>
                      <a:pt x="108" y="258"/>
                    </a:lnTo>
                    <a:lnTo>
                      <a:pt x="108" y="252"/>
                    </a:lnTo>
                    <a:lnTo>
                      <a:pt x="102" y="252"/>
                    </a:lnTo>
                    <a:lnTo>
                      <a:pt x="96" y="252"/>
                    </a:lnTo>
                    <a:lnTo>
                      <a:pt x="90" y="252"/>
                    </a:lnTo>
                    <a:lnTo>
                      <a:pt x="84" y="252"/>
                    </a:lnTo>
                    <a:lnTo>
                      <a:pt x="84" y="258"/>
                    </a:lnTo>
                    <a:lnTo>
                      <a:pt x="78" y="258"/>
                    </a:lnTo>
                    <a:lnTo>
                      <a:pt x="72" y="258"/>
                    </a:lnTo>
                    <a:lnTo>
                      <a:pt x="66" y="258"/>
                    </a:lnTo>
                    <a:lnTo>
                      <a:pt x="66" y="264"/>
                    </a:lnTo>
                    <a:lnTo>
                      <a:pt x="60" y="264"/>
                    </a:lnTo>
                    <a:lnTo>
                      <a:pt x="60" y="270"/>
                    </a:lnTo>
                    <a:lnTo>
                      <a:pt x="54" y="270"/>
                    </a:lnTo>
                    <a:lnTo>
                      <a:pt x="48" y="270"/>
                    </a:lnTo>
                    <a:lnTo>
                      <a:pt x="48" y="264"/>
                    </a:lnTo>
                    <a:lnTo>
                      <a:pt x="42" y="264"/>
                    </a:lnTo>
                    <a:lnTo>
                      <a:pt x="36" y="264"/>
                    </a:lnTo>
                    <a:lnTo>
                      <a:pt x="36" y="258"/>
                    </a:lnTo>
                    <a:lnTo>
                      <a:pt x="30" y="258"/>
                    </a:lnTo>
                    <a:lnTo>
                      <a:pt x="24" y="258"/>
                    </a:lnTo>
                    <a:lnTo>
                      <a:pt x="30" y="252"/>
                    </a:lnTo>
                    <a:lnTo>
                      <a:pt x="24" y="252"/>
                    </a:lnTo>
                    <a:lnTo>
                      <a:pt x="30" y="252"/>
                    </a:lnTo>
                    <a:lnTo>
                      <a:pt x="24" y="252"/>
                    </a:lnTo>
                    <a:lnTo>
                      <a:pt x="24" y="246"/>
                    </a:lnTo>
                    <a:lnTo>
                      <a:pt x="24" y="240"/>
                    </a:lnTo>
                    <a:lnTo>
                      <a:pt x="18" y="240"/>
                    </a:lnTo>
                    <a:lnTo>
                      <a:pt x="24" y="240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2" y="234"/>
                    </a:lnTo>
                    <a:lnTo>
                      <a:pt x="6" y="234"/>
                    </a:lnTo>
                    <a:lnTo>
                      <a:pt x="0" y="234"/>
                    </a:lnTo>
                    <a:lnTo>
                      <a:pt x="0" y="22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4" name="Freeform 110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080" y="1998"/>
                <a:ext cx="174" cy="256"/>
              </a:xfrm>
              <a:custGeom>
                <a:avLst/>
                <a:gdLst>
                  <a:gd name="T0" fmla="*/ 8 w 216"/>
                  <a:gd name="T1" fmla="*/ 31 h 318"/>
                  <a:gd name="T2" fmla="*/ 10 w 216"/>
                  <a:gd name="T3" fmla="*/ 25 h 318"/>
                  <a:gd name="T4" fmla="*/ 8 w 216"/>
                  <a:gd name="T5" fmla="*/ 20 h 318"/>
                  <a:gd name="T6" fmla="*/ 8 w 216"/>
                  <a:gd name="T7" fmla="*/ 18 h 318"/>
                  <a:gd name="T8" fmla="*/ 5 w 216"/>
                  <a:gd name="T9" fmla="*/ 12 h 318"/>
                  <a:gd name="T10" fmla="*/ 8 w 216"/>
                  <a:gd name="T11" fmla="*/ 7 h 318"/>
                  <a:gd name="T12" fmla="*/ 10 w 216"/>
                  <a:gd name="T13" fmla="*/ 5 h 318"/>
                  <a:gd name="T14" fmla="*/ 20 w 216"/>
                  <a:gd name="T15" fmla="*/ 5 h 318"/>
                  <a:gd name="T16" fmla="*/ 33 w 216"/>
                  <a:gd name="T17" fmla="*/ 2 h 318"/>
                  <a:gd name="T18" fmla="*/ 43 w 216"/>
                  <a:gd name="T19" fmla="*/ 5 h 318"/>
                  <a:gd name="T20" fmla="*/ 48 w 216"/>
                  <a:gd name="T21" fmla="*/ 5 h 318"/>
                  <a:gd name="T22" fmla="*/ 53 w 216"/>
                  <a:gd name="T23" fmla="*/ 5 h 318"/>
                  <a:gd name="T24" fmla="*/ 58 w 216"/>
                  <a:gd name="T25" fmla="*/ 0 h 318"/>
                  <a:gd name="T26" fmla="*/ 60 w 216"/>
                  <a:gd name="T27" fmla="*/ 0 h 318"/>
                  <a:gd name="T28" fmla="*/ 68 w 216"/>
                  <a:gd name="T29" fmla="*/ 2 h 318"/>
                  <a:gd name="T30" fmla="*/ 66 w 216"/>
                  <a:gd name="T31" fmla="*/ 12 h 318"/>
                  <a:gd name="T32" fmla="*/ 73 w 216"/>
                  <a:gd name="T33" fmla="*/ 15 h 318"/>
                  <a:gd name="T34" fmla="*/ 76 w 216"/>
                  <a:gd name="T35" fmla="*/ 23 h 318"/>
                  <a:gd name="T36" fmla="*/ 76 w 216"/>
                  <a:gd name="T37" fmla="*/ 28 h 318"/>
                  <a:gd name="T38" fmla="*/ 73 w 216"/>
                  <a:gd name="T39" fmla="*/ 33 h 318"/>
                  <a:gd name="T40" fmla="*/ 73 w 216"/>
                  <a:gd name="T41" fmla="*/ 38 h 318"/>
                  <a:gd name="T42" fmla="*/ 78 w 216"/>
                  <a:gd name="T43" fmla="*/ 38 h 318"/>
                  <a:gd name="T44" fmla="*/ 76 w 216"/>
                  <a:gd name="T45" fmla="*/ 45 h 318"/>
                  <a:gd name="T46" fmla="*/ 76 w 216"/>
                  <a:gd name="T47" fmla="*/ 52 h 318"/>
                  <a:gd name="T48" fmla="*/ 81 w 216"/>
                  <a:gd name="T49" fmla="*/ 58 h 318"/>
                  <a:gd name="T50" fmla="*/ 81 w 216"/>
                  <a:gd name="T51" fmla="*/ 63 h 318"/>
                  <a:gd name="T52" fmla="*/ 81 w 216"/>
                  <a:gd name="T53" fmla="*/ 73 h 318"/>
                  <a:gd name="T54" fmla="*/ 81 w 216"/>
                  <a:gd name="T55" fmla="*/ 78 h 318"/>
                  <a:gd name="T56" fmla="*/ 78 w 216"/>
                  <a:gd name="T57" fmla="*/ 88 h 318"/>
                  <a:gd name="T58" fmla="*/ 81 w 216"/>
                  <a:gd name="T59" fmla="*/ 96 h 318"/>
                  <a:gd name="T60" fmla="*/ 85 w 216"/>
                  <a:gd name="T61" fmla="*/ 101 h 318"/>
                  <a:gd name="T62" fmla="*/ 91 w 216"/>
                  <a:gd name="T63" fmla="*/ 105 h 318"/>
                  <a:gd name="T64" fmla="*/ 85 w 216"/>
                  <a:gd name="T65" fmla="*/ 114 h 318"/>
                  <a:gd name="T66" fmla="*/ 71 w 216"/>
                  <a:gd name="T67" fmla="*/ 114 h 318"/>
                  <a:gd name="T68" fmla="*/ 66 w 216"/>
                  <a:gd name="T69" fmla="*/ 118 h 318"/>
                  <a:gd name="T70" fmla="*/ 58 w 216"/>
                  <a:gd name="T71" fmla="*/ 122 h 318"/>
                  <a:gd name="T72" fmla="*/ 51 w 216"/>
                  <a:gd name="T73" fmla="*/ 124 h 318"/>
                  <a:gd name="T74" fmla="*/ 45 w 216"/>
                  <a:gd name="T75" fmla="*/ 124 h 318"/>
                  <a:gd name="T76" fmla="*/ 39 w 216"/>
                  <a:gd name="T77" fmla="*/ 128 h 318"/>
                  <a:gd name="T78" fmla="*/ 31 w 216"/>
                  <a:gd name="T79" fmla="*/ 131 h 318"/>
                  <a:gd name="T80" fmla="*/ 23 w 216"/>
                  <a:gd name="T81" fmla="*/ 134 h 318"/>
                  <a:gd name="T82" fmla="*/ 15 w 216"/>
                  <a:gd name="T83" fmla="*/ 128 h 318"/>
                  <a:gd name="T84" fmla="*/ 2 w 216"/>
                  <a:gd name="T85" fmla="*/ 126 h 318"/>
                  <a:gd name="T86" fmla="*/ 8 w 216"/>
                  <a:gd name="T87" fmla="*/ 126 h 318"/>
                  <a:gd name="T88" fmla="*/ 10 w 216"/>
                  <a:gd name="T89" fmla="*/ 118 h 318"/>
                  <a:gd name="T90" fmla="*/ 5 w 216"/>
                  <a:gd name="T91" fmla="*/ 114 h 318"/>
                  <a:gd name="T92" fmla="*/ 2 w 216"/>
                  <a:gd name="T93" fmla="*/ 103 h 318"/>
                  <a:gd name="T94" fmla="*/ 0 w 216"/>
                  <a:gd name="T95" fmla="*/ 93 h 318"/>
                  <a:gd name="T96" fmla="*/ 5 w 216"/>
                  <a:gd name="T97" fmla="*/ 85 h 318"/>
                  <a:gd name="T98" fmla="*/ 5 w 216"/>
                  <a:gd name="T99" fmla="*/ 76 h 318"/>
                  <a:gd name="T100" fmla="*/ 10 w 216"/>
                  <a:gd name="T101" fmla="*/ 65 h 318"/>
                  <a:gd name="T102" fmla="*/ 15 w 216"/>
                  <a:gd name="T103" fmla="*/ 60 h 318"/>
                  <a:gd name="T104" fmla="*/ 12 w 216"/>
                  <a:gd name="T105" fmla="*/ 48 h 318"/>
                  <a:gd name="T106" fmla="*/ 10 w 216"/>
                  <a:gd name="T107" fmla="*/ 40 h 318"/>
                  <a:gd name="T108" fmla="*/ 10 w 216"/>
                  <a:gd name="T109" fmla="*/ 35 h 31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16" h="318">
                    <a:moveTo>
                      <a:pt x="24" y="84"/>
                    </a:moveTo>
                    <a:lnTo>
                      <a:pt x="24" y="78"/>
                    </a:lnTo>
                    <a:lnTo>
                      <a:pt x="24" y="72"/>
                    </a:lnTo>
                    <a:lnTo>
                      <a:pt x="18" y="72"/>
                    </a:lnTo>
                    <a:lnTo>
                      <a:pt x="24" y="72"/>
                    </a:lnTo>
                    <a:lnTo>
                      <a:pt x="18" y="72"/>
                    </a:lnTo>
                    <a:lnTo>
                      <a:pt x="24" y="66"/>
                    </a:lnTo>
                    <a:lnTo>
                      <a:pt x="24" y="60"/>
                    </a:lnTo>
                    <a:lnTo>
                      <a:pt x="24" y="54"/>
                    </a:lnTo>
                    <a:lnTo>
                      <a:pt x="18" y="54"/>
                    </a:lnTo>
                    <a:lnTo>
                      <a:pt x="24" y="54"/>
                    </a:lnTo>
                    <a:lnTo>
                      <a:pt x="18" y="48"/>
                    </a:lnTo>
                    <a:lnTo>
                      <a:pt x="24" y="48"/>
                    </a:lnTo>
                    <a:lnTo>
                      <a:pt x="18" y="42"/>
                    </a:lnTo>
                    <a:lnTo>
                      <a:pt x="18" y="36"/>
                    </a:lnTo>
                    <a:lnTo>
                      <a:pt x="18" y="42"/>
                    </a:lnTo>
                    <a:lnTo>
                      <a:pt x="24" y="36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72" y="12"/>
                    </a:lnTo>
                    <a:lnTo>
                      <a:pt x="78" y="12"/>
                    </a:lnTo>
                    <a:lnTo>
                      <a:pt x="78" y="6"/>
                    </a:lnTo>
                    <a:lnTo>
                      <a:pt x="90" y="6"/>
                    </a:lnTo>
                    <a:lnTo>
                      <a:pt x="90" y="12"/>
                    </a:lnTo>
                    <a:lnTo>
                      <a:pt x="96" y="12"/>
                    </a:lnTo>
                    <a:lnTo>
                      <a:pt x="102" y="12"/>
                    </a:lnTo>
                    <a:lnTo>
                      <a:pt x="102" y="6"/>
                    </a:lnTo>
                    <a:lnTo>
                      <a:pt x="108" y="6"/>
                    </a:lnTo>
                    <a:lnTo>
                      <a:pt x="108" y="12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0" y="6"/>
                    </a:lnTo>
                    <a:lnTo>
                      <a:pt x="120" y="12"/>
                    </a:lnTo>
                    <a:lnTo>
                      <a:pt x="126" y="12"/>
                    </a:lnTo>
                    <a:lnTo>
                      <a:pt x="132" y="12"/>
                    </a:lnTo>
                    <a:lnTo>
                      <a:pt x="132" y="6"/>
                    </a:lnTo>
                    <a:lnTo>
                      <a:pt x="138" y="6"/>
                    </a:lnTo>
                    <a:lnTo>
                      <a:pt x="138" y="0"/>
                    </a:lnTo>
                    <a:lnTo>
                      <a:pt x="144" y="6"/>
                    </a:lnTo>
                    <a:lnTo>
                      <a:pt x="138" y="6"/>
                    </a:lnTo>
                    <a:lnTo>
                      <a:pt x="144" y="6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0" y="6"/>
                    </a:lnTo>
                    <a:lnTo>
                      <a:pt x="156" y="6"/>
                    </a:lnTo>
                    <a:lnTo>
                      <a:pt x="162" y="6"/>
                    </a:lnTo>
                    <a:lnTo>
                      <a:pt x="162" y="12"/>
                    </a:lnTo>
                    <a:lnTo>
                      <a:pt x="156" y="18"/>
                    </a:lnTo>
                    <a:lnTo>
                      <a:pt x="156" y="24"/>
                    </a:lnTo>
                    <a:lnTo>
                      <a:pt x="156" y="30"/>
                    </a:lnTo>
                    <a:lnTo>
                      <a:pt x="162" y="30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74" y="36"/>
                    </a:lnTo>
                    <a:lnTo>
                      <a:pt x="174" y="42"/>
                    </a:lnTo>
                    <a:lnTo>
                      <a:pt x="180" y="42"/>
                    </a:lnTo>
                    <a:lnTo>
                      <a:pt x="180" y="48"/>
                    </a:lnTo>
                    <a:lnTo>
                      <a:pt x="180" y="54"/>
                    </a:lnTo>
                    <a:lnTo>
                      <a:pt x="180" y="60"/>
                    </a:lnTo>
                    <a:lnTo>
                      <a:pt x="180" y="66"/>
                    </a:lnTo>
                    <a:lnTo>
                      <a:pt x="174" y="66"/>
                    </a:lnTo>
                    <a:lnTo>
                      <a:pt x="180" y="66"/>
                    </a:lnTo>
                    <a:lnTo>
                      <a:pt x="174" y="72"/>
                    </a:lnTo>
                    <a:lnTo>
                      <a:pt x="180" y="72"/>
                    </a:lnTo>
                    <a:lnTo>
                      <a:pt x="180" y="78"/>
                    </a:lnTo>
                    <a:lnTo>
                      <a:pt x="174" y="78"/>
                    </a:lnTo>
                    <a:lnTo>
                      <a:pt x="174" y="84"/>
                    </a:lnTo>
                    <a:lnTo>
                      <a:pt x="168" y="84"/>
                    </a:lnTo>
                    <a:lnTo>
                      <a:pt x="174" y="84"/>
                    </a:lnTo>
                    <a:lnTo>
                      <a:pt x="174" y="90"/>
                    </a:lnTo>
                    <a:lnTo>
                      <a:pt x="174" y="84"/>
                    </a:lnTo>
                    <a:lnTo>
                      <a:pt x="180" y="84"/>
                    </a:lnTo>
                    <a:lnTo>
                      <a:pt x="186" y="84"/>
                    </a:lnTo>
                    <a:lnTo>
                      <a:pt x="186" y="90"/>
                    </a:lnTo>
                    <a:lnTo>
                      <a:pt x="186" y="96"/>
                    </a:lnTo>
                    <a:lnTo>
                      <a:pt x="186" y="102"/>
                    </a:lnTo>
                    <a:lnTo>
                      <a:pt x="180" y="102"/>
                    </a:lnTo>
                    <a:lnTo>
                      <a:pt x="180" y="108"/>
                    </a:lnTo>
                    <a:lnTo>
                      <a:pt x="186" y="114"/>
                    </a:lnTo>
                    <a:lnTo>
                      <a:pt x="186" y="120"/>
                    </a:lnTo>
                    <a:lnTo>
                      <a:pt x="180" y="120"/>
                    </a:lnTo>
                    <a:lnTo>
                      <a:pt x="180" y="126"/>
                    </a:lnTo>
                    <a:lnTo>
                      <a:pt x="186" y="126"/>
                    </a:lnTo>
                    <a:lnTo>
                      <a:pt x="186" y="132"/>
                    </a:lnTo>
                    <a:lnTo>
                      <a:pt x="192" y="132"/>
                    </a:lnTo>
                    <a:lnTo>
                      <a:pt x="192" y="138"/>
                    </a:lnTo>
                    <a:lnTo>
                      <a:pt x="198" y="138"/>
                    </a:lnTo>
                    <a:lnTo>
                      <a:pt x="198" y="144"/>
                    </a:lnTo>
                    <a:lnTo>
                      <a:pt x="192" y="144"/>
                    </a:lnTo>
                    <a:lnTo>
                      <a:pt x="192" y="150"/>
                    </a:lnTo>
                    <a:lnTo>
                      <a:pt x="192" y="156"/>
                    </a:lnTo>
                    <a:lnTo>
                      <a:pt x="192" y="162"/>
                    </a:lnTo>
                    <a:lnTo>
                      <a:pt x="192" y="168"/>
                    </a:lnTo>
                    <a:lnTo>
                      <a:pt x="192" y="174"/>
                    </a:lnTo>
                    <a:lnTo>
                      <a:pt x="186" y="174"/>
                    </a:lnTo>
                    <a:lnTo>
                      <a:pt x="186" y="180"/>
                    </a:lnTo>
                    <a:lnTo>
                      <a:pt x="186" y="186"/>
                    </a:lnTo>
                    <a:lnTo>
                      <a:pt x="192" y="186"/>
                    </a:lnTo>
                    <a:lnTo>
                      <a:pt x="192" y="192"/>
                    </a:lnTo>
                    <a:lnTo>
                      <a:pt x="192" y="198"/>
                    </a:lnTo>
                    <a:lnTo>
                      <a:pt x="192" y="204"/>
                    </a:lnTo>
                    <a:lnTo>
                      <a:pt x="186" y="210"/>
                    </a:lnTo>
                    <a:lnTo>
                      <a:pt x="186" y="216"/>
                    </a:lnTo>
                    <a:lnTo>
                      <a:pt x="186" y="222"/>
                    </a:lnTo>
                    <a:lnTo>
                      <a:pt x="192" y="222"/>
                    </a:lnTo>
                    <a:lnTo>
                      <a:pt x="192" y="228"/>
                    </a:lnTo>
                    <a:lnTo>
                      <a:pt x="198" y="228"/>
                    </a:lnTo>
                    <a:lnTo>
                      <a:pt x="198" y="234"/>
                    </a:lnTo>
                    <a:lnTo>
                      <a:pt x="198" y="240"/>
                    </a:lnTo>
                    <a:lnTo>
                      <a:pt x="204" y="240"/>
                    </a:lnTo>
                    <a:lnTo>
                      <a:pt x="210" y="240"/>
                    </a:lnTo>
                    <a:lnTo>
                      <a:pt x="210" y="246"/>
                    </a:lnTo>
                    <a:lnTo>
                      <a:pt x="216" y="246"/>
                    </a:lnTo>
                    <a:lnTo>
                      <a:pt x="216" y="252"/>
                    </a:lnTo>
                    <a:lnTo>
                      <a:pt x="216" y="258"/>
                    </a:lnTo>
                    <a:lnTo>
                      <a:pt x="210" y="264"/>
                    </a:lnTo>
                    <a:lnTo>
                      <a:pt x="210" y="270"/>
                    </a:lnTo>
                    <a:lnTo>
                      <a:pt x="204" y="270"/>
                    </a:lnTo>
                    <a:lnTo>
                      <a:pt x="198" y="270"/>
                    </a:lnTo>
                    <a:lnTo>
                      <a:pt x="180" y="270"/>
                    </a:lnTo>
                    <a:lnTo>
                      <a:pt x="174" y="270"/>
                    </a:lnTo>
                    <a:lnTo>
                      <a:pt x="168" y="270"/>
                    </a:lnTo>
                    <a:lnTo>
                      <a:pt x="162" y="270"/>
                    </a:lnTo>
                    <a:lnTo>
                      <a:pt x="162" y="276"/>
                    </a:lnTo>
                    <a:lnTo>
                      <a:pt x="156" y="276"/>
                    </a:lnTo>
                    <a:lnTo>
                      <a:pt x="156" y="282"/>
                    </a:lnTo>
                    <a:lnTo>
                      <a:pt x="150" y="282"/>
                    </a:lnTo>
                    <a:lnTo>
                      <a:pt x="144" y="282"/>
                    </a:lnTo>
                    <a:lnTo>
                      <a:pt x="138" y="282"/>
                    </a:lnTo>
                    <a:lnTo>
                      <a:pt x="138" y="288"/>
                    </a:lnTo>
                    <a:lnTo>
                      <a:pt x="132" y="288"/>
                    </a:lnTo>
                    <a:lnTo>
                      <a:pt x="126" y="288"/>
                    </a:lnTo>
                    <a:lnTo>
                      <a:pt x="126" y="294"/>
                    </a:lnTo>
                    <a:lnTo>
                      <a:pt x="120" y="294"/>
                    </a:lnTo>
                    <a:lnTo>
                      <a:pt x="114" y="294"/>
                    </a:lnTo>
                    <a:lnTo>
                      <a:pt x="114" y="300"/>
                    </a:lnTo>
                    <a:lnTo>
                      <a:pt x="114" y="294"/>
                    </a:lnTo>
                    <a:lnTo>
                      <a:pt x="108" y="294"/>
                    </a:lnTo>
                    <a:lnTo>
                      <a:pt x="108" y="300"/>
                    </a:lnTo>
                    <a:lnTo>
                      <a:pt x="102" y="300"/>
                    </a:lnTo>
                    <a:lnTo>
                      <a:pt x="96" y="300"/>
                    </a:lnTo>
                    <a:lnTo>
                      <a:pt x="90" y="306"/>
                    </a:lnTo>
                    <a:lnTo>
                      <a:pt x="84" y="306"/>
                    </a:lnTo>
                    <a:lnTo>
                      <a:pt x="78" y="306"/>
                    </a:lnTo>
                    <a:lnTo>
                      <a:pt x="78" y="312"/>
                    </a:lnTo>
                    <a:lnTo>
                      <a:pt x="72" y="312"/>
                    </a:lnTo>
                    <a:lnTo>
                      <a:pt x="66" y="312"/>
                    </a:lnTo>
                    <a:lnTo>
                      <a:pt x="66" y="318"/>
                    </a:lnTo>
                    <a:lnTo>
                      <a:pt x="60" y="318"/>
                    </a:lnTo>
                    <a:lnTo>
                      <a:pt x="54" y="318"/>
                    </a:lnTo>
                    <a:lnTo>
                      <a:pt x="48" y="318"/>
                    </a:lnTo>
                    <a:lnTo>
                      <a:pt x="48" y="312"/>
                    </a:lnTo>
                    <a:lnTo>
                      <a:pt x="42" y="312"/>
                    </a:lnTo>
                    <a:lnTo>
                      <a:pt x="36" y="306"/>
                    </a:lnTo>
                    <a:lnTo>
                      <a:pt x="30" y="306"/>
                    </a:lnTo>
                    <a:lnTo>
                      <a:pt x="24" y="306"/>
                    </a:lnTo>
                    <a:lnTo>
                      <a:pt x="12" y="306"/>
                    </a:lnTo>
                    <a:lnTo>
                      <a:pt x="6" y="300"/>
                    </a:lnTo>
                    <a:lnTo>
                      <a:pt x="12" y="300"/>
                    </a:lnTo>
                    <a:lnTo>
                      <a:pt x="12" y="306"/>
                    </a:lnTo>
                    <a:lnTo>
                      <a:pt x="12" y="300"/>
                    </a:lnTo>
                    <a:lnTo>
                      <a:pt x="18" y="300"/>
                    </a:lnTo>
                    <a:lnTo>
                      <a:pt x="24" y="300"/>
                    </a:lnTo>
                    <a:lnTo>
                      <a:pt x="24" y="294"/>
                    </a:lnTo>
                    <a:lnTo>
                      <a:pt x="24" y="288"/>
                    </a:lnTo>
                    <a:lnTo>
                      <a:pt x="24" y="282"/>
                    </a:lnTo>
                    <a:lnTo>
                      <a:pt x="24" y="276"/>
                    </a:lnTo>
                    <a:lnTo>
                      <a:pt x="18" y="276"/>
                    </a:lnTo>
                    <a:lnTo>
                      <a:pt x="12" y="276"/>
                    </a:lnTo>
                    <a:lnTo>
                      <a:pt x="12" y="270"/>
                    </a:lnTo>
                    <a:lnTo>
                      <a:pt x="12" y="264"/>
                    </a:lnTo>
                    <a:lnTo>
                      <a:pt x="6" y="258"/>
                    </a:lnTo>
                    <a:lnTo>
                      <a:pt x="6" y="252"/>
                    </a:lnTo>
                    <a:lnTo>
                      <a:pt x="6" y="246"/>
                    </a:lnTo>
                    <a:lnTo>
                      <a:pt x="0" y="246"/>
                    </a:lnTo>
                    <a:lnTo>
                      <a:pt x="0" y="240"/>
                    </a:lnTo>
                    <a:lnTo>
                      <a:pt x="0" y="228"/>
                    </a:lnTo>
                    <a:lnTo>
                      <a:pt x="0" y="222"/>
                    </a:lnTo>
                    <a:lnTo>
                      <a:pt x="0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12" y="204"/>
                    </a:lnTo>
                    <a:lnTo>
                      <a:pt x="12" y="198"/>
                    </a:lnTo>
                    <a:lnTo>
                      <a:pt x="12" y="192"/>
                    </a:lnTo>
                    <a:lnTo>
                      <a:pt x="12" y="186"/>
                    </a:lnTo>
                    <a:lnTo>
                      <a:pt x="12" y="180"/>
                    </a:lnTo>
                    <a:lnTo>
                      <a:pt x="18" y="174"/>
                    </a:lnTo>
                    <a:lnTo>
                      <a:pt x="18" y="168"/>
                    </a:lnTo>
                    <a:lnTo>
                      <a:pt x="24" y="162"/>
                    </a:lnTo>
                    <a:lnTo>
                      <a:pt x="24" y="156"/>
                    </a:lnTo>
                    <a:lnTo>
                      <a:pt x="30" y="156"/>
                    </a:lnTo>
                    <a:lnTo>
                      <a:pt x="30" y="150"/>
                    </a:lnTo>
                    <a:lnTo>
                      <a:pt x="36" y="150"/>
                    </a:lnTo>
                    <a:lnTo>
                      <a:pt x="36" y="144"/>
                    </a:lnTo>
                    <a:lnTo>
                      <a:pt x="36" y="138"/>
                    </a:lnTo>
                    <a:lnTo>
                      <a:pt x="36" y="132"/>
                    </a:lnTo>
                    <a:lnTo>
                      <a:pt x="30" y="120"/>
                    </a:lnTo>
                    <a:lnTo>
                      <a:pt x="30" y="114"/>
                    </a:lnTo>
                    <a:lnTo>
                      <a:pt x="30" y="108"/>
                    </a:lnTo>
                    <a:lnTo>
                      <a:pt x="24" y="108"/>
                    </a:lnTo>
                    <a:lnTo>
                      <a:pt x="24" y="102"/>
                    </a:lnTo>
                    <a:lnTo>
                      <a:pt x="24" y="96"/>
                    </a:lnTo>
                    <a:lnTo>
                      <a:pt x="30" y="96"/>
                    </a:lnTo>
                    <a:lnTo>
                      <a:pt x="24" y="96"/>
                    </a:lnTo>
                    <a:lnTo>
                      <a:pt x="24" y="90"/>
                    </a:lnTo>
                    <a:lnTo>
                      <a:pt x="24" y="84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5" name="Freeform 111"/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863" y="2017"/>
                <a:ext cx="246" cy="251"/>
              </a:xfrm>
              <a:custGeom>
                <a:avLst/>
                <a:gdLst>
                  <a:gd name="T0" fmla="*/ 12 w 306"/>
                  <a:gd name="T1" fmla="*/ 63 h 312"/>
                  <a:gd name="T2" fmla="*/ 12 w 306"/>
                  <a:gd name="T3" fmla="*/ 55 h 312"/>
                  <a:gd name="T4" fmla="*/ 10 w 306"/>
                  <a:gd name="T5" fmla="*/ 51 h 312"/>
                  <a:gd name="T6" fmla="*/ 7 w 306"/>
                  <a:gd name="T7" fmla="*/ 48 h 312"/>
                  <a:gd name="T8" fmla="*/ 14 w 306"/>
                  <a:gd name="T9" fmla="*/ 45 h 312"/>
                  <a:gd name="T10" fmla="*/ 18 w 306"/>
                  <a:gd name="T11" fmla="*/ 45 h 312"/>
                  <a:gd name="T12" fmla="*/ 18 w 306"/>
                  <a:gd name="T13" fmla="*/ 40 h 312"/>
                  <a:gd name="T14" fmla="*/ 18 w 306"/>
                  <a:gd name="T15" fmla="*/ 33 h 312"/>
                  <a:gd name="T16" fmla="*/ 14 w 306"/>
                  <a:gd name="T17" fmla="*/ 28 h 312"/>
                  <a:gd name="T18" fmla="*/ 12 w 306"/>
                  <a:gd name="T19" fmla="*/ 28 h 312"/>
                  <a:gd name="T20" fmla="*/ 10 w 306"/>
                  <a:gd name="T21" fmla="*/ 18 h 312"/>
                  <a:gd name="T22" fmla="*/ 12 w 306"/>
                  <a:gd name="T23" fmla="*/ 18 h 312"/>
                  <a:gd name="T24" fmla="*/ 12 w 306"/>
                  <a:gd name="T25" fmla="*/ 12 h 312"/>
                  <a:gd name="T26" fmla="*/ 20 w 306"/>
                  <a:gd name="T27" fmla="*/ 5 h 312"/>
                  <a:gd name="T28" fmla="*/ 28 w 306"/>
                  <a:gd name="T29" fmla="*/ 10 h 312"/>
                  <a:gd name="T30" fmla="*/ 35 w 306"/>
                  <a:gd name="T31" fmla="*/ 10 h 312"/>
                  <a:gd name="T32" fmla="*/ 40 w 306"/>
                  <a:gd name="T33" fmla="*/ 5 h 312"/>
                  <a:gd name="T34" fmla="*/ 45 w 306"/>
                  <a:gd name="T35" fmla="*/ 2 h 312"/>
                  <a:gd name="T36" fmla="*/ 50 w 306"/>
                  <a:gd name="T37" fmla="*/ 0 h 312"/>
                  <a:gd name="T38" fmla="*/ 52 w 306"/>
                  <a:gd name="T39" fmla="*/ 5 h 312"/>
                  <a:gd name="T40" fmla="*/ 52 w 306"/>
                  <a:gd name="T41" fmla="*/ 7 h 312"/>
                  <a:gd name="T42" fmla="*/ 55 w 306"/>
                  <a:gd name="T43" fmla="*/ 7 h 312"/>
                  <a:gd name="T44" fmla="*/ 64 w 306"/>
                  <a:gd name="T45" fmla="*/ 5 h 312"/>
                  <a:gd name="T46" fmla="*/ 73 w 306"/>
                  <a:gd name="T47" fmla="*/ 10 h 312"/>
                  <a:gd name="T48" fmla="*/ 76 w 306"/>
                  <a:gd name="T49" fmla="*/ 15 h 312"/>
                  <a:gd name="T50" fmla="*/ 78 w 306"/>
                  <a:gd name="T51" fmla="*/ 18 h 312"/>
                  <a:gd name="T52" fmla="*/ 85 w 306"/>
                  <a:gd name="T53" fmla="*/ 23 h 312"/>
                  <a:gd name="T54" fmla="*/ 92 w 306"/>
                  <a:gd name="T55" fmla="*/ 18 h 312"/>
                  <a:gd name="T56" fmla="*/ 103 w 306"/>
                  <a:gd name="T57" fmla="*/ 15 h 312"/>
                  <a:gd name="T58" fmla="*/ 113 w 306"/>
                  <a:gd name="T59" fmla="*/ 18 h 312"/>
                  <a:gd name="T60" fmla="*/ 117 w 306"/>
                  <a:gd name="T61" fmla="*/ 20 h 312"/>
                  <a:gd name="T62" fmla="*/ 123 w 306"/>
                  <a:gd name="T63" fmla="*/ 25 h 312"/>
                  <a:gd name="T64" fmla="*/ 123 w 306"/>
                  <a:gd name="T65" fmla="*/ 33 h 312"/>
                  <a:gd name="T66" fmla="*/ 128 w 306"/>
                  <a:gd name="T67" fmla="*/ 45 h 312"/>
                  <a:gd name="T68" fmla="*/ 125 w 306"/>
                  <a:gd name="T69" fmla="*/ 55 h 312"/>
                  <a:gd name="T70" fmla="*/ 117 w 306"/>
                  <a:gd name="T71" fmla="*/ 65 h 312"/>
                  <a:gd name="T72" fmla="*/ 115 w 306"/>
                  <a:gd name="T73" fmla="*/ 76 h 312"/>
                  <a:gd name="T74" fmla="*/ 113 w 306"/>
                  <a:gd name="T75" fmla="*/ 91 h 312"/>
                  <a:gd name="T76" fmla="*/ 117 w 306"/>
                  <a:gd name="T77" fmla="*/ 101 h 312"/>
                  <a:gd name="T78" fmla="*/ 123 w 306"/>
                  <a:gd name="T79" fmla="*/ 108 h 312"/>
                  <a:gd name="T80" fmla="*/ 117 w 306"/>
                  <a:gd name="T81" fmla="*/ 116 h 312"/>
                  <a:gd name="T82" fmla="*/ 110 w 306"/>
                  <a:gd name="T83" fmla="*/ 116 h 312"/>
                  <a:gd name="T84" fmla="*/ 91 w 306"/>
                  <a:gd name="T85" fmla="*/ 113 h 312"/>
                  <a:gd name="T86" fmla="*/ 64 w 306"/>
                  <a:gd name="T87" fmla="*/ 116 h 312"/>
                  <a:gd name="T88" fmla="*/ 52 w 306"/>
                  <a:gd name="T89" fmla="*/ 118 h 312"/>
                  <a:gd name="T90" fmla="*/ 47 w 306"/>
                  <a:gd name="T91" fmla="*/ 121 h 312"/>
                  <a:gd name="T92" fmla="*/ 35 w 306"/>
                  <a:gd name="T93" fmla="*/ 126 h 312"/>
                  <a:gd name="T94" fmla="*/ 28 w 306"/>
                  <a:gd name="T95" fmla="*/ 131 h 312"/>
                  <a:gd name="T96" fmla="*/ 23 w 306"/>
                  <a:gd name="T97" fmla="*/ 124 h 312"/>
                  <a:gd name="T98" fmla="*/ 25 w 306"/>
                  <a:gd name="T99" fmla="*/ 113 h 312"/>
                  <a:gd name="T100" fmla="*/ 28 w 306"/>
                  <a:gd name="T101" fmla="*/ 108 h 312"/>
                  <a:gd name="T102" fmla="*/ 25 w 306"/>
                  <a:gd name="T103" fmla="*/ 103 h 312"/>
                  <a:gd name="T104" fmla="*/ 20 w 306"/>
                  <a:gd name="T105" fmla="*/ 101 h 312"/>
                  <a:gd name="T106" fmla="*/ 14 w 306"/>
                  <a:gd name="T107" fmla="*/ 93 h 312"/>
                  <a:gd name="T108" fmla="*/ 14 w 306"/>
                  <a:gd name="T109" fmla="*/ 91 h 312"/>
                  <a:gd name="T110" fmla="*/ 5 w 306"/>
                  <a:gd name="T111" fmla="*/ 91 h 312"/>
                  <a:gd name="T112" fmla="*/ 2 w 306"/>
                  <a:gd name="T113" fmla="*/ 85 h 312"/>
                  <a:gd name="T114" fmla="*/ 7 w 306"/>
                  <a:gd name="T115" fmla="*/ 78 h 312"/>
                  <a:gd name="T116" fmla="*/ 5 w 306"/>
                  <a:gd name="T117" fmla="*/ 68 h 31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06" h="312">
                    <a:moveTo>
                      <a:pt x="12" y="156"/>
                    </a:moveTo>
                    <a:lnTo>
                      <a:pt x="18" y="156"/>
                    </a:lnTo>
                    <a:lnTo>
                      <a:pt x="24" y="156"/>
                    </a:lnTo>
                    <a:lnTo>
                      <a:pt x="24" y="150"/>
                    </a:lnTo>
                    <a:lnTo>
                      <a:pt x="30" y="150"/>
                    </a:lnTo>
                    <a:lnTo>
                      <a:pt x="30" y="144"/>
                    </a:lnTo>
                    <a:lnTo>
                      <a:pt x="24" y="144"/>
                    </a:lnTo>
                    <a:lnTo>
                      <a:pt x="24" y="138"/>
                    </a:lnTo>
                    <a:lnTo>
                      <a:pt x="30" y="138"/>
                    </a:lnTo>
                    <a:lnTo>
                      <a:pt x="30" y="132"/>
                    </a:lnTo>
                    <a:lnTo>
                      <a:pt x="36" y="132"/>
                    </a:lnTo>
                    <a:lnTo>
                      <a:pt x="30" y="132"/>
                    </a:lnTo>
                    <a:lnTo>
                      <a:pt x="30" y="126"/>
                    </a:lnTo>
                    <a:lnTo>
                      <a:pt x="24" y="126"/>
                    </a:lnTo>
                    <a:lnTo>
                      <a:pt x="24" y="120"/>
                    </a:lnTo>
                    <a:lnTo>
                      <a:pt x="18" y="120"/>
                    </a:lnTo>
                    <a:lnTo>
                      <a:pt x="24" y="120"/>
                    </a:lnTo>
                    <a:lnTo>
                      <a:pt x="18" y="120"/>
                    </a:lnTo>
                    <a:lnTo>
                      <a:pt x="24" y="114"/>
                    </a:lnTo>
                    <a:lnTo>
                      <a:pt x="18" y="114"/>
                    </a:lnTo>
                    <a:lnTo>
                      <a:pt x="18" y="108"/>
                    </a:lnTo>
                    <a:lnTo>
                      <a:pt x="24" y="114"/>
                    </a:lnTo>
                    <a:lnTo>
                      <a:pt x="24" y="108"/>
                    </a:lnTo>
                    <a:lnTo>
                      <a:pt x="30" y="108"/>
                    </a:lnTo>
                    <a:lnTo>
                      <a:pt x="36" y="108"/>
                    </a:lnTo>
                    <a:lnTo>
                      <a:pt x="36" y="114"/>
                    </a:lnTo>
                    <a:lnTo>
                      <a:pt x="36" y="108"/>
                    </a:lnTo>
                    <a:lnTo>
                      <a:pt x="36" y="114"/>
                    </a:lnTo>
                    <a:lnTo>
                      <a:pt x="42" y="114"/>
                    </a:lnTo>
                    <a:lnTo>
                      <a:pt x="42" y="108"/>
                    </a:lnTo>
                    <a:lnTo>
                      <a:pt x="42" y="114"/>
                    </a:lnTo>
                    <a:lnTo>
                      <a:pt x="48" y="114"/>
                    </a:lnTo>
                    <a:lnTo>
                      <a:pt x="48" y="108"/>
                    </a:lnTo>
                    <a:lnTo>
                      <a:pt x="48" y="102"/>
                    </a:lnTo>
                    <a:lnTo>
                      <a:pt x="42" y="96"/>
                    </a:lnTo>
                    <a:lnTo>
                      <a:pt x="36" y="96"/>
                    </a:lnTo>
                    <a:lnTo>
                      <a:pt x="36" y="90"/>
                    </a:lnTo>
                    <a:lnTo>
                      <a:pt x="36" y="84"/>
                    </a:lnTo>
                    <a:lnTo>
                      <a:pt x="42" y="84"/>
                    </a:lnTo>
                    <a:lnTo>
                      <a:pt x="42" y="78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36" y="78"/>
                    </a:lnTo>
                    <a:lnTo>
                      <a:pt x="36" y="72"/>
                    </a:lnTo>
                    <a:lnTo>
                      <a:pt x="36" y="66"/>
                    </a:lnTo>
                    <a:lnTo>
                      <a:pt x="42" y="66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6" y="66"/>
                    </a:lnTo>
                    <a:lnTo>
                      <a:pt x="30" y="66"/>
                    </a:lnTo>
                    <a:lnTo>
                      <a:pt x="30" y="60"/>
                    </a:lnTo>
                    <a:lnTo>
                      <a:pt x="24" y="60"/>
                    </a:lnTo>
                    <a:lnTo>
                      <a:pt x="24" y="54"/>
                    </a:lnTo>
                    <a:lnTo>
                      <a:pt x="24" y="48"/>
                    </a:lnTo>
                    <a:lnTo>
                      <a:pt x="24" y="42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36"/>
                    </a:lnTo>
                    <a:lnTo>
                      <a:pt x="30" y="30"/>
                    </a:lnTo>
                    <a:lnTo>
                      <a:pt x="36" y="24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48" y="18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60" y="12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66" y="18"/>
                    </a:lnTo>
                    <a:lnTo>
                      <a:pt x="66" y="24"/>
                    </a:lnTo>
                    <a:lnTo>
                      <a:pt x="72" y="24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84" y="18"/>
                    </a:lnTo>
                    <a:lnTo>
                      <a:pt x="90" y="18"/>
                    </a:lnTo>
                    <a:lnTo>
                      <a:pt x="96" y="18"/>
                    </a:lnTo>
                    <a:lnTo>
                      <a:pt x="102" y="12"/>
                    </a:lnTo>
                    <a:lnTo>
                      <a:pt x="96" y="12"/>
                    </a:lnTo>
                    <a:lnTo>
                      <a:pt x="96" y="6"/>
                    </a:lnTo>
                    <a:lnTo>
                      <a:pt x="102" y="6"/>
                    </a:lnTo>
                    <a:lnTo>
                      <a:pt x="102" y="0"/>
                    </a:lnTo>
                    <a:lnTo>
                      <a:pt x="102" y="6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08" y="6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6"/>
                    </a:lnTo>
                    <a:lnTo>
                      <a:pt x="120" y="12"/>
                    </a:lnTo>
                    <a:lnTo>
                      <a:pt x="120" y="6"/>
                    </a:lnTo>
                    <a:lnTo>
                      <a:pt x="120" y="12"/>
                    </a:lnTo>
                    <a:lnTo>
                      <a:pt x="126" y="12"/>
                    </a:lnTo>
                    <a:lnTo>
                      <a:pt x="120" y="12"/>
                    </a:lnTo>
                    <a:lnTo>
                      <a:pt x="126" y="12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26" y="18"/>
                    </a:lnTo>
                    <a:lnTo>
                      <a:pt x="120" y="18"/>
                    </a:lnTo>
                    <a:lnTo>
                      <a:pt x="120" y="24"/>
                    </a:lnTo>
                    <a:lnTo>
                      <a:pt x="126" y="24"/>
                    </a:lnTo>
                    <a:lnTo>
                      <a:pt x="132" y="24"/>
                    </a:lnTo>
                    <a:lnTo>
                      <a:pt x="132" y="18"/>
                    </a:lnTo>
                    <a:lnTo>
                      <a:pt x="138" y="18"/>
                    </a:lnTo>
                    <a:lnTo>
                      <a:pt x="138" y="12"/>
                    </a:lnTo>
                    <a:lnTo>
                      <a:pt x="144" y="12"/>
                    </a:lnTo>
                    <a:lnTo>
                      <a:pt x="150" y="12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62" y="18"/>
                    </a:lnTo>
                    <a:lnTo>
                      <a:pt x="168" y="18"/>
                    </a:lnTo>
                    <a:lnTo>
                      <a:pt x="174" y="18"/>
                    </a:lnTo>
                    <a:lnTo>
                      <a:pt x="174" y="24"/>
                    </a:lnTo>
                    <a:lnTo>
                      <a:pt x="180" y="24"/>
                    </a:lnTo>
                    <a:lnTo>
                      <a:pt x="174" y="24"/>
                    </a:lnTo>
                    <a:lnTo>
                      <a:pt x="180" y="24"/>
                    </a:lnTo>
                    <a:lnTo>
                      <a:pt x="180" y="30"/>
                    </a:lnTo>
                    <a:lnTo>
                      <a:pt x="180" y="36"/>
                    </a:lnTo>
                    <a:lnTo>
                      <a:pt x="186" y="36"/>
                    </a:lnTo>
                    <a:lnTo>
                      <a:pt x="180" y="36"/>
                    </a:lnTo>
                    <a:lnTo>
                      <a:pt x="186" y="36"/>
                    </a:lnTo>
                    <a:lnTo>
                      <a:pt x="180" y="42"/>
                    </a:lnTo>
                    <a:lnTo>
                      <a:pt x="186" y="42"/>
                    </a:lnTo>
                    <a:lnTo>
                      <a:pt x="192" y="42"/>
                    </a:lnTo>
                    <a:lnTo>
                      <a:pt x="192" y="48"/>
                    </a:lnTo>
                    <a:lnTo>
                      <a:pt x="198" y="48"/>
                    </a:lnTo>
                    <a:lnTo>
                      <a:pt x="204" y="48"/>
                    </a:lnTo>
                    <a:lnTo>
                      <a:pt x="204" y="54"/>
                    </a:lnTo>
                    <a:lnTo>
                      <a:pt x="210" y="54"/>
                    </a:lnTo>
                    <a:lnTo>
                      <a:pt x="216" y="54"/>
                    </a:lnTo>
                    <a:lnTo>
                      <a:pt x="216" y="48"/>
                    </a:lnTo>
                    <a:lnTo>
                      <a:pt x="222" y="48"/>
                    </a:lnTo>
                    <a:lnTo>
                      <a:pt x="222" y="42"/>
                    </a:lnTo>
                    <a:lnTo>
                      <a:pt x="228" y="42"/>
                    </a:lnTo>
                    <a:lnTo>
                      <a:pt x="234" y="42"/>
                    </a:lnTo>
                    <a:lnTo>
                      <a:pt x="240" y="42"/>
                    </a:lnTo>
                    <a:lnTo>
                      <a:pt x="240" y="36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8" y="36"/>
                    </a:lnTo>
                    <a:lnTo>
                      <a:pt x="264" y="36"/>
                    </a:lnTo>
                    <a:lnTo>
                      <a:pt x="264" y="42"/>
                    </a:lnTo>
                    <a:lnTo>
                      <a:pt x="270" y="42"/>
                    </a:lnTo>
                    <a:lnTo>
                      <a:pt x="270" y="36"/>
                    </a:lnTo>
                    <a:lnTo>
                      <a:pt x="270" y="42"/>
                    </a:lnTo>
                    <a:lnTo>
                      <a:pt x="276" y="42"/>
                    </a:lnTo>
                    <a:lnTo>
                      <a:pt x="276" y="48"/>
                    </a:lnTo>
                    <a:lnTo>
                      <a:pt x="282" y="48"/>
                    </a:lnTo>
                    <a:lnTo>
                      <a:pt x="282" y="54"/>
                    </a:lnTo>
                    <a:lnTo>
                      <a:pt x="288" y="60"/>
                    </a:lnTo>
                    <a:lnTo>
                      <a:pt x="288" y="66"/>
                    </a:lnTo>
                    <a:lnTo>
                      <a:pt x="294" y="66"/>
                    </a:lnTo>
                    <a:lnTo>
                      <a:pt x="294" y="60"/>
                    </a:lnTo>
                    <a:lnTo>
                      <a:pt x="294" y="66"/>
                    </a:lnTo>
                    <a:lnTo>
                      <a:pt x="294" y="72"/>
                    </a:lnTo>
                    <a:lnTo>
                      <a:pt x="300" y="72"/>
                    </a:lnTo>
                    <a:lnTo>
                      <a:pt x="294" y="72"/>
                    </a:lnTo>
                    <a:lnTo>
                      <a:pt x="294" y="78"/>
                    </a:lnTo>
                    <a:lnTo>
                      <a:pt x="294" y="84"/>
                    </a:lnTo>
                    <a:lnTo>
                      <a:pt x="300" y="84"/>
                    </a:lnTo>
                    <a:lnTo>
                      <a:pt x="300" y="90"/>
                    </a:lnTo>
                    <a:lnTo>
                      <a:pt x="300" y="96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06" y="120"/>
                    </a:lnTo>
                    <a:lnTo>
                      <a:pt x="306" y="126"/>
                    </a:lnTo>
                    <a:lnTo>
                      <a:pt x="300" y="126"/>
                    </a:lnTo>
                    <a:lnTo>
                      <a:pt x="300" y="132"/>
                    </a:lnTo>
                    <a:lnTo>
                      <a:pt x="294" y="132"/>
                    </a:lnTo>
                    <a:lnTo>
                      <a:pt x="294" y="138"/>
                    </a:lnTo>
                    <a:lnTo>
                      <a:pt x="288" y="144"/>
                    </a:lnTo>
                    <a:lnTo>
                      <a:pt x="288" y="150"/>
                    </a:lnTo>
                    <a:lnTo>
                      <a:pt x="282" y="156"/>
                    </a:lnTo>
                    <a:lnTo>
                      <a:pt x="282" y="162"/>
                    </a:lnTo>
                    <a:lnTo>
                      <a:pt x="282" y="168"/>
                    </a:lnTo>
                    <a:lnTo>
                      <a:pt x="282" y="174"/>
                    </a:lnTo>
                    <a:lnTo>
                      <a:pt x="282" y="180"/>
                    </a:lnTo>
                    <a:lnTo>
                      <a:pt x="276" y="180"/>
                    </a:lnTo>
                    <a:lnTo>
                      <a:pt x="276" y="186"/>
                    </a:lnTo>
                    <a:lnTo>
                      <a:pt x="270" y="192"/>
                    </a:lnTo>
                    <a:lnTo>
                      <a:pt x="270" y="198"/>
                    </a:lnTo>
                    <a:lnTo>
                      <a:pt x="270" y="204"/>
                    </a:lnTo>
                    <a:lnTo>
                      <a:pt x="270" y="216"/>
                    </a:lnTo>
                    <a:lnTo>
                      <a:pt x="270" y="222"/>
                    </a:lnTo>
                    <a:lnTo>
                      <a:pt x="276" y="222"/>
                    </a:lnTo>
                    <a:lnTo>
                      <a:pt x="276" y="228"/>
                    </a:lnTo>
                    <a:lnTo>
                      <a:pt x="276" y="234"/>
                    </a:lnTo>
                    <a:lnTo>
                      <a:pt x="282" y="240"/>
                    </a:lnTo>
                    <a:lnTo>
                      <a:pt x="282" y="246"/>
                    </a:lnTo>
                    <a:lnTo>
                      <a:pt x="282" y="252"/>
                    </a:lnTo>
                    <a:lnTo>
                      <a:pt x="288" y="252"/>
                    </a:lnTo>
                    <a:lnTo>
                      <a:pt x="294" y="252"/>
                    </a:lnTo>
                    <a:lnTo>
                      <a:pt x="294" y="258"/>
                    </a:lnTo>
                    <a:lnTo>
                      <a:pt x="294" y="264"/>
                    </a:lnTo>
                    <a:lnTo>
                      <a:pt x="294" y="270"/>
                    </a:lnTo>
                    <a:lnTo>
                      <a:pt x="294" y="276"/>
                    </a:lnTo>
                    <a:lnTo>
                      <a:pt x="288" y="276"/>
                    </a:lnTo>
                    <a:lnTo>
                      <a:pt x="282" y="276"/>
                    </a:lnTo>
                    <a:lnTo>
                      <a:pt x="282" y="282"/>
                    </a:lnTo>
                    <a:lnTo>
                      <a:pt x="282" y="276"/>
                    </a:lnTo>
                    <a:lnTo>
                      <a:pt x="276" y="276"/>
                    </a:lnTo>
                    <a:lnTo>
                      <a:pt x="270" y="276"/>
                    </a:lnTo>
                    <a:lnTo>
                      <a:pt x="264" y="276"/>
                    </a:lnTo>
                    <a:lnTo>
                      <a:pt x="240" y="276"/>
                    </a:lnTo>
                    <a:lnTo>
                      <a:pt x="234" y="270"/>
                    </a:lnTo>
                    <a:lnTo>
                      <a:pt x="228" y="270"/>
                    </a:lnTo>
                    <a:lnTo>
                      <a:pt x="222" y="270"/>
                    </a:lnTo>
                    <a:lnTo>
                      <a:pt x="216" y="270"/>
                    </a:lnTo>
                    <a:lnTo>
                      <a:pt x="198" y="276"/>
                    </a:lnTo>
                    <a:lnTo>
                      <a:pt x="192" y="276"/>
                    </a:lnTo>
                    <a:lnTo>
                      <a:pt x="180" y="276"/>
                    </a:lnTo>
                    <a:lnTo>
                      <a:pt x="168" y="276"/>
                    </a:lnTo>
                    <a:lnTo>
                      <a:pt x="156" y="276"/>
                    </a:lnTo>
                    <a:lnTo>
                      <a:pt x="150" y="282"/>
                    </a:lnTo>
                    <a:lnTo>
                      <a:pt x="144" y="282"/>
                    </a:lnTo>
                    <a:lnTo>
                      <a:pt x="138" y="282"/>
                    </a:lnTo>
                    <a:lnTo>
                      <a:pt x="132" y="282"/>
                    </a:lnTo>
                    <a:lnTo>
                      <a:pt x="126" y="282"/>
                    </a:lnTo>
                    <a:lnTo>
                      <a:pt x="126" y="288"/>
                    </a:lnTo>
                    <a:lnTo>
                      <a:pt x="120" y="288"/>
                    </a:lnTo>
                    <a:lnTo>
                      <a:pt x="126" y="288"/>
                    </a:lnTo>
                    <a:lnTo>
                      <a:pt x="120" y="288"/>
                    </a:lnTo>
                    <a:lnTo>
                      <a:pt x="114" y="288"/>
                    </a:lnTo>
                    <a:lnTo>
                      <a:pt x="114" y="294"/>
                    </a:lnTo>
                    <a:lnTo>
                      <a:pt x="108" y="294"/>
                    </a:lnTo>
                    <a:lnTo>
                      <a:pt x="102" y="294"/>
                    </a:lnTo>
                    <a:lnTo>
                      <a:pt x="96" y="300"/>
                    </a:lnTo>
                    <a:lnTo>
                      <a:pt x="84" y="300"/>
                    </a:lnTo>
                    <a:lnTo>
                      <a:pt x="84" y="306"/>
                    </a:lnTo>
                    <a:lnTo>
                      <a:pt x="78" y="306"/>
                    </a:lnTo>
                    <a:lnTo>
                      <a:pt x="72" y="306"/>
                    </a:lnTo>
                    <a:lnTo>
                      <a:pt x="72" y="312"/>
                    </a:lnTo>
                    <a:lnTo>
                      <a:pt x="66" y="312"/>
                    </a:lnTo>
                    <a:lnTo>
                      <a:pt x="60" y="312"/>
                    </a:lnTo>
                    <a:lnTo>
                      <a:pt x="54" y="312"/>
                    </a:lnTo>
                    <a:lnTo>
                      <a:pt x="54" y="306"/>
                    </a:lnTo>
                    <a:lnTo>
                      <a:pt x="54" y="300"/>
                    </a:lnTo>
                    <a:lnTo>
                      <a:pt x="54" y="294"/>
                    </a:lnTo>
                    <a:lnTo>
                      <a:pt x="54" y="288"/>
                    </a:lnTo>
                    <a:lnTo>
                      <a:pt x="54" y="282"/>
                    </a:lnTo>
                    <a:lnTo>
                      <a:pt x="54" y="276"/>
                    </a:lnTo>
                    <a:lnTo>
                      <a:pt x="60" y="276"/>
                    </a:lnTo>
                    <a:lnTo>
                      <a:pt x="60" y="270"/>
                    </a:lnTo>
                    <a:lnTo>
                      <a:pt x="66" y="270"/>
                    </a:lnTo>
                    <a:lnTo>
                      <a:pt x="66" y="264"/>
                    </a:lnTo>
                    <a:lnTo>
                      <a:pt x="60" y="264"/>
                    </a:lnTo>
                    <a:lnTo>
                      <a:pt x="60" y="258"/>
                    </a:lnTo>
                    <a:lnTo>
                      <a:pt x="66" y="258"/>
                    </a:lnTo>
                    <a:lnTo>
                      <a:pt x="60" y="258"/>
                    </a:lnTo>
                    <a:lnTo>
                      <a:pt x="60" y="252"/>
                    </a:lnTo>
                    <a:lnTo>
                      <a:pt x="66" y="252"/>
                    </a:lnTo>
                    <a:lnTo>
                      <a:pt x="60" y="252"/>
                    </a:lnTo>
                    <a:lnTo>
                      <a:pt x="60" y="246"/>
                    </a:lnTo>
                    <a:lnTo>
                      <a:pt x="60" y="240"/>
                    </a:lnTo>
                    <a:lnTo>
                      <a:pt x="54" y="240"/>
                    </a:lnTo>
                    <a:lnTo>
                      <a:pt x="48" y="240"/>
                    </a:lnTo>
                    <a:lnTo>
                      <a:pt x="48" y="234"/>
                    </a:lnTo>
                    <a:lnTo>
                      <a:pt x="48" y="240"/>
                    </a:lnTo>
                    <a:lnTo>
                      <a:pt x="48" y="234"/>
                    </a:lnTo>
                    <a:lnTo>
                      <a:pt x="42" y="234"/>
                    </a:lnTo>
                    <a:lnTo>
                      <a:pt x="42" y="228"/>
                    </a:lnTo>
                    <a:lnTo>
                      <a:pt x="42" y="222"/>
                    </a:lnTo>
                    <a:lnTo>
                      <a:pt x="36" y="222"/>
                    </a:lnTo>
                    <a:lnTo>
                      <a:pt x="36" y="216"/>
                    </a:lnTo>
                    <a:lnTo>
                      <a:pt x="36" y="222"/>
                    </a:lnTo>
                    <a:lnTo>
                      <a:pt x="36" y="216"/>
                    </a:lnTo>
                    <a:lnTo>
                      <a:pt x="36" y="222"/>
                    </a:lnTo>
                    <a:lnTo>
                      <a:pt x="36" y="216"/>
                    </a:lnTo>
                    <a:lnTo>
                      <a:pt x="30" y="216"/>
                    </a:lnTo>
                    <a:lnTo>
                      <a:pt x="24" y="222"/>
                    </a:lnTo>
                    <a:lnTo>
                      <a:pt x="24" y="216"/>
                    </a:lnTo>
                    <a:lnTo>
                      <a:pt x="18" y="216"/>
                    </a:lnTo>
                    <a:lnTo>
                      <a:pt x="12" y="216"/>
                    </a:lnTo>
                    <a:lnTo>
                      <a:pt x="12" y="210"/>
                    </a:lnTo>
                    <a:lnTo>
                      <a:pt x="6" y="210"/>
                    </a:lnTo>
                    <a:lnTo>
                      <a:pt x="0" y="210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12" y="204"/>
                    </a:lnTo>
                    <a:lnTo>
                      <a:pt x="12" y="198"/>
                    </a:lnTo>
                    <a:lnTo>
                      <a:pt x="18" y="198"/>
                    </a:lnTo>
                    <a:lnTo>
                      <a:pt x="18" y="192"/>
                    </a:lnTo>
                    <a:lnTo>
                      <a:pt x="18" y="186"/>
                    </a:lnTo>
                    <a:lnTo>
                      <a:pt x="18" y="180"/>
                    </a:lnTo>
                    <a:lnTo>
                      <a:pt x="18" y="174"/>
                    </a:lnTo>
                    <a:lnTo>
                      <a:pt x="12" y="174"/>
                    </a:lnTo>
                    <a:lnTo>
                      <a:pt x="12" y="168"/>
                    </a:lnTo>
                    <a:lnTo>
                      <a:pt x="12" y="162"/>
                    </a:lnTo>
                    <a:lnTo>
                      <a:pt x="12" y="156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6" name="Freeform 112"/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1752" y="2104"/>
                <a:ext cx="164" cy="169"/>
              </a:xfrm>
              <a:custGeom>
                <a:avLst/>
                <a:gdLst>
                  <a:gd name="T0" fmla="*/ 2 w 204"/>
                  <a:gd name="T1" fmla="*/ 28 h 210"/>
                  <a:gd name="T2" fmla="*/ 7 w 204"/>
                  <a:gd name="T3" fmla="*/ 23 h 210"/>
                  <a:gd name="T4" fmla="*/ 12 w 204"/>
                  <a:gd name="T5" fmla="*/ 20 h 210"/>
                  <a:gd name="T6" fmla="*/ 14 w 204"/>
                  <a:gd name="T7" fmla="*/ 15 h 210"/>
                  <a:gd name="T8" fmla="*/ 20 w 204"/>
                  <a:gd name="T9" fmla="*/ 7 h 210"/>
                  <a:gd name="T10" fmla="*/ 23 w 204"/>
                  <a:gd name="T11" fmla="*/ 2 h 210"/>
                  <a:gd name="T12" fmla="*/ 28 w 204"/>
                  <a:gd name="T13" fmla="*/ 0 h 210"/>
                  <a:gd name="T14" fmla="*/ 31 w 204"/>
                  <a:gd name="T15" fmla="*/ 0 h 210"/>
                  <a:gd name="T16" fmla="*/ 33 w 204"/>
                  <a:gd name="T17" fmla="*/ 0 h 210"/>
                  <a:gd name="T18" fmla="*/ 35 w 204"/>
                  <a:gd name="T19" fmla="*/ 0 h 210"/>
                  <a:gd name="T20" fmla="*/ 40 w 204"/>
                  <a:gd name="T21" fmla="*/ 2 h 210"/>
                  <a:gd name="T22" fmla="*/ 40 w 204"/>
                  <a:gd name="T23" fmla="*/ 10 h 210"/>
                  <a:gd name="T24" fmla="*/ 43 w 204"/>
                  <a:gd name="T25" fmla="*/ 15 h 210"/>
                  <a:gd name="T26" fmla="*/ 43 w 204"/>
                  <a:gd name="T27" fmla="*/ 23 h 210"/>
                  <a:gd name="T28" fmla="*/ 40 w 204"/>
                  <a:gd name="T29" fmla="*/ 23 h 210"/>
                  <a:gd name="T30" fmla="*/ 45 w 204"/>
                  <a:gd name="T31" fmla="*/ 25 h 210"/>
                  <a:gd name="T32" fmla="*/ 50 w 204"/>
                  <a:gd name="T33" fmla="*/ 28 h 210"/>
                  <a:gd name="T34" fmla="*/ 55 w 204"/>
                  <a:gd name="T35" fmla="*/ 25 h 210"/>
                  <a:gd name="T36" fmla="*/ 52 w 204"/>
                  <a:gd name="T37" fmla="*/ 25 h 210"/>
                  <a:gd name="T38" fmla="*/ 55 w 204"/>
                  <a:gd name="T39" fmla="*/ 20 h 210"/>
                  <a:gd name="T40" fmla="*/ 60 w 204"/>
                  <a:gd name="T41" fmla="*/ 20 h 210"/>
                  <a:gd name="T42" fmla="*/ 63 w 204"/>
                  <a:gd name="T43" fmla="*/ 25 h 210"/>
                  <a:gd name="T44" fmla="*/ 64 w 204"/>
                  <a:gd name="T45" fmla="*/ 31 h 210"/>
                  <a:gd name="T46" fmla="*/ 64 w 204"/>
                  <a:gd name="T47" fmla="*/ 38 h 210"/>
                  <a:gd name="T48" fmla="*/ 60 w 204"/>
                  <a:gd name="T49" fmla="*/ 40 h 210"/>
                  <a:gd name="T50" fmla="*/ 60 w 204"/>
                  <a:gd name="T51" fmla="*/ 43 h 210"/>
                  <a:gd name="T52" fmla="*/ 64 w 204"/>
                  <a:gd name="T53" fmla="*/ 45 h 210"/>
                  <a:gd name="T54" fmla="*/ 71 w 204"/>
                  <a:gd name="T55" fmla="*/ 45 h 210"/>
                  <a:gd name="T56" fmla="*/ 73 w 204"/>
                  <a:gd name="T57" fmla="*/ 45 h 210"/>
                  <a:gd name="T58" fmla="*/ 73 w 204"/>
                  <a:gd name="T59" fmla="*/ 48 h 210"/>
                  <a:gd name="T60" fmla="*/ 76 w 204"/>
                  <a:gd name="T61" fmla="*/ 52 h 210"/>
                  <a:gd name="T62" fmla="*/ 78 w 204"/>
                  <a:gd name="T63" fmla="*/ 52 h 210"/>
                  <a:gd name="T64" fmla="*/ 83 w 204"/>
                  <a:gd name="T65" fmla="*/ 55 h 210"/>
                  <a:gd name="T66" fmla="*/ 85 w 204"/>
                  <a:gd name="T67" fmla="*/ 60 h 210"/>
                  <a:gd name="T68" fmla="*/ 85 w 204"/>
                  <a:gd name="T69" fmla="*/ 63 h 210"/>
                  <a:gd name="T70" fmla="*/ 85 w 204"/>
                  <a:gd name="T71" fmla="*/ 65 h 210"/>
                  <a:gd name="T72" fmla="*/ 83 w 204"/>
                  <a:gd name="T73" fmla="*/ 71 h 210"/>
                  <a:gd name="T74" fmla="*/ 80 w 204"/>
                  <a:gd name="T75" fmla="*/ 76 h 210"/>
                  <a:gd name="T76" fmla="*/ 80 w 204"/>
                  <a:gd name="T77" fmla="*/ 83 h 210"/>
                  <a:gd name="T78" fmla="*/ 78 w 204"/>
                  <a:gd name="T79" fmla="*/ 85 h 210"/>
                  <a:gd name="T80" fmla="*/ 68 w 204"/>
                  <a:gd name="T81" fmla="*/ 83 h 210"/>
                  <a:gd name="T82" fmla="*/ 63 w 204"/>
                  <a:gd name="T83" fmla="*/ 81 h 210"/>
                  <a:gd name="T84" fmla="*/ 58 w 204"/>
                  <a:gd name="T85" fmla="*/ 78 h 210"/>
                  <a:gd name="T86" fmla="*/ 52 w 204"/>
                  <a:gd name="T87" fmla="*/ 76 h 210"/>
                  <a:gd name="T88" fmla="*/ 47 w 204"/>
                  <a:gd name="T89" fmla="*/ 73 h 210"/>
                  <a:gd name="T90" fmla="*/ 43 w 204"/>
                  <a:gd name="T91" fmla="*/ 68 h 210"/>
                  <a:gd name="T92" fmla="*/ 40 w 204"/>
                  <a:gd name="T93" fmla="*/ 68 h 210"/>
                  <a:gd name="T94" fmla="*/ 38 w 204"/>
                  <a:gd name="T95" fmla="*/ 63 h 210"/>
                  <a:gd name="T96" fmla="*/ 40 w 204"/>
                  <a:gd name="T97" fmla="*/ 65 h 210"/>
                  <a:gd name="T98" fmla="*/ 40 w 204"/>
                  <a:gd name="T99" fmla="*/ 63 h 210"/>
                  <a:gd name="T100" fmla="*/ 33 w 204"/>
                  <a:gd name="T101" fmla="*/ 60 h 210"/>
                  <a:gd name="T102" fmla="*/ 31 w 204"/>
                  <a:gd name="T103" fmla="*/ 55 h 210"/>
                  <a:gd name="T104" fmla="*/ 31 w 204"/>
                  <a:gd name="T105" fmla="*/ 52 h 210"/>
                  <a:gd name="T106" fmla="*/ 28 w 204"/>
                  <a:gd name="T107" fmla="*/ 52 h 210"/>
                  <a:gd name="T108" fmla="*/ 25 w 204"/>
                  <a:gd name="T109" fmla="*/ 52 h 210"/>
                  <a:gd name="T110" fmla="*/ 20 w 204"/>
                  <a:gd name="T111" fmla="*/ 48 h 210"/>
                  <a:gd name="T112" fmla="*/ 12 w 204"/>
                  <a:gd name="T113" fmla="*/ 45 h 210"/>
                  <a:gd name="T114" fmla="*/ 14 w 204"/>
                  <a:gd name="T115" fmla="*/ 45 h 210"/>
                  <a:gd name="T116" fmla="*/ 10 w 204"/>
                  <a:gd name="T117" fmla="*/ 43 h 210"/>
                  <a:gd name="T118" fmla="*/ 2 w 204"/>
                  <a:gd name="T119" fmla="*/ 38 h 210"/>
                  <a:gd name="T120" fmla="*/ 0 w 204"/>
                  <a:gd name="T121" fmla="*/ 35 h 210"/>
                  <a:gd name="T122" fmla="*/ 0 w 204"/>
                  <a:gd name="T123" fmla="*/ 33 h 21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04" h="210">
                    <a:moveTo>
                      <a:pt x="0" y="78"/>
                    </a:moveTo>
                    <a:lnTo>
                      <a:pt x="6" y="72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2" y="60"/>
                    </a:lnTo>
                    <a:lnTo>
                      <a:pt x="18" y="54"/>
                    </a:lnTo>
                    <a:lnTo>
                      <a:pt x="24" y="54"/>
                    </a:lnTo>
                    <a:lnTo>
                      <a:pt x="24" y="48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36" y="42"/>
                    </a:lnTo>
                    <a:lnTo>
                      <a:pt x="36" y="36"/>
                    </a:lnTo>
                    <a:lnTo>
                      <a:pt x="42" y="36"/>
                    </a:lnTo>
                    <a:lnTo>
                      <a:pt x="42" y="24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54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66" y="6"/>
                    </a:lnTo>
                    <a:lnTo>
                      <a:pt x="72" y="6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84" y="6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90" y="6"/>
                    </a:lnTo>
                    <a:lnTo>
                      <a:pt x="96" y="6"/>
                    </a:lnTo>
                    <a:lnTo>
                      <a:pt x="96" y="12"/>
                    </a:lnTo>
                    <a:lnTo>
                      <a:pt x="96" y="18"/>
                    </a:lnTo>
                    <a:lnTo>
                      <a:pt x="96" y="24"/>
                    </a:lnTo>
                    <a:lnTo>
                      <a:pt x="102" y="24"/>
                    </a:lnTo>
                    <a:lnTo>
                      <a:pt x="102" y="30"/>
                    </a:lnTo>
                    <a:lnTo>
                      <a:pt x="102" y="36"/>
                    </a:lnTo>
                    <a:lnTo>
                      <a:pt x="102" y="42"/>
                    </a:lnTo>
                    <a:lnTo>
                      <a:pt x="102" y="48"/>
                    </a:lnTo>
                    <a:lnTo>
                      <a:pt x="102" y="54"/>
                    </a:lnTo>
                    <a:lnTo>
                      <a:pt x="96" y="54"/>
                    </a:lnTo>
                    <a:lnTo>
                      <a:pt x="96" y="60"/>
                    </a:lnTo>
                    <a:lnTo>
                      <a:pt x="96" y="54"/>
                    </a:lnTo>
                    <a:lnTo>
                      <a:pt x="102" y="54"/>
                    </a:lnTo>
                    <a:lnTo>
                      <a:pt x="108" y="54"/>
                    </a:lnTo>
                    <a:lnTo>
                      <a:pt x="108" y="60"/>
                    </a:lnTo>
                    <a:lnTo>
                      <a:pt x="114" y="60"/>
                    </a:lnTo>
                    <a:lnTo>
                      <a:pt x="114" y="66"/>
                    </a:lnTo>
                    <a:lnTo>
                      <a:pt x="120" y="66"/>
                    </a:lnTo>
                    <a:lnTo>
                      <a:pt x="120" y="60"/>
                    </a:lnTo>
                    <a:lnTo>
                      <a:pt x="126" y="60"/>
                    </a:lnTo>
                    <a:lnTo>
                      <a:pt x="132" y="60"/>
                    </a:lnTo>
                    <a:lnTo>
                      <a:pt x="126" y="60"/>
                    </a:lnTo>
                    <a:lnTo>
                      <a:pt x="132" y="60"/>
                    </a:lnTo>
                    <a:lnTo>
                      <a:pt x="126" y="60"/>
                    </a:lnTo>
                    <a:lnTo>
                      <a:pt x="132" y="54"/>
                    </a:lnTo>
                    <a:lnTo>
                      <a:pt x="138" y="48"/>
                    </a:lnTo>
                    <a:lnTo>
                      <a:pt x="132" y="48"/>
                    </a:lnTo>
                    <a:lnTo>
                      <a:pt x="138" y="42"/>
                    </a:lnTo>
                    <a:lnTo>
                      <a:pt x="144" y="42"/>
                    </a:lnTo>
                    <a:lnTo>
                      <a:pt x="144" y="48"/>
                    </a:lnTo>
                    <a:lnTo>
                      <a:pt x="150" y="48"/>
                    </a:lnTo>
                    <a:lnTo>
                      <a:pt x="150" y="54"/>
                    </a:lnTo>
                    <a:lnTo>
                      <a:pt x="150" y="60"/>
                    </a:lnTo>
                    <a:lnTo>
                      <a:pt x="150" y="66"/>
                    </a:lnTo>
                    <a:lnTo>
                      <a:pt x="156" y="66"/>
                    </a:lnTo>
                    <a:lnTo>
                      <a:pt x="156" y="72"/>
                    </a:lnTo>
                    <a:lnTo>
                      <a:pt x="156" y="78"/>
                    </a:lnTo>
                    <a:lnTo>
                      <a:pt x="156" y="84"/>
                    </a:lnTo>
                    <a:lnTo>
                      <a:pt x="156" y="90"/>
                    </a:lnTo>
                    <a:lnTo>
                      <a:pt x="150" y="90"/>
                    </a:lnTo>
                    <a:lnTo>
                      <a:pt x="150" y="96"/>
                    </a:lnTo>
                    <a:lnTo>
                      <a:pt x="144" y="96"/>
                    </a:lnTo>
                    <a:lnTo>
                      <a:pt x="144" y="102"/>
                    </a:lnTo>
                    <a:lnTo>
                      <a:pt x="138" y="102"/>
                    </a:lnTo>
                    <a:lnTo>
                      <a:pt x="144" y="102"/>
                    </a:lnTo>
                    <a:lnTo>
                      <a:pt x="150" y="102"/>
                    </a:lnTo>
                    <a:lnTo>
                      <a:pt x="150" y="108"/>
                    </a:lnTo>
                    <a:lnTo>
                      <a:pt x="156" y="108"/>
                    </a:lnTo>
                    <a:lnTo>
                      <a:pt x="162" y="108"/>
                    </a:lnTo>
                    <a:lnTo>
                      <a:pt x="162" y="114"/>
                    </a:lnTo>
                    <a:lnTo>
                      <a:pt x="168" y="108"/>
                    </a:lnTo>
                    <a:lnTo>
                      <a:pt x="174" y="108"/>
                    </a:lnTo>
                    <a:lnTo>
                      <a:pt x="174" y="114"/>
                    </a:lnTo>
                    <a:lnTo>
                      <a:pt x="174" y="108"/>
                    </a:lnTo>
                    <a:lnTo>
                      <a:pt x="174" y="114"/>
                    </a:lnTo>
                    <a:lnTo>
                      <a:pt x="174" y="108"/>
                    </a:lnTo>
                    <a:lnTo>
                      <a:pt x="174" y="114"/>
                    </a:lnTo>
                    <a:lnTo>
                      <a:pt x="180" y="114"/>
                    </a:lnTo>
                    <a:lnTo>
                      <a:pt x="180" y="120"/>
                    </a:lnTo>
                    <a:lnTo>
                      <a:pt x="180" y="126"/>
                    </a:lnTo>
                    <a:lnTo>
                      <a:pt x="186" y="126"/>
                    </a:lnTo>
                    <a:lnTo>
                      <a:pt x="186" y="132"/>
                    </a:lnTo>
                    <a:lnTo>
                      <a:pt x="186" y="126"/>
                    </a:lnTo>
                    <a:lnTo>
                      <a:pt x="186" y="132"/>
                    </a:lnTo>
                    <a:lnTo>
                      <a:pt x="192" y="132"/>
                    </a:lnTo>
                    <a:lnTo>
                      <a:pt x="198" y="132"/>
                    </a:lnTo>
                    <a:lnTo>
                      <a:pt x="198" y="138"/>
                    </a:lnTo>
                    <a:lnTo>
                      <a:pt x="198" y="144"/>
                    </a:lnTo>
                    <a:lnTo>
                      <a:pt x="204" y="144"/>
                    </a:lnTo>
                    <a:lnTo>
                      <a:pt x="198" y="144"/>
                    </a:lnTo>
                    <a:lnTo>
                      <a:pt x="198" y="150"/>
                    </a:lnTo>
                    <a:lnTo>
                      <a:pt x="204" y="150"/>
                    </a:lnTo>
                    <a:lnTo>
                      <a:pt x="198" y="150"/>
                    </a:lnTo>
                    <a:lnTo>
                      <a:pt x="198" y="156"/>
                    </a:lnTo>
                    <a:lnTo>
                      <a:pt x="204" y="156"/>
                    </a:lnTo>
                    <a:lnTo>
                      <a:pt x="204" y="162"/>
                    </a:lnTo>
                    <a:lnTo>
                      <a:pt x="198" y="162"/>
                    </a:lnTo>
                    <a:lnTo>
                      <a:pt x="198" y="168"/>
                    </a:lnTo>
                    <a:lnTo>
                      <a:pt x="192" y="168"/>
                    </a:lnTo>
                    <a:lnTo>
                      <a:pt x="192" y="174"/>
                    </a:lnTo>
                    <a:lnTo>
                      <a:pt x="192" y="180"/>
                    </a:lnTo>
                    <a:lnTo>
                      <a:pt x="192" y="186"/>
                    </a:lnTo>
                    <a:lnTo>
                      <a:pt x="192" y="192"/>
                    </a:lnTo>
                    <a:lnTo>
                      <a:pt x="192" y="198"/>
                    </a:lnTo>
                    <a:lnTo>
                      <a:pt x="192" y="204"/>
                    </a:lnTo>
                    <a:lnTo>
                      <a:pt x="192" y="210"/>
                    </a:lnTo>
                    <a:lnTo>
                      <a:pt x="186" y="204"/>
                    </a:lnTo>
                    <a:lnTo>
                      <a:pt x="180" y="204"/>
                    </a:lnTo>
                    <a:lnTo>
                      <a:pt x="174" y="198"/>
                    </a:lnTo>
                    <a:lnTo>
                      <a:pt x="162" y="198"/>
                    </a:lnTo>
                    <a:lnTo>
                      <a:pt x="156" y="198"/>
                    </a:lnTo>
                    <a:lnTo>
                      <a:pt x="156" y="192"/>
                    </a:lnTo>
                    <a:lnTo>
                      <a:pt x="150" y="192"/>
                    </a:lnTo>
                    <a:lnTo>
                      <a:pt x="144" y="192"/>
                    </a:lnTo>
                    <a:lnTo>
                      <a:pt x="144" y="186"/>
                    </a:lnTo>
                    <a:lnTo>
                      <a:pt x="138" y="186"/>
                    </a:lnTo>
                    <a:lnTo>
                      <a:pt x="132" y="186"/>
                    </a:lnTo>
                    <a:lnTo>
                      <a:pt x="132" y="180"/>
                    </a:lnTo>
                    <a:lnTo>
                      <a:pt x="126" y="180"/>
                    </a:lnTo>
                    <a:lnTo>
                      <a:pt x="126" y="174"/>
                    </a:lnTo>
                    <a:lnTo>
                      <a:pt x="120" y="174"/>
                    </a:lnTo>
                    <a:lnTo>
                      <a:pt x="114" y="174"/>
                    </a:lnTo>
                    <a:lnTo>
                      <a:pt x="114" y="168"/>
                    </a:lnTo>
                    <a:lnTo>
                      <a:pt x="108" y="168"/>
                    </a:lnTo>
                    <a:lnTo>
                      <a:pt x="102" y="162"/>
                    </a:lnTo>
                    <a:lnTo>
                      <a:pt x="108" y="162"/>
                    </a:lnTo>
                    <a:lnTo>
                      <a:pt x="102" y="162"/>
                    </a:lnTo>
                    <a:lnTo>
                      <a:pt x="96" y="162"/>
                    </a:lnTo>
                    <a:lnTo>
                      <a:pt x="96" y="156"/>
                    </a:lnTo>
                    <a:lnTo>
                      <a:pt x="90" y="156"/>
                    </a:lnTo>
                    <a:lnTo>
                      <a:pt x="90" y="150"/>
                    </a:lnTo>
                    <a:lnTo>
                      <a:pt x="90" y="156"/>
                    </a:lnTo>
                    <a:lnTo>
                      <a:pt x="90" y="150"/>
                    </a:lnTo>
                    <a:lnTo>
                      <a:pt x="96" y="156"/>
                    </a:lnTo>
                    <a:lnTo>
                      <a:pt x="96" y="150"/>
                    </a:lnTo>
                    <a:lnTo>
                      <a:pt x="90" y="150"/>
                    </a:lnTo>
                    <a:lnTo>
                      <a:pt x="96" y="150"/>
                    </a:lnTo>
                    <a:lnTo>
                      <a:pt x="90" y="150"/>
                    </a:lnTo>
                    <a:lnTo>
                      <a:pt x="84" y="144"/>
                    </a:lnTo>
                    <a:lnTo>
                      <a:pt x="78" y="144"/>
                    </a:lnTo>
                    <a:lnTo>
                      <a:pt x="78" y="138"/>
                    </a:lnTo>
                    <a:lnTo>
                      <a:pt x="72" y="138"/>
                    </a:lnTo>
                    <a:lnTo>
                      <a:pt x="72" y="132"/>
                    </a:lnTo>
                    <a:lnTo>
                      <a:pt x="66" y="132"/>
                    </a:lnTo>
                    <a:lnTo>
                      <a:pt x="72" y="132"/>
                    </a:lnTo>
                    <a:lnTo>
                      <a:pt x="72" y="126"/>
                    </a:lnTo>
                    <a:lnTo>
                      <a:pt x="72" y="132"/>
                    </a:lnTo>
                    <a:lnTo>
                      <a:pt x="66" y="132"/>
                    </a:lnTo>
                    <a:lnTo>
                      <a:pt x="66" y="126"/>
                    </a:lnTo>
                    <a:lnTo>
                      <a:pt x="66" y="132"/>
                    </a:lnTo>
                    <a:lnTo>
                      <a:pt x="66" y="126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54" y="120"/>
                    </a:lnTo>
                    <a:lnTo>
                      <a:pt x="48" y="114"/>
                    </a:lnTo>
                    <a:lnTo>
                      <a:pt x="42" y="114"/>
                    </a:lnTo>
                    <a:lnTo>
                      <a:pt x="36" y="114"/>
                    </a:lnTo>
                    <a:lnTo>
                      <a:pt x="30" y="108"/>
                    </a:lnTo>
                    <a:lnTo>
                      <a:pt x="36" y="108"/>
                    </a:lnTo>
                    <a:lnTo>
                      <a:pt x="36" y="102"/>
                    </a:lnTo>
                    <a:lnTo>
                      <a:pt x="36" y="108"/>
                    </a:lnTo>
                    <a:lnTo>
                      <a:pt x="30" y="108"/>
                    </a:lnTo>
                    <a:lnTo>
                      <a:pt x="30" y="102"/>
                    </a:lnTo>
                    <a:lnTo>
                      <a:pt x="24" y="102"/>
                    </a:lnTo>
                    <a:lnTo>
                      <a:pt x="18" y="96"/>
                    </a:lnTo>
                    <a:lnTo>
                      <a:pt x="12" y="96"/>
                    </a:lnTo>
                    <a:lnTo>
                      <a:pt x="6" y="90"/>
                    </a:lnTo>
                    <a:lnTo>
                      <a:pt x="0" y="90"/>
                    </a:lnTo>
                    <a:lnTo>
                      <a:pt x="6" y="84"/>
                    </a:lnTo>
                    <a:lnTo>
                      <a:pt x="0" y="84"/>
                    </a:lnTo>
                    <a:lnTo>
                      <a:pt x="6" y="84"/>
                    </a:lnTo>
                    <a:lnTo>
                      <a:pt x="0" y="84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7" name="Freeform 113"/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201" y="1998"/>
                <a:ext cx="83" cy="203"/>
              </a:xfrm>
              <a:custGeom>
                <a:avLst/>
                <a:gdLst>
                  <a:gd name="T0" fmla="*/ 16 w 102"/>
                  <a:gd name="T1" fmla="*/ 2 h 252"/>
                  <a:gd name="T2" fmla="*/ 19 w 102"/>
                  <a:gd name="T3" fmla="*/ 5 h 252"/>
                  <a:gd name="T4" fmla="*/ 24 w 102"/>
                  <a:gd name="T5" fmla="*/ 8 h 252"/>
                  <a:gd name="T6" fmla="*/ 21 w 102"/>
                  <a:gd name="T7" fmla="*/ 12 h 252"/>
                  <a:gd name="T8" fmla="*/ 21 w 102"/>
                  <a:gd name="T9" fmla="*/ 18 h 252"/>
                  <a:gd name="T10" fmla="*/ 29 w 102"/>
                  <a:gd name="T11" fmla="*/ 23 h 252"/>
                  <a:gd name="T12" fmla="*/ 34 w 102"/>
                  <a:gd name="T13" fmla="*/ 31 h 252"/>
                  <a:gd name="T14" fmla="*/ 34 w 102"/>
                  <a:gd name="T15" fmla="*/ 35 h 252"/>
                  <a:gd name="T16" fmla="*/ 37 w 102"/>
                  <a:gd name="T17" fmla="*/ 40 h 252"/>
                  <a:gd name="T18" fmla="*/ 39 w 102"/>
                  <a:gd name="T19" fmla="*/ 45 h 252"/>
                  <a:gd name="T20" fmla="*/ 39 w 102"/>
                  <a:gd name="T21" fmla="*/ 51 h 252"/>
                  <a:gd name="T22" fmla="*/ 39 w 102"/>
                  <a:gd name="T23" fmla="*/ 55 h 252"/>
                  <a:gd name="T24" fmla="*/ 39 w 102"/>
                  <a:gd name="T25" fmla="*/ 60 h 252"/>
                  <a:gd name="T26" fmla="*/ 39 w 102"/>
                  <a:gd name="T27" fmla="*/ 71 h 252"/>
                  <a:gd name="T28" fmla="*/ 39 w 102"/>
                  <a:gd name="T29" fmla="*/ 76 h 252"/>
                  <a:gd name="T30" fmla="*/ 42 w 102"/>
                  <a:gd name="T31" fmla="*/ 78 h 252"/>
                  <a:gd name="T32" fmla="*/ 39 w 102"/>
                  <a:gd name="T33" fmla="*/ 81 h 252"/>
                  <a:gd name="T34" fmla="*/ 39 w 102"/>
                  <a:gd name="T35" fmla="*/ 91 h 252"/>
                  <a:gd name="T36" fmla="*/ 39 w 102"/>
                  <a:gd name="T37" fmla="*/ 96 h 252"/>
                  <a:gd name="T38" fmla="*/ 42 w 102"/>
                  <a:gd name="T39" fmla="*/ 98 h 252"/>
                  <a:gd name="T40" fmla="*/ 45 w 102"/>
                  <a:gd name="T41" fmla="*/ 101 h 252"/>
                  <a:gd name="T42" fmla="*/ 45 w 102"/>
                  <a:gd name="T43" fmla="*/ 104 h 252"/>
                  <a:gd name="T44" fmla="*/ 39 w 102"/>
                  <a:gd name="T45" fmla="*/ 104 h 252"/>
                  <a:gd name="T46" fmla="*/ 34 w 102"/>
                  <a:gd name="T47" fmla="*/ 106 h 252"/>
                  <a:gd name="T48" fmla="*/ 29 w 102"/>
                  <a:gd name="T49" fmla="*/ 106 h 252"/>
                  <a:gd name="T50" fmla="*/ 27 w 102"/>
                  <a:gd name="T51" fmla="*/ 104 h 252"/>
                  <a:gd name="T52" fmla="*/ 24 w 102"/>
                  <a:gd name="T53" fmla="*/ 101 h 252"/>
                  <a:gd name="T54" fmla="*/ 21 w 102"/>
                  <a:gd name="T55" fmla="*/ 98 h 252"/>
                  <a:gd name="T56" fmla="*/ 19 w 102"/>
                  <a:gd name="T57" fmla="*/ 96 h 252"/>
                  <a:gd name="T58" fmla="*/ 16 w 102"/>
                  <a:gd name="T59" fmla="*/ 93 h 252"/>
                  <a:gd name="T60" fmla="*/ 16 w 102"/>
                  <a:gd name="T61" fmla="*/ 89 h 252"/>
                  <a:gd name="T62" fmla="*/ 19 w 102"/>
                  <a:gd name="T63" fmla="*/ 84 h 252"/>
                  <a:gd name="T64" fmla="*/ 19 w 102"/>
                  <a:gd name="T65" fmla="*/ 78 h 252"/>
                  <a:gd name="T66" fmla="*/ 16 w 102"/>
                  <a:gd name="T67" fmla="*/ 76 h 252"/>
                  <a:gd name="T68" fmla="*/ 19 w 102"/>
                  <a:gd name="T69" fmla="*/ 73 h 252"/>
                  <a:gd name="T70" fmla="*/ 19 w 102"/>
                  <a:gd name="T71" fmla="*/ 68 h 252"/>
                  <a:gd name="T72" fmla="*/ 19 w 102"/>
                  <a:gd name="T73" fmla="*/ 63 h 252"/>
                  <a:gd name="T74" fmla="*/ 21 w 102"/>
                  <a:gd name="T75" fmla="*/ 60 h 252"/>
                  <a:gd name="T76" fmla="*/ 19 w 102"/>
                  <a:gd name="T77" fmla="*/ 58 h 252"/>
                  <a:gd name="T78" fmla="*/ 16 w 102"/>
                  <a:gd name="T79" fmla="*/ 55 h 252"/>
                  <a:gd name="T80" fmla="*/ 13 w 102"/>
                  <a:gd name="T81" fmla="*/ 53 h 252"/>
                  <a:gd name="T82" fmla="*/ 16 w 102"/>
                  <a:gd name="T83" fmla="*/ 51 h 252"/>
                  <a:gd name="T84" fmla="*/ 13 w 102"/>
                  <a:gd name="T85" fmla="*/ 45 h 252"/>
                  <a:gd name="T86" fmla="*/ 16 w 102"/>
                  <a:gd name="T87" fmla="*/ 43 h 252"/>
                  <a:gd name="T88" fmla="*/ 16 w 102"/>
                  <a:gd name="T89" fmla="*/ 39 h 252"/>
                  <a:gd name="T90" fmla="*/ 13 w 102"/>
                  <a:gd name="T91" fmla="*/ 35 h 252"/>
                  <a:gd name="T92" fmla="*/ 11 w 102"/>
                  <a:gd name="T93" fmla="*/ 39 h 252"/>
                  <a:gd name="T94" fmla="*/ 8 w 102"/>
                  <a:gd name="T95" fmla="*/ 35 h 252"/>
                  <a:gd name="T96" fmla="*/ 11 w 102"/>
                  <a:gd name="T97" fmla="*/ 33 h 252"/>
                  <a:gd name="T98" fmla="*/ 13 w 102"/>
                  <a:gd name="T99" fmla="*/ 31 h 252"/>
                  <a:gd name="T100" fmla="*/ 13 w 102"/>
                  <a:gd name="T101" fmla="*/ 28 h 252"/>
                  <a:gd name="T102" fmla="*/ 13 w 102"/>
                  <a:gd name="T103" fmla="*/ 28 h 252"/>
                  <a:gd name="T104" fmla="*/ 13 w 102"/>
                  <a:gd name="T105" fmla="*/ 23 h 252"/>
                  <a:gd name="T106" fmla="*/ 13 w 102"/>
                  <a:gd name="T107" fmla="*/ 18 h 252"/>
                  <a:gd name="T108" fmla="*/ 11 w 102"/>
                  <a:gd name="T109" fmla="*/ 15 h 252"/>
                  <a:gd name="T110" fmla="*/ 8 w 102"/>
                  <a:gd name="T111" fmla="*/ 12 h 252"/>
                  <a:gd name="T112" fmla="*/ 2 w 102"/>
                  <a:gd name="T113" fmla="*/ 12 h 252"/>
                  <a:gd name="T114" fmla="*/ 2 w 102"/>
                  <a:gd name="T115" fmla="*/ 8 h 252"/>
                  <a:gd name="T116" fmla="*/ 6 w 102"/>
                  <a:gd name="T117" fmla="*/ 2 h 252"/>
                  <a:gd name="T118" fmla="*/ 0 w 102"/>
                  <a:gd name="T119" fmla="*/ 2 h 25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02" h="252">
                    <a:moveTo>
                      <a:pt x="0" y="0"/>
                    </a:moveTo>
                    <a:lnTo>
                      <a:pt x="36" y="6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54" y="12"/>
                    </a:lnTo>
                    <a:lnTo>
                      <a:pt x="54" y="18"/>
                    </a:lnTo>
                    <a:lnTo>
                      <a:pt x="48" y="24"/>
                    </a:lnTo>
                    <a:lnTo>
                      <a:pt x="48" y="30"/>
                    </a:lnTo>
                    <a:lnTo>
                      <a:pt x="48" y="36"/>
                    </a:lnTo>
                    <a:lnTo>
                      <a:pt x="48" y="42"/>
                    </a:lnTo>
                    <a:lnTo>
                      <a:pt x="60" y="48"/>
                    </a:lnTo>
                    <a:lnTo>
                      <a:pt x="66" y="54"/>
                    </a:lnTo>
                    <a:lnTo>
                      <a:pt x="78" y="60"/>
                    </a:lnTo>
                    <a:lnTo>
                      <a:pt x="78" y="72"/>
                    </a:lnTo>
                    <a:lnTo>
                      <a:pt x="78" y="78"/>
                    </a:lnTo>
                    <a:lnTo>
                      <a:pt x="78" y="84"/>
                    </a:lnTo>
                    <a:lnTo>
                      <a:pt x="78" y="90"/>
                    </a:lnTo>
                    <a:lnTo>
                      <a:pt x="84" y="96"/>
                    </a:lnTo>
                    <a:lnTo>
                      <a:pt x="90" y="102"/>
                    </a:lnTo>
                    <a:lnTo>
                      <a:pt x="90" y="108"/>
                    </a:lnTo>
                    <a:lnTo>
                      <a:pt x="90" y="114"/>
                    </a:lnTo>
                    <a:lnTo>
                      <a:pt x="90" y="120"/>
                    </a:lnTo>
                    <a:lnTo>
                      <a:pt x="90" y="126"/>
                    </a:lnTo>
                    <a:lnTo>
                      <a:pt x="90" y="132"/>
                    </a:lnTo>
                    <a:lnTo>
                      <a:pt x="90" y="138"/>
                    </a:lnTo>
                    <a:lnTo>
                      <a:pt x="90" y="144"/>
                    </a:lnTo>
                    <a:lnTo>
                      <a:pt x="90" y="156"/>
                    </a:lnTo>
                    <a:lnTo>
                      <a:pt x="90" y="168"/>
                    </a:lnTo>
                    <a:lnTo>
                      <a:pt x="90" y="174"/>
                    </a:lnTo>
                    <a:lnTo>
                      <a:pt x="90" y="180"/>
                    </a:lnTo>
                    <a:lnTo>
                      <a:pt x="96" y="180"/>
                    </a:lnTo>
                    <a:lnTo>
                      <a:pt x="96" y="186"/>
                    </a:lnTo>
                    <a:lnTo>
                      <a:pt x="90" y="186"/>
                    </a:lnTo>
                    <a:lnTo>
                      <a:pt x="90" y="192"/>
                    </a:lnTo>
                    <a:lnTo>
                      <a:pt x="90" y="210"/>
                    </a:lnTo>
                    <a:lnTo>
                      <a:pt x="90" y="216"/>
                    </a:lnTo>
                    <a:lnTo>
                      <a:pt x="90" y="222"/>
                    </a:lnTo>
                    <a:lnTo>
                      <a:pt x="90" y="228"/>
                    </a:lnTo>
                    <a:lnTo>
                      <a:pt x="96" y="228"/>
                    </a:lnTo>
                    <a:lnTo>
                      <a:pt x="96" y="234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40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0" y="246"/>
                    </a:lnTo>
                    <a:lnTo>
                      <a:pt x="84" y="246"/>
                    </a:lnTo>
                    <a:lnTo>
                      <a:pt x="78" y="252"/>
                    </a:lnTo>
                    <a:lnTo>
                      <a:pt x="72" y="252"/>
                    </a:lnTo>
                    <a:lnTo>
                      <a:pt x="66" y="252"/>
                    </a:lnTo>
                    <a:lnTo>
                      <a:pt x="66" y="246"/>
                    </a:lnTo>
                    <a:lnTo>
                      <a:pt x="60" y="246"/>
                    </a:lnTo>
                    <a:lnTo>
                      <a:pt x="60" y="240"/>
                    </a:lnTo>
                    <a:lnTo>
                      <a:pt x="54" y="240"/>
                    </a:lnTo>
                    <a:lnTo>
                      <a:pt x="48" y="240"/>
                    </a:lnTo>
                    <a:lnTo>
                      <a:pt x="48" y="234"/>
                    </a:lnTo>
                    <a:lnTo>
                      <a:pt x="48" y="228"/>
                    </a:lnTo>
                    <a:lnTo>
                      <a:pt x="42" y="228"/>
                    </a:lnTo>
                    <a:lnTo>
                      <a:pt x="42" y="222"/>
                    </a:lnTo>
                    <a:lnTo>
                      <a:pt x="36" y="222"/>
                    </a:lnTo>
                    <a:lnTo>
                      <a:pt x="36" y="216"/>
                    </a:lnTo>
                    <a:lnTo>
                      <a:pt x="36" y="210"/>
                    </a:lnTo>
                    <a:lnTo>
                      <a:pt x="42" y="204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2" y="186"/>
                    </a:lnTo>
                    <a:lnTo>
                      <a:pt x="36" y="186"/>
                    </a:lnTo>
                    <a:lnTo>
                      <a:pt x="36" y="180"/>
                    </a:lnTo>
                    <a:lnTo>
                      <a:pt x="36" y="174"/>
                    </a:lnTo>
                    <a:lnTo>
                      <a:pt x="42" y="174"/>
                    </a:lnTo>
                    <a:lnTo>
                      <a:pt x="42" y="168"/>
                    </a:lnTo>
                    <a:lnTo>
                      <a:pt x="42" y="162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2" y="144"/>
                    </a:lnTo>
                    <a:lnTo>
                      <a:pt x="48" y="144"/>
                    </a:lnTo>
                    <a:lnTo>
                      <a:pt x="48" y="138"/>
                    </a:lnTo>
                    <a:lnTo>
                      <a:pt x="42" y="138"/>
                    </a:lnTo>
                    <a:lnTo>
                      <a:pt x="42" y="132"/>
                    </a:lnTo>
                    <a:lnTo>
                      <a:pt x="36" y="132"/>
                    </a:lnTo>
                    <a:lnTo>
                      <a:pt x="36" y="126"/>
                    </a:lnTo>
                    <a:lnTo>
                      <a:pt x="30" y="126"/>
                    </a:lnTo>
                    <a:lnTo>
                      <a:pt x="30" y="120"/>
                    </a:lnTo>
                    <a:lnTo>
                      <a:pt x="36" y="120"/>
                    </a:lnTo>
                    <a:lnTo>
                      <a:pt x="36" y="114"/>
                    </a:lnTo>
                    <a:lnTo>
                      <a:pt x="30" y="108"/>
                    </a:lnTo>
                    <a:lnTo>
                      <a:pt x="30" y="102"/>
                    </a:lnTo>
                    <a:lnTo>
                      <a:pt x="36" y="102"/>
                    </a:lnTo>
                    <a:lnTo>
                      <a:pt x="36" y="96"/>
                    </a:lnTo>
                    <a:lnTo>
                      <a:pt x="36" y="90"/>
                    </a:lnTo>
                    <a:lnTo>
                      <a:pt x="36" y="84"/>
                    </a:lnTo>
                    <a:lnTo>
                      <a:pt x="30" y="84"/>
                    </a:lnTo>
                    <a:lnTo>
                      <a:pt x="24" y="84"/>
                    </a:lnTo>
                    <a:lnTo>
                      <a:pt x="24" y="90"/>
                    </a:lnTo>
                    <a:lnTo>
                      <a:pt x="24" y="84"/>
                    </a:lnTo>
                    <a:lnTo>
                      <a:pt x="18" y="84"/>
                    </a:lnTo>
                    <a:lnTo>
                      <a:pt x="24" y="84"/>
                    </a:lnTo>
                    <a:lnTo>
                      <a:pt x="24" y="78"/>
                    </a:lnTo>
                    <a:lnTo>
                      <a:pt x="30" y="78"/>
                    </a:lnTo>
                    <a:lnTo>
                      <a:pt x="30" y="72"/>
                    </a:lnTo>
                    <a:lnTo>
                      <a:pt x="24" y="72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30" y="66"/>
                    </a:lnTo>
                    <a:lnTo>
                      <a:pt x="30" y="60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24" y="42"/>
                    </a:lnTo>
                    <a:lnTo>
                      <a:pt x="24" y="36"/>
                    </a:lnTo>
                    <a:lnTo>
                      <a:pt x="18" y="36"/>
                    </a:lnTo>
                    <a:lnTo>
                      <a:pt x="18" y="30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8" name="Freeform 114"/>
              <p:cNvSpPr>
                <a:spLocks noChangeAspect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40" y="1949"/>
                <a:ext cx="125" cy="247"/>
              </a:xfrm>
              <a:custGeom>
                <a:avLst/>
                <a:gdLst>
                  <a:gd name="T0" fmla="*/ 5 w 156"/>
                  <a:gd name="T1" fmla="*/ 28 h 306"/>
                  <a:gd name="T2" fmla="*/ 5 w 156"/>
                  <a:gd name="T3" fmla="*/ 28 h 306"/>
                  <a:gd name="T4" fmla="*/ 7 w 156"/>
                  <a:gd name="T5" fmla="*/ 23 h 306"/>
                  <a:gd name="T6" fmla="*/ 12 w 156"/>
                  <a:gd name="T7" fmla="*/ 20 h 306"/>
                  <a:gd name="T8" fmla="*/ 19 w 156"/>
                  <a:gd name="T9" fmla="*/ 20 h 306"/>
                  <a:gd name="T10" fmla="*/ 30 w 156"/>
                  <a:gd name="T11" fmla="*/ 18 h 306"/>
                  <a:gd name="T12" fmla="*/ 32 w 156"/>
                  <a:gd name="T13" fmla="*/ 12 h 306"/>
                  <a:gd name="T14" fmla="*/ 32 w 156"/>
                  <a:gd name="T15" fmla="*/ 10 h 306"/>
                  <a:gd name="T16" fmla="*/ 34 w 156"/>
                  <a:gd name="T17" fmla="*/ 10 h 306"/>
                  <a:gd name="T18" fmla="*/ 32 w 156"/>
                  <a:gd name="T19" fmla="*/ 5 h 306"/>
                  <a:gd name="T20" fmla="*/ 37 w 156"/>
                  <a:gd name="T21" fmla="*/ 2 h 306"/>
                  <a:gd name="T22" fmla="*/ 42 w 156"/>
                  <a:gd name="T23" fmla="*/ 0 h 306"/>
                  <a:gd name="T24" fmla="*/ 46 w 156"/>
                  <a:gd name="T25" fmla="*/ 5 h 306"/>
                  <a:gd name="T26" fmla="*/ 52 w 156"/>
                  <a:gd name="T27" fmla="*/ 8 h 306"/>
                  <a:gd name="T28" fmla="*/ 57 w 156"/>
                  <a:gd name="T29" fmla="*/ 12 h 306"/>
                  <a:gd name="T30" fmla="*/ 57 w 156"/>
                  <a:gd name="T31" fmla="*/ 23 h 306"/>
                  <a:gd name="T32" fmla="*/ 62 w 156"/>
                  <a:gd name="T33" fmla="*/ 28 h 306"/>
                  <a:gd name="T34" fmla="*/ 62 w 156"/>
                  <a:gd name="T35" fmla="*/ 36 h 306"/>
                  <a:gd name="T36" fmla="*/ 62 w 156"/>
                  <a:gd name="T37" fmla="*/ 40 h 306"/>
                  <a:gd name="T38" fmla="*/ 57 w 156"/>
                  <a:gd name="T39" fmla="*/ 43 h 306"/>
                  <a:gd name="T40" fmla="*/ 59 w 156"/>
                  <a:gd name="T41" fmla="*/ 48 h 306"/>
                  <a:gd name="T42" fmla="*/ 57 w 156"/>
                  <a:gd name="T43" fmla="*/ 53 h 306"/>
                  <a:gd name="T44" fmla="*/ 52 w 156"/>
                  <a:gd name="T45" fmla="*/ 56 h 306"/>
                  <a:gd name="T46" fmla="*/ 50 w 156"/>
                  <a:gd name="T47" fmla="*/ 64 h 306"/>
                  <a:gd name="T48" fmla="*/ 46 w 156"/>
                  <a:gd name="T49" fmla="*/ 69 h 306"/>
                  <a:gd name="T50" fmla="*/ 42 w 156"/>
                  <a:gd name="T51" fmla="*/ 72 h 306"/>
                  <a:gd name="T52" fmla="*/ 42 w 156"/>
                  <a:gd name="T53" fmla="*/ 73 h 306"/>
                  <a:gd name="T54" fmla="*/ 42 w 156"/>
                  <a:gd name="T55" fmla="*/ 76 h 306"/>
                  <a:gd name="T56" fmla="*/ 40 w 156"/>
                  <a:gd name="T57" fmla="*/ 82 h 306"/>
                  <a:gd name="T58" fmla="*/ 40 w 156"/>
                  <a:gd name="T59" fmla="*/ 90 h 306"/>
                  <a:gd name="T60" fmla="*/ 40 w 156"/>
                  <a:gd name="T61" fmla="*/ 97 h 306"/>
                  <a:gd name="T62" fmla="*/ 42 w 156"/>
                  <a:gd name="T63" fmla="*/ 105 h 306"/>
                  <a:gd name="T64" fmla="*/ 42 w 156"/>
                  <a:gd name="T65" fmla="*/ 110 h 306"/>
                  <a:gd name="T66" fmla="*/ 42 w 156"/>
                  <a:gd name="T67" fmla="*/ 112 h 306"/>
                  <a:gd name="T68" fmla="*/ 40 w 156"/>
                  <a:gd name="T69" fmla="*/ 117 h 306"/>
                  <a:gd name="T70" fmla="*/ 40 w 156"/>
                  <a:gd name="T71" fmla="*/ 120 h 306"/>
                  <a:gd name="T72" fmla="*/ 40 w 156"/>
                  <a:gd name="T73" fmla="*/ 127 h 306"/>
                  <a:gd name="T74" fmla="*/ 30 w 156"/>
                  <a:gd name="T75" fmla="*/ 127 h 306"/>
                  <a:gd name="T76" fmla="*/ 22 w 156"/>
                  <a:gd name="T77" fmla="*/ 130 h 306"/>
                  <a:gd name="T78" fmla="*/ 19 w 156"/>
                  <a:gd name="T79" fmla="*/ 130 h 306"/>
                  <a:gd name="T80" fmla="*/ 22 w 156"/>
                  <a:gd name="T81" fmla="*/ 127 h 306"/>
                  <a:gd name="T82" fmla="*/ 19 w 156"/>
                  <a:gd name="T83" fmla="*/ 122 h 306"/>
                  <a:gd name="T84" fmla="*/ 18 w 156"/>
                  <a:gd name="T85" fmla="*/ 117 h 306"/>
                  <a:gd name="T86" fmla="*/ 18 w 156"/>
                  <a:gd name="T87" fmla="*/ 105 h 306"/>
                  <a:gd name="T88" fmla="*/ 18 w 156"/>
                  <a:gd name="T89" fmla="*/ 103 h 306"/>
                  <a:gd name="T90" fmla="*/ 18 w 156"/>
                  <a:gd name="T91" fmla="*/ 91 h 306"/>
                  <a:gd name="T92" fmla="*/ 18 w 156"/>
                  <a:gd name="T93" fmla="*/ 82 h 306"/>
                  <a:gd name="T94" fmla="*/ 18 w 156"/>
                  <a:gd name="T95" fmla="*/ 73 h 306"/>
                  <a:gd name="T96" fmla="*/ 14 w 156"/>
                  <a:gd name="T97" fmla="*/ 66 h 306"/>
                  <a:gd name="T98" fmla="*/ 12 w 156"/>
                  <a:gd name="T99" fmla="*/ 59 h 306"/>
                  <a:gd name="T100" fmla="*/ 7 w 156"/>
                  <a:gd name="T101" fmla="*/ 48 h 306"/>
                  <a:gd name="T102" fmla="*/ 0 w 156"/>
                  <a:gd name="T103" fmla="*/ 40 h 306"/>
                  <a:gd name="T104" fmla="*/ 2 w 156"/>
                  <a:gd name="T105" fmla="*/ 33 h 30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56" h="306">
                    <a:moveTo>
                      <a:pt x="6" y="72"/>
                    </a:moveTo>
                    <a:lnTo>
                      <a:pt x="6" y="66"/>
                    </a:lnTo>
                    <a:lnTo>
                      <a:pt x="12" y="66"/>
                    </a:lnTo>
                    <a:lnTo>
                      <a:pt x="18" y="66"/>
                    </a:lnTo>
                    <a:lnTo>
                      <a:pt x="12" y="60"/>
                    </a:lnTo>
                    <a:lnTo>
                      <a:pt x="12" y="66"/>
                    </a:lnTo>
                    <a:lnTo>
                      <a:pt x="12" y="60"/>
                    </a:lnTo>
                    <a:lnTo>
                      <a:pt x="18" y="60"/>
                    </a:lnTo>
                    <a:lnTo>
                      <a:pt x="18" y="54"/>
                    </a:lnTo>
                    <a:lnTo>
                      <a:pt x="24" y="54"/>
                    </a:lnTo>
                    <a:lnTo>
                      <a:pt x="30" y="54"/>
                    </a:lnTo>
                    <a:lnTo>
                      <a:pt x="30" y="48"/>
                    </a:lnTo>
                    <a:lnTo>
                      <a:pt x="36" y="48"/>
                    </a:lnTo>
                    <a:lnTo>
                      <a:pt x="42" y="48"/>
                    </a:lnTo>
                    <a:lnTo>
                      <a:pt x="48" y="48"/>
                    </a:lnTo>
                    <a:lnTo>
                      <a:pt x="54" y="48"/>
                    </a:lnTo>
                    <a:lnTo>
                      <a:pt x="60" y="48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78" y="24"/>
                    </a:lnTo>
                    <a:lnTo>
                      <a:pt x="84" y="24"/>
                    </a:lnTo>
                    <a:lnTo>
                      <a:pt x="84" y="18"/>
                    </a:lnTo>
                    <a:lnTo>
                      <a:pt x="84" y="12"/>
                    </a:lnTo>
                    <a:lnTo>
                      <a:pt x="78" y="12"/>
                    </a:lnTo>
                    <a:lnTo>
                      <a:pt x="78" y="6"/>
                    </a:lnTo>
                    <a:lnTo>
                      <a:pt x="84" y="6"/>
                    </a:lnTo>
                    <a:lnTo>
                      <a:pt x="90" y="6"/>
                    </a:lnTo>
                    <a:lnTo>
                      <a:pt x="96" y="6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26" y="18"/>
                    </a:lnTo>
                    <a:lnTo>
                      <a:pt x="126" y="24"/>
                    </a:lnTo>
                    <a:lnTo>
                      <a:pt x="132" y="24"/>
                    </a:lnTo>
                    <a:lnTo>
                      <a:pt x="138" y="30"/>
                    </a:lnTo>
                    <a:lnTo>
                      <a:pt x="138" y="36"/>
                    </a:lnTo>
                    <a:lnTo>
                      <a:pt x="138" y="42"/>
                    </a:lnTo>
                    <a:lnTo>
                      <a:pt x="138" y="54"/>
                    </a:lnTo>
                    <a:lnTo>
                      <a:pt x="144" y="60"/>
                    </a:lnTo>
                    <a:lnTo>
                      <a:pt x="144" y="66"/>
                    </a:lnTo>
                    <a:lnTo>
                      <a:pt x="150" y="66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50" y="84"/>
                    </a:lnTo>
                    <a:lnTo>
                      <a:pt x="156" y="90"/>
                    </a:lnTo>
                    <a:lnTo>
                      <a:pt x="150" y="90"/>
                    </a:lnTo>
                    <a:lnTo>
                      <a:pt x="150" y="96"/>
                    </a:lnTo>
                    <a:lnTo>
                      <a:pt x="144" y="96"/>
                    </a:lnTo>
                    <a:lnTo>
                      <a:pt x="144" y="102"/>
                    </a:lnTo>
                    <a:lnTo>
                      <a:pt x="138" y="102"/>
                    </a:lnTo>
                    <a:lnTo>
                      <a:pt x="138" y="108"/>
                    </a:lnTo>
                    <a:lnTo>
                      <a:pt x="144" y="108"/>
                    </a:lnTo>
                    <a:lnTo>
                      <a:pt x="144" y="114"/>
                    </a:lnTo>
                    <a:lnTo>
                      <a:pt x="144" y="120"/>
                    </a:lnTo>
                    <a:lnTo>
                      <a:pt x="138" y="120"/>
                    </a:lnTo>
                    <a:lnTo>
                      <a:pt x="138" y="126"/>
                    </a:lnTo>
                    <a:lnTo>
                      <a:pt x="132" y="126"/>
                    </a:lnTo>
                    <a:lnTo>
                      <a:pt x="126" y="126"/>
                    </a:lnTo>
                    <a:lnTo>
                      <a:pt x="126" y="132"/>
                    </a:lnTo>
                    <a:lnTo>
                      <a:pt x="126" y="138"/>
                    </a:lnTo>
                    <a:lnTo>
                      <a:pt x="120" y="144"/>
                    </a:lnTo>
                    <a:lnTo>
                      <a:pt x="120" y="150"/>
                    </a:lnTo>
                    <a:lnTo>
                      <a:pt x="120" y="156"/>
                    </a:lnTo>
                    <a:lnTo>
                      <a:pt x="114" y="156"/>
                    </a:lnTo>
                    <a:lnTo>
                      <a:pt x="114" y="162"/>
                    </a:lnTo>
                    <a:lnTo>
                      <a:pt x="108" y="162"/>
                    </a:lnTo>
                    <a:lnTo>
                      <a:pt x="102" y="162"/>
                    </a:lnTo>
                    <a:lnTo>
                      <a:pt x="102" y="168"/>
                    </a:lnTo>
                    <a:lnTo>
                      <a:pt x="102" y="174"/>
                    </a:lnTo>
                    <a:lnTo>
                      <a:pt x="96" y="174"/>
                    </a:lnTo>
                    <a:lnTo>
                      <a:pt x="102" y="174"/>
                    </a:lnTo>
                    <a:lnTo>
                      <a:pt x="96" y="174"/>
                    </a:lnTo>
                    <a:lnTo>
                      <a:pt x="96" y="180"/>
                    </a:lnTo>
                    <a:lnTo>
                      <a:pt x="102" y="180"/>
                    </a:lnTo>
                    <a:lnTo>
                      <a:pt x="96" y="180"/>
                    </a:lnTo>
                    <a:lnTo>
                      <a:pt x="96" y="186"/>
                    </a:lnTo>
                    <a:lnTo>
                      <a:pt x="96" y="192"/>
                    </a:lnTo>
                    <a:lnTo>
                      <a:pt x="96" y="198"/>
                    </a:lnTo>
                    <a:lnTo>
                      <a:pt x="96" y="204"/>
                    </a:lnTo>
                    <a:lnTo>
                      <a:pt x="96" y="210"/>
                    </a:lnTo>
                    <a:lnTo>
                      <a:pt x="96" y="216"/>
                    </a:lnTo>
                    <a:lnTo>
                      <a:pt x="96" y="222"/>
                    </a:lnTo>
                    <a:lnTo>
                      <a:pt x="96" y="228"/>
                    </a:lnTo>
                    <a:lnTo>
                      <a:pt x="96" y="234"/>
                    </a:lnTo>
                    <a:lnTo>
                      <a:pt x="96" y="240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52"/>
                    </a:lnTo>
                    <a:lnTo>
                      <a:pt x="102" y="258"/>
                    </a:lnTo>
                    <a:lnTo>
                      <a:pt x="102" y="264"/>
                    </a:lnTo>
                    <a:lnTo>
                      <a:pt x="96" y="264"/>
                    </a:lnTo>
                    <a:lnTo>
                      <a:pt x="102" y="264"/>
                    </a:lnTo>
                    <a:lnTo>
                      <a:pt x="96" y="264"/>
                    </a:lnTo>
                    <a:lnTo>
                      <a:pt x="96" y="270"/>
                    </a:lnTo>
                    <a:lnTo>
                      <a:pt x="96" y="276"/>
                    </a:lnTo>
                    <a:lnTo>
                      <a:pt x="96" y="282"/>
                    </a:lnTo>
                    <a:lnTo>
                      <a:pt x="102" y="282"/>
                    </a:lnTo>
                    <a:lnTo>
                      <a:pt x="96" y="282"/>
                    </a:lnTo>
                    <a:lnTo>
                      <a:pt x="96" y="288"/>
                    </a:lnTo>
                    <a:lnTo>
                      <a:pt x="96" y="294"/>
                    </a:lnTo>
                    <a:lnTo>
                      <a:pt x="96" y="300"/>
                    </a:lnTo>
                    <a:lnTo>
                      <a:pt x="84" y="300"/>
                    </a:lnTo>
                    <a:lnTo>
                      <a:pt x="78" y="300"/>
                    </a:lnTo>
                    <a:lnTo>
                      <a:pt x="72" y="300"/>
                    </a:lnTo>
                    <a:lnTo>
                      <a:pt x="66" y="300"/>
                    </a:lnTo>
                    <a:lnTo>
                      <a:pt x="60" y="306"/>
                    </a:lnTo>
                    <a:lnTo>
                      <a:pt x="54" y="306"/>
                    </a:lnTo>
                    <a:lnTo>
                      <a:pt x="48" y="306"/>
                    </a:lnTo>
                    <a:lnTo>
                      <a:pt x="42" y="306"/>
                    </a:lnTo>
                    <a:lnTo>
                      <a:pt x="48" y="306"/>
                    </a:lnTo>
                    <a:lnTo>
                      <a:pt x="54" y="306"/>
                    </a:lnTo>
                    <a:lnTo>
                      <a:pt x="48" y="300"/>
                    </a:lnTo>
                    <a:lnTo>
                      <a:pt x="54" y="300"/>
                    </a:lnTo>
                    <a:lnTo>
                      <a:pt x="48" y="300"/>
                    </a:lnTo>
                    <a:lnTo>
                      <a:pt x="48" y="294"/>
                    </a:lnTo>
                    <a:lnTo>
                      <a:pt x="48" y="288"/>
                    </a:lnTo>
                    <a:lnTo>
                      <a:pt x="42" y="288"/>
                    </a:lnTo>
                    <a:lnTo>
                      <a:pt x="42" y="282"/>
                    </a:lnTo>
                    <a:lnTo>
                      <a:pt x="42" y="276"/>
                    </a:lnTo>
                    <a:lnTo>
                      <a:pt x="42" y="270"/>
                    </a:lnTo>
                    <a:lnTo>
                      <a:pt x="42" y="252"/>
                    </a:lnTo>
                    <a:lnTo>
                      <a:pt x="42" y="246"/>
                    </a:lnTo>
                    <a:lnTo>
                      <a:pt x="48" y="246"/>
                    </a:lnTo>
                    <a:lnTo>
                      <a:pt x="48" y="240"/>
                    </a:lnTo>
                    <a:lnTo>
                      <a:pt x="42" y="240"/>
                    </a:lnTo>
                    <a:lnTo>
                      <a:pt x="42" y="234"/>
                    </a:lnTo>
                    <a:lnTo>
                      <a:pt x="42" y="228"/>
                    </a:lnTo>
                    <a:lnTo>
                      <a:pt x="42" y="216"/>
                    </a:lnTo>
                    <a:lnTo>
                      <a:pt x="42" y="204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2" y="186"/>
                    </a:lnTo>
                    <a:lnTo>
                      <a:pt x="42" y="180"/>
                    </a:lnTo>
                    <a:lnTo>
                      <a:pt x="42" y="174"/>
                    </a:lnTo>
                    <a:lnTo>
                      <a:pt x="42" y="168"/>
                    </a:lnTo>
                    <a:lnTo>
                      <a:pt x="42" y="162"/>
                    </a:lnTo>
                    <a:lnTo>
                      <a:pt x="36" y="156"/>
                    </a:lnTo>
                    <a:lnTo>
                      <a:pt x="30" y="150"/>
                    </a:lnTo>
                    <a:lnTo>
                      <a:pt x="30" y="144"/>
                    </a:lnTo>
                    <a:lnTo>
                      <a:pt x="30" y="138"/>
                    </a:lnTo>
                    <a:lnTo>
                      <a:pt x="30" y="132"/>
                    </a:lnTo>
                    <a:lnTo>
                      <a:pt x="30" y="120"/>
                    </a:lnTo>
                    <a:lnTo>
                      <a:pt x="18" y="114"/>
                    </a:lnTo>
                    <a:lnTo>
                      <a:pt x="12" y="108"/>
                    </a:lnTo>
                    <a:lnTo>
                      <a:pt x="0" y="102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4"/>
                    </a:lnTo>
                    <a:lnTo>
                      <a:pt x="6" y="78"/>
                    </a:lnTo>
                    <a:lnTo>
                      <a:pt x="6" y="72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59" name="Freeform 115"/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317" y="1890"/>
                <a:ext cx="479" cy="383"/>
              </a:xfrm>
              <a:custGeom>
                <a:avLst/>
                <a:gdLst>
                  <a:gd name="T0" fmla="*/ 20 w 594"/>
                  <a:gd name="T1" fmla="*/ 28 h 474"/>
                  <a:gd name="T2" fmla="*/ 39 w 594"/>
                  <a:gd name="T3" fmla="*/ 2 h 474"/>
                  <a:gd name="T4" fmla="*/ 59 w 594"/>
                  <a:gd name="T5" fmla="*/ 0 h 474"/>
                  <a:gd name="T6" fmla="*/ 84 w 594"/>
                  <a:gd name="T7" fmla="*/ 10 h 474"/>
                  <a:gd name="T8" fmla="*/ 104 w 594"/>
                  <a:gd name="T9" fmla="*/ 12 h 474"/>
                  <a:gd name="T10" fmla="*/ 122 w 594"/>
                  <a:gd name="T11" fmla="*/ 15 h 474"/>
                  <a:gd name="T12" fmla="*/ 140 w 594"/>
                  <a:gd name="T13" fmla="*/ 21 h 474"/>
                  <a:gd name="T14" fmla="*/ 157 w 594"/>
                  <a:gd name="T15" fmla="*/ 12 h 474"/>
                  <a:gd name="T16" fmla="*/ 188 w 594"/>
                  <a:gd name="T17" fmla="*/ 10 h 474"/>
                  <a:gd name="T18" fmla="*/ 198 w 594"/>
                  <a:gd name="T19" fmla="*/ 15 h 474"/>
                  <a:gd name="T20" fmla="*/ 208 w 594"/>
                  <a:gd name="T21" fmla="*/ 12 h 474"/>
                  <a:gd name="T22" fmla="*/ 215 w 594"/>
                  <a:gd name="T23" fmla="*/ 8 h 474"/>
                  <a:gd name="T24" fmla="*/ 218 w 594"/>
                  <a:gd name="T25" fmla="*/ 8 h 474"/>
                  <a:gd name="T26" fmla="*/ 227 w 594"/>
                  <a:gd name="T27" fmla="*/ 2 h 474"/>
                  <a:gd name="T28" fmla="*/ 241 w 594"/>
                  <a:gd name="T29" fmla="*/ 31 h 474"/>
                  <a:gd name="T30" fmla="*/ 251 w 594"/>
                  <a:gd name="T31" fmla="*/ 41 h 474"/>
                  <a:gd name="T32" fmla="*/ 248 w 594"/>
                  <a:gd name="T33" fmla="*/ 51 h 474"/>
                  <a:gd name="T34" fmla="*/ 236 w 594"/>
                  <a:gd name="T35" fmla="*/ 56 h 474"/>
                  <a:gd name="T36" fmla="*/ 228 w 594"/>
                  <a:gd name="T37" fmla="*/ 69 h 474"/>
                  <a:gd name="T38" fmla="*/ 220 w 594"/>
                  <a:gd name="T39" fmla="*/ 82 h 474"/>
                  <a:gd name="T40" fmla="*/ 220 w 594"/>
                  <a:gd name="T41" fmla="*/ 90 h 474"/>
                  <a:gd name="T42" fmla="*/ 213 w 594"/>
                  <a:gd name="T43" fmla="*/ 100 h 474"/>
                  <a:gd name="T44" fmla="*/ 208 w 594"/>
                  <a:gd name="T45" fmla="*/ 110 h 474"/>
                  <a:gd name="T46" fmla="*/ 200 w 594"/>
                  <a:gd name="T47" fmla="*/ 123 h 474"/>
                  <a:gd name="T48" fmla="*/ 196 w 594"/>
                  <a:gd name="T49" fmla="*/ 136 h 474"/>
                  <a:gd name="T50" fmla="*/ 188 w 594"/>
                  <a:gd name="T51" fmla="*/ 143 h 474"/>
                  <a:gd name="T52" fmla="*/ 185 w 594"/>
                  <a:gd name="T53" fmla="*/ 151 h 474"/>
                  <a:gd name="T54" fmla="*/ 180 w 594"/>
                  <a:gd name="T55" fmla="*/ 154 h 474"/>
                  <a:gd name="T56" fmla="*/ 169 w 594"/>
                  <a:gd name="T57" fmla="*/ 145 h 474"/>
                  <a:gd name="T58" fmla="*/ 163 w 594"/>
                  <a:gd name="T59" fmla="*/ 145 h 474"/>
                  <a:gd name="T60" fmla="*/ 149 w 594"/>
                  <a:gd name="T61" fmla="*/ 151 h 474"/>
                  <a:gd name="T62" fmla="*/ 148 w 594"/>
                  <a:gd name="T63" fmla="*/ 156 h 474"/>
                  <a:gd name="T64" fmla="*/ 140 w 594"/>
                  <a:gd name="T65" fmla="*/ 161 h 474"/>
                  <a:gd name="T66" fmla="*/ 129 w 594"/>
                  <a:gd name="T67" fmla="*/ 172 h 474"/>
                  <a:gd name="T68" fmla="*/ 127 w 594"/>
                  <a:gd name="T69" fmla="*/ 187 h 474"/>
                  <a:gd name="T70" fmla="*/ 119 w 594"/>
                  <a:gd name="T71" fmla="*/ 192 h 474"/>
                  <a:gd name="T72" fmla="*/ 117 w 594"/>
                  <a:gd name="T73" fmla="*/ 196 h 474"/>
                  <a:gd name="T74" fmla="*/ 102 w 594"/>
                  <a:gd name="T75" fmla="*/ 199 h 474"/>
                  <a:gd name="T76" fmla="*/ 89 w 594"/>
                  <a:gd name="T77" fmla="*/ 199 h 474"/>
                  <a:gd name="T78" fmla="*/ 79 w 594"/>
                  <a:gd name="T79" fmla="*/ 202 h 474"/>
                  <a:gd name="T80" fmla="*/ 64 w 594"/>
                  <a:gd name="T81" fmla="*/ 196 h 474"/>
                  <a:gd name="T82" fmla="*/ 56 w 594"/>
                  <a:gd name="T83" fmla="*/ 182 h 474"/>
                  <a:gd name="T84" fmla="*/ 51 w 594"/>
                  <a:gd name="T85" fmla="*/ 172 h 474"/>
                  <a:gd name="T86" fmla="*/ 33 w 594"/>
                  <a:gd name="T87" fmla="*/ 158 h 474"/>
                  <a:gd name="T88" fmla="*/ 15 w 594"/>
                  <a:gd name="T89" fmla="*/ 158 h 474"/>
                  <a:gd name="T90" fmla="*/ 0 w 594"/>
                  <a:gd name="T91" fmla="*/ 154 h 474"/>
                  <a:gd name="T92" fmla="*/ 2 w 594"/>
                  <a:gd name="T93" fmla="*/ 143 h 474"/>
                  <a:gd name="T94" fmla="*/ 0 w 594"/>
                  <a:gd name="T95" fmla="*/ 133 h 474"/>
                  <a:gd name="T96" fmla="*/ 0 w 594"/>
                  <a:gd name="T97" fmla="*/ 115 h 474"/>
                  <a:gd name="T98" fmla="*/ 2 w 594"/>
                  <a:gd name="T99" fmla="*/ 105 h 474"/>
                  <a:gd name="T100" fmla="*/ 8 w 594"/>
                  <a:gd name="T101" fmla="*/ 97 h 474"/>
                  <a:gd name="T102" fmla="*/ 15 w 594"/>
                  <a:gd name="T103" fmla="*/ 84 h 474"/>
                  <a:gd name="T104" fmla="*/ 18 w 594"/>
                  <a:gd name="T105" fmla="*/ 74 h 474"/>
                  <a:gd name="T106" fmla="*/ 23 w 594"/>
                  <a:gd name="T107" fmla="*/ 64 h 474"/>
                  <a:gd name="T108" fmla="*/ 18 w 594"/>
                  <a:gd name="T109" fmla="*/ 46 h 47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594" h="474">
                    <a:moveTo>
                      <a:pt x="42" y="108"/>
                    </a:moveTo>
                    <a:lnTo>
                      <a:pt x="48" y="102"/>
                    </a:lnTo>
                    <a:lnTo>
                      <a:pt x="48" y="96"/>
                    </a:lnTo>
                    <a:lnTo>
                      <a:pt x="48" y="90"/>
                    </a:lnTo>
                    <a:lnTo>
                      <a:pt x="48" y="84"/>
                    </a:lnTo>
                    <a:lnTo>
                      <a:pt x="48" y="78"/>
                    </a:lnTo>
                    <a:lnTo>
                      <a:pt x="48" y="66"/>
                    </a:lnTo>
                    <a:lnTo>
                      <a:pt x="54" y="60"/>
                    </a:lnTo>
                    <a:lnTo>
                      <a:pt x="60" y="54"/>
                    </a:lnTo>
                    <a:lnTo>
                      <a:pt x="66" y="48"/>
                    </a:lnTo>
                    <a:lnTo>
                      <a:pt x="72" y="42"/>
                    </a:lnTo>
                    <a:lnTo>
                      <a:pt x="72" y="36"/>
                    </a:lnTo>
                    <a:lnTo>
                      <a:pt x="72" y="18"/>
                    </a:lnTo>
                    <a:lnTo>
                      <a:pt x="90" y="6"/>
                    </a:lnTo>
                    <a:lnTo>
                      <a:pt x="108" y="0"/>
                    </a:lnTo>
                    <a:lnTo>
                      <a:pt x="108" y="6"/>
                    </a:lnTo>
                    <a:lnTo>
                      <a:pt x="114" y="6"/>
                    </a:lnTo>
                    <a:lnTo>
                      <a:pt x="120" y="6"/>
                    </a:lnTo>
                    <a:lnTo>
                      <a:pt x="126" y="6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50" y="0"/>
                    </a:lnTo>
                    <a:lnTo>
                      <a:pt x="168" y="6"/>
                    </a:lnTo>
                    <a:lnTo>
                      <a:pt x="174" y="12"/>
                    </a:lnTo>
                    <a:lnTo>
                      <a:pt x="174" y="6"/>
                    </a:lnTo>
                    <a:lnTo>
                      <a:pt x="180" y="6"/>
                    </a:lnTo>
                    <a:lnTo>
                      <a:pt x="186" y="12"/>
                    </a:lnTo>
                    <a:lnTo>
                      <a:pt x="198" y="24"/>
                    </a:lnTo>
                    <a:lnTo>
                      <a:pt x="204" y="36"/>
                    </a:lnTo>
                    <a:lnTo>
                      <a:pt x="210" y="42"/>
                    </a:lnTo>
                    <a:lnTo>
                      <a:pt x="216" y="42"/>
                    </a:lnTo>
                    <a:lnTo>
                      <a:pt x="222" y="42"/>
                    </a:lnTo>
                    <a:lnTo>
                      <a:pt x="222" y="36"/>
                    </a:lnTo>
                    <a:lnTo>
                      <a:pt x="234" y="36"/>
                    </a:lnTo>
                    <a:lnTo>
                      <a:pt x="246" y="30"/>
                    </a:lnTo>
                    <a:lnTo>
                      <a:pt x="252" y="24"/>
                    </a:lnTo>
                    <a:lnTo>
                      <a:pt x="264" y="24"/>
                    </a:lnTo>
                    <a:lnTo>
                      <a:pt x="270" y="30"/>
                    </a:lnTo>
                    <a:lnTo>
                      <a:pt x="276" y="30"/>
                    </a:lnTo>
                    <a:lnTo>
                      <a:pt x="276" y="36"/>
                    </a:lnTo>
                    <a:lnTo>
                      <a:pt x="282" y="36"/>
                    </a:lnTo>
                    <a:lnTo>
                      <a:pt x="288" y="36"/>
                    </a:lnTo>
                    <a:lnTo>
                      <a:pt x="294" y="42"/>
                    </a:lnTo>
                    <a:lnTo>
                      <a:pt x="300" y="48"/>
                    </a:lnTo>
                    <a:lnTo>
                      <a:pt x="306" y="48"/>
                    </a:lnTo>
                    <a:lnTo>
                      <a:pt x="312" y="48"/>
                    </a:lnTo>
                    <a:lnTo>
                      <a:pt x="318" y="48"/>
                    </a:lnTo>
                    <a:lnTo>
                      <a:pt x="324" y="48"/>
                    </a:lnTo>
                    <a:lnTo>
                      <a:pt x="330" y="48"/>
                    </a:lnTo>
                    <a:lnTo>
                      <a:pt x="336" y="48"/>
                    </a:lnTo>
                    <a:lnTo>
                      <a:pt x="348" y="54"/>
                    </a:lnTo>
                    <a:lnTo>
                      <a:pt x="348" y="48"/>
                    </a:lnTo>
                    <a:lnTo>
                      <a:pt x="354" y="42"/>
                    </a:lnTo>
                    <a:lnTo>
                      <a:pt x="360" y="36"/>
                    </a:lnTo>
                    <a:lnTo>
                      <a:pt x="366" y="30"/>
                    </a:lnTo>
                    <a:lnTo>
                      <a:pt x="372" y="30"/>
                    </a:lnTo>
                    <a:lnTo>
                      <a:pt x="384" y="30"/>
                    </a:lnTo>
                    <a:lnTo>
                      <a:pt x="396" y="24"/>
                    </a:lnTo>
                    <a:lnTo>
                      <a:pt x="414" y="24"/>
                    </a:lnTo>
                    <a:lnTo>
                      <a:pt x="420" y="24"/>
                    </a:lnTo>
                    <a:lnTo>
                      <a:pt x="432" y="24"/>
                    </a:lnTo>
                    <a:lnTo>
                      <a:pt x="438" y="24"/>
                    </a:lnTo>
                    <a:lnTo>
                      <a:pt x="444" y="24"/>
                    </a:lnTo>
                    <a:lnTo>
                      <a:pt x="444" y="30"/>
                    </a:lnTo>
                    <a:lnTo>
                      <a:pt x="456" y="30"/>
                    </a:lnTo>
                    <a:lnTo>
                      <a:pt x="462" y="30"/>
                    </a:lnTo>
                    <a:lnTo>
                      <a:pt x="462" y="36"/>
                    </a:lnTo>
                    <a:lnTo>
                      <a:pt x="468" y="36"/>
                    </a:lnTo>
                    <a:lnTo>
                      <a:pt x="474" y="36"/>
                    </a:lnTo>
                    <a:lnTo>
                      <a:pt x="468" y="36"/>
                    </a:lnTo>
                    <a:lnTo>
                      <a:pt x="474" y="36"/>
                    </a:lnTo>
                    <a:lnTo>
                      <a:pt x="480" y="36"/>
                    </a:lnTo>
                    <a:lnTo>
                      <a:pt x="486" y="36"/>
                    </a:lnTo>
                    <a:lnTo>
                      <a:pt x="492" y="36"/>
                    </a:lnTo>
                    <a:lnTo>
                      <a:pt x="492" y="30"/>
                    </a:lnTo>
                    <a:lnTo>
                      <a:pt x="486" y="30"/>
                    </a:lnTo>
                    <a:lnTo>
                      <a:pt x="492" y="30"/>
                    </a:lnTo>
                    <a:lnTo>
                      <a:pt x="492" y="24"/>
                    </a:lnTo>
                    <a:lnTo>
                      <a:pt x="492" y="30"/>
                    </a:lnTo>
                    <a:lnTo>
                      <a:pt x="498" y="30"/>
                    </a:lnTo>
                    <a:lnTo>
                      <a:pt x="498" y="24"/>
                    </a:lnTo>
                    <a:lnTo>
                      <a:pt x="504" y="24"/>
                    </a:lnTo>
                    <a:lnTo>
                      <a:pt x="504" y="18"/>
                    </a:lnTo>
                    <a:lnTo>
                      <a:pt x="510" y="18"/>
                    </a:lnTo>
                    <a:lnTo>
                      <a:pt x="516" y="18"/>
                    </a:lnTo>
                    <a:lnTo>
                      <a:pt x="516" y="12"/>
                    </a:lnTo>
                    <a:lnTo>
                      <a:pt x="516" y="18"/>
                    </a:lnTo>
                    <a:lnTo>
                      <a:pt x="516" y="12"/>
                    </a:lnTo>
                    <a:lnTo>
                      <a:pt x="516" y="18"/>
                    </a:lnTo>
                    <a:lnTo>
                      <a:pt x="516" y="12"/>
                    </a:lnTo>
                    <a:lnTo>
                      <a:pt x="516" y="18"/>
                    </a:lnTo>
                    <a:lnTo>
                      <a:pt x="522" y="18"/>
                    </a:lnTo>
                    <a:lnTo>
                      <a:pt x="522" y="12"/>
                    </a:lnTo>
                    <a:lnTo>
                      <a:pt x="528" y="12"/>
                    </a:lnTo>
                    <a:lnTo>
                      <a:pt x="522" y="12"/>
                    </a:lnTo>
                    <a:lnTo>
                      <a:pt x="528" y="12"/>
                    </a:lnTo>
                    <a:lnTo>
                      <a:pt x="528" y="6"/>
                    </a:lnTo>
                    <a:lnTo>
                      <a:pt x="534" y="6"/>
                    </a:lnTo>
                    <a:lnTo>
                      <a:pt x="540" y="6"/>
                    </a:lnTo>
                    <a:lnTo>
                      <a:pt x="546" y="6"/>
                    </a:lnTo>
                    <a:lnTo>
                      <a:pt x="546" y="12"/>
                    </a:lnTo>
                    <a:lnTo>
                      <a:pt x="558" y="24"/>
                    </a:lnTo>
                    <a:lnTo>
                      <a:pt x="564" y="36"/>
                    </a:lnTo>
                    <a:lnTo>
                      <a:pt x="570" y="66"/>
                    </a:lnTo>
                    <a:lnTo>
                      <a:pt x="570" y="72"/>
                    </a:lnTo>
                    <a:lnTo>
                      <a:pt x="576" y="72"/>
                    </a:lnTo>
                    <a:lnTo>
                      <a:pt x="582" y="72"/>
                    </a:lnTo>
                    <a:lnTo>
                      <a:pt x="588" y="72"/>
                    </a:lnTo>
                    <a:lnTo>
                      <a:pt x="588" y="78"/>
                    </a:lnTo>
                    <a:lnTo>
                      <a:pt x="594" y="84"/>
                    </a:lnTo>
                    <a:lnTo>
                      <a:pt x="594" y="90"/>
                    </a:lnTo>
                    <a:lnTo>
                      <a:pt x="594" y="96"/>
                    </a:lnTo>
                    <a:lnTo>
                      <a:pt x="594" y="102"/>
                    </a:lnTo>
                    <a:lnTo>
                      <a:pt x="588" y="102"/>
                    </a:lnTo>
                    <a:lnTo>
                      <a:pt x="588" y="108"/>
                    </a:lnTo>
                    <a:lnTo>
                      <a:pt x="594" y="108"/>
                    </a:lnTo>
                    <a:lnTo>
                      <a:pt x="594" y="114"/>
                    </a:lnTo>
                    <a:lnTo>
                      <a:pt x="588" y="114"/>
                    </a:lnTo>
                    <a:lnTo>
                      <a:pt x="588" y="120"/>
                    </a:lnTo>
                    <a:lnTo>
                      <a:pt x="582" y="120"/>
                    </a:lnTo>
                    <a:lnTo>
                      <a:pt x="576" y="120"/>
                    </a:lnTo>
                    <a:lnTo>
                      <a:pt x="576" y="126"/>
                    </a:lnTo>
                    <a:lnTo>
                      <a:pt x="570" y="126"/>
                    </a:lnTo>
                    <a:lnTo>
                      <a:pt x="564" y="126"/>
                    </a:lnTo>
                    <a:lnTo>
                      <a:pt x="558" y="126"/>
                    </a:lnTo>
                    <a:lnTo>
                      <a:pt x="558" y="132"/>
                    </a:lnTo>
                    <a:lnTo>
                      <a:pt x="552" y="132"/>
                    </a:lnTo>
                    <a:lnTo>
                      <a:pt x="552" y="138"/>
                    </a:lnTo>
                    <a:lnTo>
                      <a:pt x="546" y="144"/>
                    </a:lnTo>
                    <a:lnTo>
                      <a:pt x="546" y="150"/>
                    </a:lnTo>
                    <a:lnTo>
                      <a:pt x="540" y="150"/>
                    </a:lnTo>
                    <a:lnTo>
                      <a:pt x="540" y="156"/>
                    </a:lnTo>
                    <a:lnTo>
                      <a:pt x="540" y="162"/>
                    </a:lnTo>
                    <a:lnTo>
                      <a:pt x="540" y="168"/>
                    </a:lnTo>
                    <a:lnTo>
                      <a:pt x="540" y="174"/>
                    </a:lnTo>
                    <a:lnTo>
                      <a:pt x="534" y="174"/>
                    </a:lnTo>
                    <a:lnTo>
                      <a:pt x="534" y="180"/>
                    </a:lnTo>
                    <a:lnTo>
                      <a:pt x="534" y="186"/>
                    </a:lnTo>
                    <a:lnTo>
                      <a:pt x="528" y="186"/>
                    </a:lnTo>
                    <a:lnTo>
                      <a:pt x="522" y="192"/>
                    </a:lnTo>
                    <a:lnTo>
                      <a:pt x="528" y="192"/>
                    </a:lnTo>
                    <a:lnTo>
                      <a:pt x="522" y="192"/>
                    </a:lnTo>
                    <a:lnTo>
                      <a:pt x="522" y="198"/>
                    </a:lnTo>
                    <a:lnTo>
                      <a:pt x="528" y="198"/>
                    </a:lnTo>
                    <a:lnTo>
                      <a:pt x="528" y="204"/>
                    </a:lnTo>
                    <a:lnTo>
                      <a:pt x="522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16" y="216"/>
                    </a:lnTo>
                    <a:lnTo>
                      <a:pt x="510" y="216"/>
                    </a:lnTo>
                    <a:lnTo>
                      <a:pt x="510" y="222"/>
                    </a:lnTo>
                    <a:lnTo>
                      <a:pt x="504" y="222"/>
                    </a:lnTo>
                    <a:lnTo>
                      <a:pt x="504" y="228"/>
                    </a:lnTo>
                    <a:lnTo>
                      <a:pt x="504" y="234"/>
                    </a:lnTo>
                    <a:lnTo>
                      <a:pt x="504" y="240"/>
                    </a:lnTo>
                    <a:lnTo>
                      <a:pt x="504" y="246"/>
                    </a:lnTo>
                    <a:lnTo>
                      <a:pt x="498" y="246"/>
                    </a:lnTo>
                    <a:lnTo>
                      <a:pt x="504" y="252"/>
                    </a:lnTo>
                    <a:lnTo>
                      <a:pt x="498" y="252"/>
                    </a:lnTo>
                    <a:lnTo>
                      <a:pt x="498" y="258"/>
                    </a:lnTo>
                    <a:lnTo>
                      <a:pt x="492" y="258"/>
                    </a:lnTo>
                    <a:lnTo>
                      <a:pt x="486" y="258"/>
                    </a:lnTo>
                    <a:lnTo>
                      <a:pt x="486" y="264"/>
                    </a:lnTo>
                    <a:lnTo>
                      <a:pt x="480" y="264"/>
                    </a:lnTo>
                    <a:lnTo>
                      <a:pt x="474" y="270"/>
                    </a:lnTo>
                    <a:lnTo>
                      <a:pt x="474" y="276"/>
                    </a:lnTo>
                    <a:lnTo>
                      <a:pt x="474" y="282"/>
                    </a:lnTo>
                    <a:lnTo>
                      <a:pt x="474" y="288"/>
                    </a:lnTo>
                    <a:lnTo>
                      <a:pt x="474" y="294"/>
                    </a:lnTo>
                    <a:lnTo>
                      <a:pt x="468" y="294"/>
                    </a:lnTo>
                    <a:lnTo>
                      <a:pt x="468" y="300"/>
                    </a:lnTo>
                    <a:lnTo>
                      <a:pt x="462" y="300"/>
                    </a:lnTo>
                    <a:lnTo>
                      <a:pt x="462" y="306"/>
                    </a:lnTo>
                    <a:lnTo>
                      <a:pt x="462" y="312"/>
                    </a:lnTo>
                    <a:lnTo>
                      <a:pt x="462" y="318"/>
                    </a:lnTo>
                    <a:lnTo>
                      <a:pt x="456" y="318"/>
                    </a:lnTo>
                    <a:lnTo>
                      <a:pt x="456" y="324"/>
                    </a:lnTo>
                    <a:lnTo>
                      <a:pt x="450" y="324"/>
                    </a:lnTo>
                    <a:lnTo>
                      <a:pt x="450" y="330"/>
                    </a:lnTo>
                    <a:lnTo>
                      <a:pt x="456" y="336"/>
                    </a:lnTo>
                    <a:lnTo>
                      <a:pt x="450" y="336"/>
                    </a:lnTo>
                    <a:lnTo>
                      <a:pt x="444" y="336"/>
                    </a:lnTo>
                    <a:lnTo>
                      <a:pt x="444" y="342"/>
                    </a:lnTo>
                    <a:lnTo>
                      <a:pt x="438" y="342"/>
                    </a:lnTo>
                    <a:lnTo>
                      <a:pt x="438" y="348"/>
                    </a:lnTo>
                    <a:lnTo>
                      <a:pt x="444" y="348"/>
                    </a:lnTo>
                    <a:lnTo>
                      <a:pt x="438" y="348"/>
                    </a:lnTo>
                    <a:lnTo>
                      <a:pt x="444" y="354"/>
                    </a:lnTo>
                    <a:lnTo>
                      <a:pt x="438" y="354"/>
                    </a:lnTo>
                    <a:lnTo>
                      <a:pt x="438" y="360"/>
                    </a:lnTo>
                    <a:lnTo>
                      <a:pt x="432" y="360"/>
                    </a:lnTo>
                    <a:lnTo>
                      <a:pt x="432" y="366"/>
                    </a:lnTo>
                    <a:lnTo>
                      <a:pt x="426" y="366"/>
                    </a:lnTo>
                    <a:lnTo>
                      <a:pt x="426" y="360"/>
                    </a:lnTo>
                    <a:lnTo>
                      <a:pt x="426" y="366"/>
                    </a:lnTo>
                    <a:lnTo>
                      <a:pt x="426" y="360"/>
                    </a:lnTo>
                    <a:lnTo>
                      <a:pt x="420" y="360"/>
                    </a:lnTo>
                    <a:lnTo>
                      <a:pt x="420" y="354"/>
                    </a:lnTo>
                    <a:lnTo>
                      <a:pt x="414" y="354"/>
                    </a:lnTo>
                    <a:lnTo>
                      <a:pt x="408" y="354"/>
                    </a:lnTo>
                    <a:lnTo>
                      <a:pt x="408" y="348"/>
                    </a:lnTo>
                    <a:lnTo>
                      <a:pt x="402" y="348"/>
                    </a:lnTo>
                    <a:lnTo>
                      <a:pt x="402" y="342"/>
                    </a:lnTo>
                    <a:lnTo>
                      <a:pt x="396" y="342"/>
                    </a:lnTo>
                    <a:lnTo>
                      <a:pt x="396" y="336"/>
                    </a:lnTo>
                    <a:lnTo>
                      <a:pt x="390" y="336"/>
                    </a:lnTo>
                    <a:lnTo>
                      <a:pt x="390" y="330"/>
                    </a:lnTo>
                    <a:lnTo>
                      <a:pt x="390" y="336"/>
                    </a:lnTo>
                    <a:lnTo>
                      <a:pt x="390" y="342"/>
                    </a:lnTo>
                    <a:lnTo>
                      <a:pt x="384" y="342"/>
                    </a:lnTo>
                    <a:lnTo>
                      <a:pt x="372" y="348"/>
                    </a:lnTo>
                    <a:lnTo>
                      <a:pt x="372" y="342"/>
                    </a:lnTo>
                    <a:lnTo>
                      <a:pt x="372" y="336"/>
                    </a:lnTo>
                    <a:lnTo>
                      <a:pt x="366" y="342"/>
                    </a:lnTo>
                    <a:lnTo>
                      <a:pt x="360" y="342"/>
                    </a:lnTo>
                    <a:lnTo>
                      <a:pt x="360" y="348"/>
                    </a:lnTo>
                    <a:lnTo>
                      <a:pt x="354" y="354"/>
                    </a:lnTo>
                    <a:lnTo>
                      <a:pt x="354" y="348"/>
                    </a:lnTo>
                    <a:lnTo>
                      <a:pt x="354" y="354"/>
                    </a:lnTo>
                    <a:lnTo>
                      <a:pt x="348" y="354"/>
                    </a:lnTo>
                    <a:lnTo>
                      <a:pt x="348" y="360"/>
                    </a:lnTo>
                    <a:lnTo>
                      <a:pt x="348" y="366"/>
                    </a:lnTo>
                    <a:lnTo>
                      <a:pt x="348" y="360"/>
                    </a:lnTo>
                    <a:lnTo>
                      <a:pt x="348" y="366"/>
                    </a:lnTo>
                    <a:lnTo>
                      <a:pt x="342" y="366"/>
                    </a:lnTo>
                    <a:lnTo>
                      <a:pt x="342" y="360"/>
                    </a:lnTo>
                    <a:lnTo>
                      <a:pt x="342" y="366"/>
                    </a:lnTo>
                    <a:lnTo>
                      <a:pt x="336" y="366"/>
                    </a:lnTo>
                    <a:lnTo>
                      <a:pt x="336" y="372"/>
                    </a:lnTo>
                    <a:lnTo>
                      <a:pt x="330" y="372"/>
                    </a:lnTo>
                    <a:lnTo>
                      <a:pt x="330" y="378"/>
                    </a:lnTo>
                    <a:lnTo>
                      <a:pt x="324" y="378"/>
                    </a:lnTo>
                    <a:lnTo>
                      <a:pt x="324" y="384"/>
                    </a:lnTo>
                    <a:lnTo>
                      <a:pt x="318" y="384"/>
                    </a:lnTo>
                    <a:lnTo>
                      <a:pt x="312" y="390"/>
                    </a:lnTo>
                    <a:lnTo>
                      <a:pt x="312" y="396"/>
                    </a:lnTo>
                    <a:lnTo>
                      <a:pt x="306" y="396"/>
                    </a:lnTo>
                    <a:lnTo>
                      <a:pt x="306" y="402"/>
                    </a:lnTo>
                    <a:lnTo>
                      <a:pt x="306" y="408"/>
                    </a:lnTo>
                    <a:lnTo>
                      <a:pt x="306" y="414"/>
                    </a:lnTo>
                    <a:lnTo>
                      <a:pt x="306" y="420"/>
                    </a:lnTo>
                    <a:lnTo>
                      <a:pt x="306" y="426"/>
                    </a:lnTo>
                    <a:lnTo>
                      <a:pt x="306" y="432"/>
                    </a:lnTo>
                    <a:lnTo>
                      <a:pt x="300" y="432"/>
                    </a:lnTo>
                    <a:lnTo>
                      <a:pt x="300" y="438"/>
                    </a:lnTo>
                    <a:lnTo>
                      <a:pt x="294" y="438"/>
                    </a:lnTo>
                    <a:lnTo>
                      <a:pt x="294" y="444"/>
                    </a:lnTo>
                    <a:lnTo>
                      <a:pt x="294" y="450"/>
                    </a:lnTo>
                    <a:lnTo>
                      <a:pt x="288" y="450"/>
                    </a:lnTo>
                    <a:lnTo>
                      <a:pt x="288" y="456"/>
                    </a:lnTo>
                    <a:lnTo>
                      <a:pt x="288" y="450"/>
                    </a:lnTo>
                    <a:lnTo>
                      <a:pt x="282" y="450"/>
                    </a:lnTo>
                    <a:lnTo>
                      <a:pt x="276" y="444"/>
                    </a:lnTo>
                    <a:lnTo>
                      <a:pt x="276" y="450"/>
                    </a:lnTo>
                    <a:lnTo>
                      <a:pt x="282" y="456"/>
                    </a:lnTo>
                    <a:lnTo>
                      <a:pt x="276" y="456"/>
                    </a:lnTo>
                    <a:lnTo>
                      <a:pt x="282" y="456"/>
                    </a:lnTo>
                    <a:lnTo>
                      <a:pt x="276" y="456"/>
                    </a:lnTo>
                    <a:lnTo>
                      <a:pt x="276" y="462"/>
                    </a:lnTo>
                    <a:lnTo>
                      <a:pt x="270" y="462"/>
                    </a:lnTo>
                    <a:lnTo>
                      <a:pt x="264" y="462"/>
                    </a:lnTo>
                    <a:lnTo>
                      <a:pt x="258" y="462"/>
                    </a:lnTo>
                    <a:lnTo>
                      <a:pt x="252" y="462"/>
                    </a:lnTo>
                    <a:lnTo>
                      <a:pt x="246" y="462"/>
                    </a:lnTo>
                    <a:lnTo>
                      <a:pt x="240" y="462"/>
                    </a:lnTo>
                    <a:lnTo>
                      <a:pt x="240" y="468"/>
                    </a:lnTo>
                    <a:lnTo>
                      <a:pt x="234" y="468"/>
                    </a:lnTo>
                    <a:lnTo>
                      <a:pt x="228" y="468"/>
                    </a:lnTo>
                    <a:lnTo>
                      <a:pt x="222" y="468"/>
                    </a:lnTo>
                    <a:lnTo>
                      <a:pt x="222" y="462"/>
                    </a:lnTo>
                    <a:lnTo>
                      <a:pt x="222" y="468"/>
                    </a:lnTo>
                    <a:lnTo>
                      <a:pt x="216" y="468"/>
                    </a:lnTo>
                    <a:lnTo>
                      <a:pt x="210" y="468"/>
                    </a:lnTo>
                    <a:lnTo>
                      <a:pt x="216" y="468"/>
                    </a:lnTo>
                    <a:lnTo>
                      <a:pt x="210" y="468"/>
                    </a:lnTo>
                    <a:lnTo>
                      <a:pt x="204" y="468"/>
                    </a:lnTo>
                    <a:lnTo>
                      <a:pt x="204" y="474"/>
                    </a:lnTo>
                    <a:lnTo>
                      <a:pt x="198" y="474"/>
                    </a:lnTo>
                    <a:lnTo>
                      <a:pt x="192" y="474"/>
                    </a:lnTo>
                    <a:lnTo>
                      <a:pt x="186" y="474"/>
                    </a:lnTo>
                    <a:lnTo>
                      <a:pt x="180" y="474"/>
                    </a:lnTo>
                    <a:lnTo>
                      <a:pt x="174" y="474"/>
                    </a:lnTo>
                    <a:lnTo>
                      <a:pt x="168" y="474"/>
                    </a:lnTo>
                    <a:lnTo>
                      <a:pt x="162" y="474"/>
                    </a:lnTo>
                    <a:lnTo>
                      <a:pt x="156" y="468"/>
                    </a:lnTo>
                    <a:lnTo>
                      <a:pt x="150" y="468"/>
                    </a:lnTo>
                    <a:lnTo>
                      <a:pt x="150" y="462"/>
                    </a:lnTo>
                    <a:lnTo>
                      <a:pt x="144" y="456"/>
                    </a:lnTo>
                    <a:lnTo>
                      <a:pt x="144" y="450"/>
                    </a:lnTo>
                    <a:lnTo>
                      <a:pt x="138" y="450"/>
                    </a:lnTo>
                    <a:lnTo>
                      <a:pt x="138" y="444"/>
                    </a:lnTo>
                    <a:lnTo>
                      <a:pt x="138" y="438"/>
                    </a:lnTo>
                    <a:lnTo>
                      <a:pt x="132" y="432"/>
                    </a:lnTo>
                    <a:lnTo>
                      <a:pt x="132" y="426"/>
                    </a:lnTo>
                    <a:lnTo>
                      <a:pt x="132" y="420"/>
                    </a:lnTo>
                    <a:lnTo>
                      <a:pt x="126" y="420"/>
                    </a:lnTo>
                    <a:lnTo>
                      <a:pt x="126" y="414"/>
                    </a:lnTo>
                    <a:lnTo>
                      <a:pt x="120" y="414"/>
                    </a:lnTo>
                    <a:lnTo>
                      <a:pt x="126" y="414"/>
                    </a:lnTo>
                    <a:lnTo>
                      <a:pt x="120" y="408"/>
                    </a:lnTo>
                    <a:lnTo>
                      <a:pt x="120" y="402"/>
                    </a:lnTo>
                    <a:lnTo>
                      <a:pt x="114" y="402"/>
                    </a:lnTo>
                    <a:lnTo>
                      <a:pt x="114" y="396"/>
                    </a:lnTo>
                    <a:lnTo>
                      <a:pt x="108" y="390"/>
                    </a:lnTo>
                    <a:lnTo>
                      <a:pt x="102" y="384"/>
                    </a:lnTo>
                    <a:lnTo>
                      <a:pt x="90" y="372"/>
                    </a:lnTo>
                    <a:lnTo>
                      <a:pt x="84" y="372"/>
                    </a:lnTo>
                    <a:lnTo>
                      <a:pt x="78" y="372"/>
                    </a:lnTo>
                    <a:lnTo>
                      <a:pt x="66" y="366"/>
                    </a:lnTo>
                    <a:lnTo>
                      <a:pt x="60" y="366"/>
                    </a:lnTo>
                    <a:lnTo>
                      <a:pt x="54" y="366"/>
                    </a:lnTo>
                    <a:lnTo>
                      <a:pt x="48" y="366"/>
                    </a:lnTo>
                    <a:lnTo>
                      <a:pt x="42" y="366"/>
                    </a:lnTo>
                    <a:lnTo>
                      <a:pt x="36" y="366"/>
                    </a:lnTo>
                    <a:lnTo>
                      <a:pt x="36" y="372"/>
                    </a:lnTo>
                    <a:lnTo>
                      <a:pt x="30" y="372"/>
                    </a:lnTo>
                    <a:lnTo>
                      <a:pt x="24" y="372"/>
                    </a:lnTo>
                    <a:lnTo>
                      <a:pt x="12" y="372"/>
                    </a:lnTo>
                    <a:lnTo>
                      <a:pt x="6" y="372"/>
                    </a:lnTo>
                    <a:lnTo>
                      <a:pt x="0" y="372"/>
                    </a:lnTo>
                    <a:lnTo>
                      <a:pt x="0" y="366"/>
                    </a:lnTo>
                    <a:lnTo>
                      <a:pt x="0" y="360"/>
                    </a:lnTo>
                    <a:lnTo>
                      <a:pt x="0" y="354"/>
                    </a:lnTo>
                    <a:lnTo>
                      <a:pt x="6" y="354"/>
                    </a:lnTo>
                    <a:lnTo>
                      <a:pt x="0" y="354"/>
                    </a:lnTo>
                    <a:lnTo>
                      <a:pt x="0" y="348"/>
                    </a:lnTo>
                    <a:lnTo>
                      <a:pt x="0" y="342"/>
                    </a:lnTo>
                    <a:lnTo>
                      <a:pt x="0" y="336"/>
                    </a:lnTo>
                    <a:lnTo>
                      <a:pt x="6" y="336"/>
                    </a:lnTo>
                    <a:lnTo>
                      <a:pt x="0" y="336"/>
                    </a:lnTo>
                    <a:lnTo>
                      <a:pt x="6" y="336"/>
                    </a:lnTo>
                    <a:lnTo>
                      <a:pt x="6" y="330"/>
                    </a:lnTo>
                    <a:lnTo>
                      <a:pt x="0" y="324"/>
                    </a:lnTo>
                    <a:lnTo>
                      <a:pt x="0" y="318"/>
                    </a:lnTo>
                    <a:lnTo>
                      <a:pt x="6" y="318"/>
                    </a:lnTo>
                    <a:lnTo>
                      <a:pt x="0" y="312"/>
                    </a:lnTo>
                    <a:lnTo>
                      <a:pt x="0" y="306"/>
                    </a:lnTo>
                    <a:lnTo>
                      <a:pt x="0" y="300"/>
                    </a:lnTo>
                    <a:lnTo>
                      <a:pt x="0" y="294"/>
                    </a:lnTo>
                    <a:lnTo>
                      <a:pt x="0" y="288"/>
                    </a:lnTo>
                    <a:lnTo>
                      <a:pt x="0" y="282"/>
                    </a:lnTo>
                    <a:lnTo>
                      <a:pt x="0" y="276"/>
                    </a:lnTo>
                    <a:lnTo>
                      <a:pt x="0" y="270"/>
                    </a:lnTo>
                    <a:lnTo>
                      <a:pt x="0" y="264"/>
                    </a:lnTo>
                    <a:lnTo>
                      <a:pt x="0" y="258"/>
                    </a:lnTo>
                    <a:lnTo>
                      <a:pt x="0" y="252"/>
                    </a:lnTo>
                    <a:lnTo>
                      <a:pt x="6" y="252"/>
                    </a:lnTo>
                    <a:lnTo>
                      <a:pt x="0" y="252"/>
                    </a:lnTo>
                    <a:lnTo>
                      <a:pt x="0" y="246"/>
                    </a:lnTo>
                    <a:lnTo>
                      <a:pt x="6" y="246"/>
                    </a:lnTo>
                    <a:lnTo>
                      <a:pt x="0" y="246"/>
                    </a:lnTo>
                    <a:lnTo>
                      <a:pt x="6" y="246"/>
                    </a:lnTo>
                    <a:lnTo>
                      <a:pt x="6" y="240"/>
                    </a:lnTo>
                    <a:lnTo>
                      <a:pt x="6" y="234"/>
                    </a:lnTo>
                    <a:lnTo>
                      <a:pt x="12" y="234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24" y="228"/>
                    </a:lnTo>
                    <a:lnTo>
                      <a:pt x="24" y="222"/>
                    </a:lnTo>
                    <a:lnTo>
                      <a:pt x="24" y="216"/>
                    </a:lnTo>
                    <a:lnTo>
                      <a:pt x="30" y="210"/>
                    </a:lnTo>
                    <a:lnTo>
                      <a:pt x="30" y="204"/>
                    </a:lnTo>
                    <a:lnTo>
                      <a:pt x="30" y="198"/>
                    </a:lnTo>
                    <a:lnTo>
                      <a:pt x="36" y="198"/>
                    </a:lnTo>
                    <a:lnTo>
                      <a:pt x="42" y="198"/>
                    </a:lnTo>
                    <a:lnTo>
                      <a:pt x="42" y="192"/>
                    </a:lnTo>
                    <a:lnTo>
                      <a:pt x="48" y="192"/>
                    </a:lnTo>
                    <a:lnTo>
                      <a:pt x="48" y="186"/>
                    </a:lnTo>
                    <a:lnTo>
                      <a:pt x="48" y="180"/>
                    </a:lnTo>
                    <a:lnTo>
                      <a:pt x="42" y="180"/>
                    </a:lnTo>
                    <a:lnTo>
                      <a:pt x="42" y="174"/>
                    </a:lnTo>
                    <a:lnTo>
                      <a:pt x="48" y="174"/>
                    </a:lnTo>
                    <a:lnTo>
                      <a:pt x="48" y="168"/>
                    </a:lnTo>
                    <a:lnTo>
                      <a:pt x="54" y="168"/>
                    </a:lnTo>
                    <a:lnTo>
                      <a:pt x="54" y="162"/>
                    </a:lnTo>
                    <a:lnTo>
                      <a:pt x="60" y="162"/>
                    </a:lnTo>
                    <a:lnTo>
                      <a:pt x="54" y="156"/>
                    </a:lnTo>
                    <a:lnTo>
                      <a:pt x="54" y="150"/>
                    </a:lnTo>
                    <a:lnTo>
                      <a:pt x="54" y="144"/>
                    </a:lnTo>
                    <a:lnTo>
                      <a:pt x="54" y="138"/>
                    </a:lnTo>
                    <a:lnTo>
                      <a:pt x="48" y="138"/>
                    </a:lnTo>
                    <a:lnTo>
                      <a:pt x="48" y="132"/>
                    </a:lnTo>
                    <a:lnTo>
                      <a:pt x="42" y="126"/>
                    </a:lnTo>
                    <a:lnTo>
                      <a:pt x="42" y="114"/>
                    </a:lnTo>
                    <a:lnTo>
                      <a:pt x="42" y="108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60" name="Freeform 116"/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534" y="1890"/>
                <a:ext cx="121" cy="30"/>
              </a:xfrm>
              <a:custGeom>
                <a:avLst/>
                <a:gdLst>
                  <a:gd name="T0" fmla="*/ 23 w 150"/>
                  <a:gd name="T1" fmla="*/ 6 h 36"/>
                  <a:gd name="T2" fmla="*/ 31 w 150"/>
                  <a:gd name="T3" fmla="*/ 3 h 36"/>
                  <a:gd name="T4" fmla="*/ 33 w 150"/>
                  <a:gd name="T5" fmla="*/ 0 h 36"/>
                  <a:gd name="T6" fmla="*/ 35 w 150"/>
                  <a:gd name="T7" fmla="*/ 3 h 36"/>
                  <a:gd name="T8" fmla="*/ 39 w 150"/>
                  <a:gd name="T9" fmla="*/ 0 h 36"/>
                  <a:gd name="T10" fmla="*/ 43 w 150"/>
                  <a:gd name="T11" fmla="*/ 3 h 36"/>
                  <a:gd name="T12" fmla="*/ 45 w 150"/>
                  <a:gd name="T13" fmla="*/ 6 h 36"/>
                  <a:gd name="T14" fmla="*/ 51 w 150"/>
                  <a:gd name="T15" fmla="*/ 6 h 36"/>
                  <a:gd name="T16" fmla="*/ 53 w 150"/>
                  <a:gd name="T17" fmla="*/ 9 h 36"/>
                  <a:gd name="T18" fmla="*/ 59 w 150"/>
                  <a:gd name="T19" fmla="*/ 6 h 36"/>
                  <a:gd name="T20" fmla="*/ 64 w 150"/>
                  <a:gd name="T21" fmla="*/ 9 h 36"/>
                  <a:gd name="T22" fmla="*/ 61 w 150"/>
                  <a:gd name="T23" fmla="*/ 12 h 36"/>
                  <a:gd name="T24" fmla="*/ 59 w 150"/>
                  <a:gd name="T25" fmla="*/ 15 h 36"/>
                  <a:gd name="T26" fmla="*/ 53 w 150"/>
                  <a:gd name="T27" fmla="*/ 15 h 36"/>
                  <a:gd name="T28" fmla="*/ 51 w 150"/>
                  <a:gd name="T29" fmla="*/ 12 h 36"/>
                  <a:gd name="T30" fmla="*/ 45 w 150"/>
                  <a:gd name="T31" fmla="*/ 12 h 36"/>
                  <a:gd name="T32" fmla="*/ 43 w 150"/>
                  <a:gd name="T33" fmla="*/ 9 h 36"/>
                  <a:gd name="T34" fmla="*/ 39 w 150"/>
                  <a:gd name="T35" fmla="*/ 9 h 36"/>
                  <a:gd name="T36" fmla="*/ 35 w 150"/>
                  <a:gd name="T37" fmla="*/ 6 h 36"/>
                  <a:gd name="T38" fmla="*/ 35 w 150"/>
                  <a:gd name="T39" fmla="*/ 12 h 36"/>
                  <a:gd name="T40" fmla="*/ 31 w 150"/>
                  <a:gd name="T41" fmla="*/ 12 h 36"/>
                  <a:gd name="T42" fmla="*/ 25 w 150"/>
                  <a:gd name="T43" fmla="*/ 12 h 36"/>
                  <a:gd name="T44" fmla="*/ 23 w 150"/>
                  <a:gd name="T45" fmla="*/ 18 h 36"/>
                  <a:gd name="T46" fmla="*/ 10 w 150"/>
                  <a:gd name="T47" fmla="*/ 18 h 36"/>
                  <a:gd name="T48" fmla="*/ 2 w 150"/>
                  <a:gd name="T49" fmla="*/ 15 h 36"/>
                  <a:gd name="T50" fmla="*/ 0 w 150"/>
                  <a:gd name="T51" fmla="*/ 12 h 36"/>
                  <a:gd name="T52" fmla="*/ 2 w 150"/>
                  <a:gd name="T53" fmla="*/ 9 h 36"/>
                  <a:gd name="T54" fmla="*/ 5 w 150"/>
                  <a:gd name="T55" fmla="*/ 12 h 36"/>
                  <a:gd name="T56" fmla="*/ 10 w 150"/>
                  <a:gd name="T57" fmla="*/ 15 h 36"/>
                  <a:gd name="T58" fmla="*/ 15 w 150"/>
                  <a:gd name="T59" fmla="*/ 12 h 36"/>
                  <a:gd name="T60" fmla="*/ 15 w 150"/>
                  <a:gd name="T61" fmla="*/ 12 h 36"/>
                  <a:gd name="T62" fmla="*/ 18 w 150"/>
                  <a:gd name="T63" fmla="*/ 9 h 36"/>
                  <a:gd name="T64" fmla="*/ 18 w 150"/>
                  <a:gd name="T65" fmla="*/ 9 h 36"/>
                  <a:gd name="T66" fmla="*/ 23 w 150"/>
                  <a:gd name="T67" fmla="*/ 9 h 36"/>
                  <a:gd name="T68" fmla="*/ 28 w 150"/>
                  <a:gd name="T69" fmla="*/ 9 h 36"/>
                  <a:gd name="T70" fmla="*/ 23 w 150"/>
                  <a:gd name="T71" fmla="*/ 9 h 36"/>
                  <a:gd name="T72" fmla="*/ 18 w 150"/>
                  <a:gd name="T73" fmla="*/ 9 h 36"/>
                  <a:gd name="T74" fmla="*/ 12 w 150"/>
                  <a:gd name="T75" fmla="*/ 12 h 36"/>
                  <a:gd name="T76" fmla="*/ 8 w 150"/>
                  <a:gd name="T77" fmla="*/ 12 h 36"/>
                  <a:gd name="T78" fmla="*/ 8 w 150"/>
                  <a:gd name="T79" fmla="*/ 6 h 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50" h="36">
                    <a:moveTo>
                      <a:pt x="18" y="12"/>
                    </a:moveTo>
                    <a:lnTo>
                      <a:pt x="54" y="12"/>
                    </a:lnTo>
                    <a:lnTo>
                      <a:pt x="66" y="12"/>
                    </a:lnTo>
                    <a:lnTo>
                      <a:pt x="72" y="6"/>
                    </a:lnTo>
                    <a:lnTo>
                      <a:pt x="78" y="6"/>
                    </a:lnTo>
                    <a:lnTo>
                      <a:pt x="78" y="0"/>
                    </a:lnTo>
                    <a:lnTo>
                      <a:pt x="78" y="6"/>
                    </a:lnTo>
                    <a:lnTo>
                      <a:pt x="84" y="6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02" y="6"/>
                    </a:lnTo>
                    <a:lnTo>
                      <a:pt x="102" y="12"/>
                    </a:lnTo>
                    <a:lnTo>
                      <a:pt x="108" y="12"/>
                    </a:lnTo>
                    <a:lnTo>
                      <a:pt x="114" y="12"/>
                    </a:lnTo>
                    <a:lnTo>
                      <a:pt x="120" y="12"/>
                    </a:lnTo>
                    <a:lnTo>
                      <a:pt x="120" y="18"/>
                    </a:lnTo>
                    <a:lnTo>
                      <a:pt x="126" y="18"/>
                    </a:lnTo>
                    <a:lnTo>
                      <a:pt x="132" y="18"/>
                    </a:lnTo>
                    <a:lnTo>
                      <a:pt x="138" y="12"/>
                    </a:lnTo>
                    <a:lnTo>
                      <a:pt x="144" y="12"/>
                    </a:lnTo>
                    <a:lnTo>
                      <a:pt x="150" y="18"/>
                    </a:lnTo>
                    <a:lnTo>
                      <a:pt x="150" y="24"/>
                    </a:lnTo>
                    <a:lnTo>
                      <a:pt x="144" y="24"/>
                    </a:lnTo>
                    <a:lnTo>
                      <a:pt x="144" y="30"/>
                    </a:lnTo>
                    <a:lnTo>
                      <a:pt x="138" y="30"/>
                    </a:lnTo>
                    <a:lnTo>
                      <a:pt x="132" y="30"/>
                    </a:lnTo>
                    <a:lnTo>
                      <a:pt x="126" y="30"/>
                    </a:lnTo>
                    <a:lnTo>
                      <a:pt x="120" y="30"/>
                    </a:lnTo>
                    <a:lnTo>
                      <a:pt x="120" y="24"/>
                    </a:lnTo>
                    <a:lnTo>
                      <a:pt x="114" y="24"/>
                    </a:lnTo>
                    <a:lnTo>
                      <a:pt x="108" y="24"/>
                    </a:lnTo>
                    <a:lnTo>
                      <a:pt x="102" y="24"/>
                    </a:lnTo>
                    <a:lnTo>
                      <a:pt x="102" y="18"/>
                    </a:lnTo>
                    <a:lnTo>
                      <a:pt x="96" y="18"/>
                    </a:lnTo>
                    <a:lnTo>
                      <a:pt x="90" y="18"/>
                    </a:lnTo>
                    <a:lnTo>
                      <a:pt x="90" y="12"/>
                    </a:lnTo>
                    <a:lnTo>
                      <a:pt x="84" y="12"/>
                    </a:lnTo>
                    <a:lnTo>
                      <a:pt x="84" y="18"/>
                    </a:lnTo>
                    <a:lnTo>
                      <a:pt x="84" y="24"/>
                    </a:lnTo>
                    <a:lnTo>
                      <a:pt x="78" y="24"/>
                    </a:lnTo>
                    <a:lnTo>
                      <a:pt x="72" y="24"/>
                    </a:lnTo>
                    <a:lnTo>
                      <a:pt x="66" y="24"/>
                    </a:lnTo>
                    <a:lnTo>
                      <a:pt x="60" y="24"/>
                    </a:lnTo>
                    <a:lnTo>
                      <a:pt x="54" y="24"/>
                    </a:lnTo>
                    <a:lnTo>
                      <a:pt x="54" y="36"/>
                    </a:lnTo>
                    <a:lnTo>
                      <a:pt x="42" y="36"/>
                    </a:lnTo>
                    <a:lnTo>
                      <a:pt x="24" y="36"/>
                    </a:lnTo>
                    <a:lnTo>
                      <a:pt x="6" y="36"/>
                    </a:lnTo>
                    <a:lnTo>
                      <a:pt x="6" y="30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6" y="24"/>
                    </a:lnTo>
                    <a:lnTo>
                      <a:pt x="6" y="18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30" y="24"/>
                    </a:lnTo>
                    <a:lnTo>
                      <a:pt x="36" y="24"/>
                    </a:lnTo>
                    <a:lnTo>
                      <a:pt x="36" y="18"/>
                    </a:lnTo>
                    <a:lnTo>
                      <a:pt x="36" y="24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42" y="18"/>
                    </a:lnTo>
                    <a:lnTo>
                      <a:pt x="48" y="18"/>
                    </a:lnTo>
                    <a:lnTo>
                      <a:pt x="54" y="18"/>
                    </a:lnTo>
                    <a:lnTo>
                      <a:pt x="60" y="18"/>
                    </a:lnTo>
                    <a:lnTo>
                      <a:pt x="66" y="18"/>
                    </a:lnTo>
                    <a:lnTo>
                      <a:pt x="60" y="18"/>
                    </a:lnTo>
                    <a:lnTo>
                      <a:pt x="54" y="18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36" y="18"/>
                    </a:lnTo>
                    <a:lnTo>
                      <a:pt x="30" y="24"/>
                    </a:lnTo>
                    <a:lnTo>
                      <a:pt x="24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6350" cmpd="sng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661" name="Freeform 117"/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538" y="1939"/>
                <a:ext cx="126" cy="68"/>
              </a:xfrm>
              <a:custGeom>
                <a:avLst/>
                <a:gdLst>
                  <a:gd name="T0" fmla="*/ 5 w 156"/>
                  <a:gd name="T1" fmla="*/ 5 h 84"/>
                  <a:gd name="T2" fmla="*/ 12 w 156"/>
                  <a:gd name="T3" fmla="*/ 2 h 84"/>
                  <a:gd name="T4" fmla="*/ 23 w 156"/>
                  <a:gd name="T5" fmla="*/ 5 h 84"/>
                  <a:gd name="T6" fmla="*/ 31 w 156"/>
                  <a:gd name="T7" fmla="*/ 0 h 84"/>
                  <a:gd name="T8" fmla="*/ 41 w 156"/>
                  <a:gd name="T9" fmla="*/ 0 h 84"/>
                  <a:gd name="T10" fmla="*/ 66 w 156"/>
                  <a:gd name="T11" fmla="*/ 2 h 84"/>
                  <a:gd name="T12" fmla="*/ 64 w 156"/>
                  <a:gd name="T13" fmla="*/ 8 h 84"/>
                  <a:gd name="T14" fmla="*/ 59 w 156"/>
                  <a:gd name="T15" fmla="*/ 10 h 84"/>
                  <a:gd name="T16" fmla="*/ 64 w 156"/>
                  <a:gd name="T17" fmla="*/ 12 h 84"/>
                  <a:gd name="T18" fmla="*/ 64 w 156"/>
                  <a:gd name="T19" fmla="*/ 21 h 84"/>
                  <a:gd name="T20" fmla="*/ 61 w 156"/>
                  <a:gd name="T21" fmla="*/ 21 h 84"/>
                  <a:gd name="T22" fmla="*/ 53 w 156"/>
                  <a:gd name="T23" fmla="*/ 21 h 84"/>
                  <a:gd name="T24" fmla="*/ 43 w 156"/>
                  <a:gd name="T25" fmla="*/ 23 h 84"/>
                  <a:gd name="T26" fmla="*/ 41 w 156"/>
                  <a:gd name="T27" fmla="*/ 28 h 84"/>
                  <a:gd name="T28" fmla="*/ 36 w 156"/>
                  <a:gd name="T29" fmla="*/ 36 h 84"/>
                  <a:gd name="T30" fmla="*/ 36 w 156"/>
                  <a:gd name="T31" fmla="*/ 31 h 84"/>
                  <a:gd name="T32" fmla="*/ 33 w 156"/>
                  <a:gd name="T33" fmla="*/ 31 h 84"/>
                  <a:gd name="T34" fmla="*/ 31 w 156"/>
                  <a:gd name="T35" fmla="*/ 31 h 84"/>
                  <a:gd name="T36" fmla="*/ 28 w 156"/>
                  <a:gd name="T37" fmla="*/ 31 h 84"/>
                  <a:gd name="T38" fmla="*/ 31 w 156"/>
                  <a:gd name="T39" fmla="*/ 26 h 84"/>
                  <a:gd name="T40" fmla="*/ 26 w 156"/>
                  <a:gd name="T41" fmla="*/ 28 h 84"/>
                  <a:gd name="T42" fmla="*/ 26 w 156"/>
                  <a:gd name="T43" fmla="*/ 26 h 84"/>
                  <a:gd name="T44" fmla="*/ 28 w 156"/>
                  <a:gd name="T45" fmla="*/ 23 h 84"/>
                  <a:gd name="T46" fmla="*/ 31 w 156"/>
                  <a:gd name="T47" fmla="*/ 23 h 84"/>
                  <a:gd name="T48" fmla="*/ 33 w 156"/>
                  <a:gd name="T49" fmla="*/ 23 h 84"/>
                  <a:gd name="T50" fmla="*/ 33 w 156"/>
                  <a:gd name="T51" fmla="*/ 21 h 84"/>
                  <a:gd name="T52" fmla="*/ 33 w 156"/>
                  <a:gd name="T53" fmla="*/ 23 h 84"/>
                  <a:gd name="T54" fmla="*/ 36 w 156"/>
                  <a:gd name="T55" fmla="*/ 23 h 84"/>
                  <a:gd name="T56" fmla="*/ 36 w 156"/>
                  <a:gd name="T57" fmla="*/ 21 h 84"/>
                  <a:gd name="T58" fmla="*/ 33 w 156"/>
                  <a:gd name="T59" fmla="*/ 21 h 84"/>
                  <a:gd name="T60" fmla="*/ 31 w 156"/>
                  <a:gd name="T61" fmla="*/ 21 h 84"/>
                  <a:gd name="T62" fmla="*/ 33 w 156"/>
                  <a:gd name="T63" fmla="*/ 21 h 84"/>
                  <a:gd name="T64" fmla="*/ 33 w 156"/>
                  <a:gd name="T65" fmla="*/ 19 h 84"/>
                  <a:gd name="T66" fmla="*/ 31 w 156"/>
                  <a:gd name="T67" fmla="*/ 21 h 84"/>
                  <a:gd name="T68" fmla="*/ 28 w 156"/>
                  <a:gd name="T69" fmla="*/ 21 h 84"/>
                  <a:gd name="T70" fmla="*/ 28 w 156"/>
                  <a:gd name="T71" fmla="*/ 21 h 84"/>
                  <a:gd name="T72" fmla="*/ 26 w 156"/>
                  <a:gd name="T73" fmla="*/ 21 h 84"/>
                  <a:gd name="T74" fmla="*/ 28 w 156"/>
                  <a:gd name="T75" fmla="*/ 15 h 84"/>
                  <a:gd name="T76" fmla="*/ 36 w 156"/>
                  <a:gd name="T77" fmla="*/ 15 h 84"/>
                  <a:gd name="T78" fmla="*/ 33 w 156"/>
                  <a:gd name="T79" fmla="*/ 15 h 84"/>
                  <a:gd name="T80" fmla="*/ 28 w 156"/>
                  <a:gd name="T81" fmla="*/ 15 h 84"/>
                  <a:gd name="T82" fmla="*/ 21 w 156"/>
                  <a:gd name="T83" fmla="*/ 19 h 84"/>
                  <a:gd name="T84" fmla="*/ 18 w 156"/>
                  <a:gd name="T85" fmla="*/ 19 h 84"/>
                  <a:gd name="T86" fmla="*/ 12 w 156"/>
                  <a:gd name="T87" fmla="*/ 15 h 84"/>
                  <a:gd name="T88" fmla="*/ 8 w 156"/>
                  <a:gd name="T89" fmla="*/ 12 h 84"/>
                  <a:gd name="T90" fmla="*/ 10 w 156"/>
                  <a:gd name="T91" fmla="*/ 8 h 84"/>
                  <a:gd name="T92" fmla="*/ 8 w 156"/>
                  <a:gd name="T93" fmla="*/ 10 h 84"/>
                  <a:gd name="T94" fmla="*/ 2 w 156"/>
                  <a:gd name="T95" fmla="*/ 8 h 84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56" h="84">
                    <a:moveTo>
                      <a:pt x="0" y="12"/>
                    </a:moveTo>
                    <a:lnTo>
                      <a:pt x="6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24" y="6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42" y="12"/>
                    </a:lnTo>
                    <a:lnTo>
                      <a:pt x="54" y="12"/>
                    </a:lnTo>
                    <a:lnTo>
                      <a:pt x="60" y="6"/>
                    </a:lnTo>
                    <a:lnTo>
                      <a:pt x="66" y="6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6" y="0"/>
                    </a:lnTo>
                    <a:lnTo>
                      <a:pt x="150" y="0"/>
                    </a:lnTo>
                    <a:lnTo>
                      <a:pt x="150" y="6"/>
                    </a:lnTo>
                    <a:lnTo>
                      <a:pt x="156" y="6"/>
                    </a:lnTo>
                    <a:lnTo>
                      <a:pt x="156" y="12"/>
                    </a:lnTo>
                    <a:lnTo>
                      <a:pt x="156" y="18"/>
                    </a:lnTo>
                    <a:lnTo>
                      <a:pt x="150" y="18"/>
                    </a:lnTo>
                    <a:lnTo>
                      <a:pt x="144" y="18"/>
                    </a:lnTo>
                    <a:lnTo>
                      <a:pt x="138" y="18"/>
                    </a:lnTo>
                    <a:lnTo>
                      <a:pt x="138" y="24"/>
                    </a:lnTo>
                    <a:lnTo>
                      <a:pt x="144" y="24"/>
                    </a:lnTo>
                    <a:lnTo>
                      <a:pt x="144" y="30"/>
                    </a:lnTo>
                    <a:lnTo>
                      <a:pt x="150" y="30"/>
                    </a:lnTo>
                    <a:lnTo>
                      <a:pt x="150" y="36"/>
                    </a:lnTo>
                    <a:lnTo>
                      <a:pt x="150" y="42"/>
                    </a:lnTo>
                    <a:lnTo>
                      <a:pt x="150" y="48"/>
                    </a:lnTo>
                    <a:lnTo>
                      <a:pt x="144" y="48"/>
                    </a:lnTo>
                    <a:lnTo>
                      <a:pt x="144" y="42"/>
                    </a:lnTo>
                    <a:lnTo>
                      <a:pt x="144" y="48"/>
                    </a:lnTo>
                    <a:lnTo>
                      <a:pt x="138" y="48"/>
                    </a:lnTo>
                    <a:lnTo>
                      <a:pt x="132" y="48"/>
                    </a:lnTo>
                    <a:lnTo>
                      <a:pt x="126" y="48"/>
                    </a:lnTo>
                    <a:lnTo>
                      <a:pt x="120" y="48"/>
                    </a:lnTo>
                    <a:lnTo>
                      <a:pt x="108" y="54"/>
                    </a:lnTo>
                    <a:lnTo>
                      <a:pt x="102" y="54"/>
                    </a:lnTo>
                    <a:lnTo>
                      <a:pt x="102" y="60"/>
                    </a:lnTo>
                    <a:lnTo>
                      <a:pt x="96" y="60"/>
                    </a:lnTo>
                    <a:lnTo>
                      <a:pt x="96" y="66"/>
                    </a:lnTo>
                    <a:lnTo>
                      <a:pt x="90" y="78"/>
                    </a:lnTo>
                    <a:lnTo>
                      <a:pt x="90" y="84"/>
                    </a:lnTo>
                    <a:lnTo>
                      <a:pt x="84" y="84"/>
                    </a:lnTo>
                    <a:lnTo>
                      <a:pt x="78" y="84"/>
                    </a:lnTo>
                    <a:lnTo>
                      <a:pt x="84" y="78"/>
                    </a:lnTo>
                    <a:lnTo>
                      <a:pt x="84" y="72"/>
                    </a:lnTo>
                    <a:lnTo>
                      <a:pt x="90" y="72"/>
                    </a:lnTo>
                    <a:lnTo>
                      <a:pt x="84" y="72"/>
                    </a:lnTo>
                    <a:lnTo>
                      <a:pt x="78" y="72"/>
                    </a:lnTo>
                    <a:lnTo>
                      <a:pt x="78" y="78"/>
                    </a:lnTo>
                    <a:lnTo>
                      <a:pt x="78" y="72"/>
                    </a:lnTo>
                    <a:lnTo>
                      <a:pt x="72" y="72"/>
                    </a:lnTo>
                    <a:lnTo>
                      <a:pt x="78" y="72"/>
                    </a:lnTo>
                    <a:lnTo>
                      <a:pt x="72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60"/>
                    </a:lnTo>
                    <a:lnTo>
                      <a:pt x="72" y="60"/>
                    </a:lnTo>
                    <a:lnTo>
                      <a:pt x="66" y="60"/>
                    </a:lnTo>
                    <a:lnTo>
                      <a:pt x="66" y="66"/>
                    </a:lnTo>
                    <a:lnTo>
                      <a:pt x="60" y="66"/>
                    </a:lnTo>
                    <a:lnTo>
                      <a:pt x="60" y="60"/>
                    </a:lnTo>
                    <a:lnTo>
                      <a:pt x="66" y="60"/>
                    </a:lnTo>
                    <a:lnTo>
                      <a:pt x="60" y="60"/>
                    </a:lnTo>
                    <a:lnTo>
                      <a:pt x="66" y="54"/>
                    </a:lnTo>
                    <a:lnTo>
                      <a:pt x="66" y="60"/>
                    </a:lnTo>
                    <a:lnTo>
                      <a:pt x="66" y="54"/>
                    </a:lnTo>
                    <a:lnTo>
                      <a:pt x="72" y="54"/>
                    </a:lnTo>
                    <a:lnTo>
                      <a:pt x="72" y="48"/>
                    </a:lnTo>
                    <a:lnTo>
                      <a:pt x="72" y="54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84" y="48"/>
                    </a:lnTo>
                    <a:lnTo>
                      <a:pt x="84" y="54"/>
                    </a:lnTo>
                    <a:lnTo>
                      <a:pt x="78" y="54"/>
                    </a:lnTo>
                    <a:lnTo>
                      <a:pt x="84" y="54"/>
                    </a:lnTo>
                    <a:lnTo>
                      <a:pt x="90" y="54"/>
                    </a:lnTo>
                    <a:lnTo>
                      <a:pt x="84" y="54"/>
                    </a:lnTo>
                    <a:lnTo>
                      <a:pt x="84" y="48"/>
                    </a:lnTo>
                    <a:lnTo>
                      <a:pt x="90" y="48"/>
                    </a:lnTo>
                    <a:lnTo>
                      <a:pt x="84" y="48"/>
                    </a:lnTo>
                    <a:lnTo>
                      <a:pt x="84" y="54"/>
                    </a:lnTo>
                    <a:lnTo>
                      <a:pt x="84" y="48"/>
                    </a:lnTo>
                    <a:lnTo>
                      <a:pt x="78" y="48"/>
                    </a:lnTo>
                    <a:lnTo>
                      <a:pt x="84" y="48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8" y="48"/>
                    </a:lnTo>
                    <a:lnTo>
                      <a:pt x="78" y="42"/>
                    </a:lnTo>
                    <a:lnTo>
                      <a:pt x="78" y="48"/>
                    </a:lnTo>
                    <a:lnTo>
                      <a:pt x="78" y="42"/>
                    </a:lnTo>
                    <a:lnTo>
                      <a:pt x="72" y="42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2" y="48"/>
                    </a:lnTo>
                    <a:lnTo>
                      <a:pt x="66" y="48"/>
                    </a:lnTo>
                    <a:lnTo>
                      <a:pt x="72" y="54"/>
                    </a:lnTo>
                    <a:lnTo>
                      <a:pt x="66" y="54"/>
                    </a:lnTo>
                    <a:lnTo>
                      <a:pt x="66" y="48"/>
                    </a:lnTo>
                    <a:lnTo>
                      <a:pt x="66" y="54"/>
                    </a:lnTo>
                    <a:lnTo>
                      <a:pt x="66" y="48"/>
                    </a:lnTo>
                    <a:lnTo>
                      <a:pt x="60" y="48"/>
                    </a:lnTo>
                    <a:lnTo>
                      <a:pt x="60" y="42"/>
                    </a:lnTo>
                    <a:lnTo>
                      <a:pt x="66" y="42"/>
                    </a:lnTo>
                    <a:lnTo>
                      <a:pt x="66" y="36"/>
                    </a:lnTo>
                    <a:lnTo>
                      <a:pt x="72" y="36"/>
                    </a:lnTo>
                    <a:lnTo>
                      <a:pt x="78" y="36"/>
                    </a:lnTo>
                    <a:lnTo>
                      <a:pt x="84" y="36"/>
                    </a:lnTo>
                    <a:lnTo>
                      <a:pt x="84" y="30"/>
                    </a:lnTo>
                    <a:lnTo>
                      <a:pt x="78" y="30"/>
                    </a:lnTo>
                    <a:lnTo>
                      <a:pt x="78" y="36"/>
                    </a:lnTo>
                    <a:lnTo>
                      <a:pt x="72" y="36"/>
                    </a:lnTo>
                    <a:lnTo>
                      <a:pt x="66" y="30"/>
                    </a:lnTo>
                    <a:lnTo>
                      <a:pt x="66" y="36"/>
                    </a:lnTo>
                    <a:lnTo>
                      <a:pt x="60" y="36"/>
                    </a:lnTo>
                    <a:lnTo>
                      <a:pt x="54" y="42"/>
                    </a:lnTo>
                    <a:lnTo>
                      <a:pt x="48" y="42"/>
                    </a:lnTo>
                    <a:lnTo>
                      <a:pt x="42" y="42"/>
                    </a:lnTo>
                    <a:lnTo>
                      <a:pt x="36" y="42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24" y="30"/>
                    </a:lnTo>
                    <a:lnTo>
                      <a:pt x="18" y="30"/>
                    </a:lnTo>
                    <a:lnTo>
                      <a:pt x="18" y="24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30" y="18"/>
                    </a:lnTo>
                    <a:lnTo>
                      <a:pt x="24" y="18"/>
                    </a:lnTo>
                    <a:lnTo>
                      <a:pt x="18" y="24"/>
                    </a:lnTo>
                    <a:lnTo>
                      <a:pt x="12" y="24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E6B29">
                  <a:alpha val="70195"/>
                </a:srgbClr>
              </a:solidFill>
              <a:ln w="9525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24662" name="Group 118"/>
              <p:cNvGrpSpPr>
                <a:grpSpLocks noChangeAspect="1"/>
              </p:cNvGrpSpPr>
              <p:nvPr>
                <p:custDataLst>
                  <p:tags r:id="rId57"/>
                </p:custDataLst>
              </p:nvPr>
            </p:nvGrpSpPr>
            <p:grpSpPr bwMode="auto">
              <a:xfrm>
                <a:off x="1195" y="1756"/>
                <a:ext cx="107" cy="97"/>
                <a:chOff x="989" y="1637"/>
                <a:chExt cx="113" cy="102"/>
              </a:xfrm>
            </p:grpSpPr>
            <p:sp>
              <p:nvSpPr>
                <p:cNvPr id="24663" name="Freeform 119"/>
                <p:cNvSpPr>
                  <a:spLocks noChangeAspect="1"/>
                </p:cNvSpPr>
                <p:nvPr>
                  <p:custDataLst>
                    <p:tags r:id="rId58"/>
                  </p:custDataLst>
                </p:nvPr>
              </p:nvSpPr>
              <p:spPr bwMode="auto">
                <a:xfrm>
                  <a:off x="1056" y="1718"/>
                  <a:ext cx="15" cy="16"/>
                </a:xfrm>
                <a:custGeom>
                  <a:avLst/>
                  <a:gdLst>
                    <a:gd name="T0" fmla="*/ 0 w 18"/>
                    <a:gd name="T1" fmla="*/ 8 h 18"/>
                    <a:gd name="T2" fmla="*/ 0 w 18"/>
                    <a:gd name="T3" fmla="*/ 4 h 18"/>
                    <a:gd name="T4" fmla="*/ 0 w 18"/>
                    <a:gd name="T5" fmla="*/ 0 h 18"/>
                    <a:gd name="T6" fmla="*/ 3 w 18"/>
                    <a:gd name="T7" fmla="*/ 0 h 18"/>
                    <a:gd name="T8" fmla="*/ 0 w 18"/>
                    <a:gd name="T9" fmla="*/ 0 h 18"/>
                    <a:gd name="T10" fmla="*/ 3 w 18"/>
                    <a:gd name="T11" fmla="*/ 0 h 18"/>
                    <a:gd name="T12" fmla="*/ 3 w 18"/>
                    <a:gd name="T13" fmla="*/ 4 h 18"/>
                    <a:gd name="T14" fmla="*/ 3 w 18"/>
                    <a:gd name="T15" fmla="*/ 0 h 18"/>
                    <a:gd name="T16" fmla="*/ 3 w 18"/>
                    <a:gd name="T17" fmla="*/ 4 h 18"/>
                    <a:gd name="T18" fmla="*/ 6 w 18"/>
                    <a:gd name="T19" fmla="*/ 4 h 18"/>
                    <a:gd name="T20" fmla="*/ 6 w 18"/>
                    <a:gd name="T21" fmla="*/ 8 h 18"/>
                    <a:gd name="T22" fmla="*/ 9 w 18"/>
                    <a:gd name="T23" fmla="*/ 8 h 18"/>
                    <a:gd name="T24" fmla="*/ 6 w 18"/>
                    <a:gd name="T25" fmla="*/ 8 h 18"/>
                    <a:gd name="T26" fmla="*/ 9 w 18"/>
                    <a:gd name="T27" fmla="*/ 8 h 18"/>
                    <a:gd name="T28" fmla="*/ 9 w 18"/>
                    <a:gd name="T29" fmla="*/ 11 h 18"/>
                    <a:gd name="T30" fmla="*/ 6 w 18"/>
                    <a:gd name="T31" fmla="*/ 8 h 18"/>
                    <a:gd name="T32" fmla="*/ 6 w 18"/>
                    <a:gd name="T33" fmla="*/ 11 h 18"/>
                    <a:gd name="T34" fmla="*/ 3 w 18"/>
                    <a:gd name="T35" fmla="*/ 11 h 18"/>
                    <a:gd name="T36" fmla="*/ 0 w 18"/>
                    <a:gd name="T37" fmla="*/ 11 h 18"/>
                    <a:gd name="T38" fmla="*/ 0 w 18"/>
                    <a:gd name="T39" fmla="*/ 8 h 1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18" h="18">
                      <a:moveTo>
                        <a:pt x="0" y="12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2" y="12"/>
                      </a:lnTo>
                      <a:lnTo>
                        <a:pt x="18" y="12"/>
                      </a:lnTo>
                      <a:lnTo>
                        <a:pt x="18" y="18"/>
                      </a:lnTo>
                      <a:lnTo>
                        <a:pt x="12" y="12"/>
                      </a:lnTo>
                      <a:lnTo>
                        <a:pt x="12" y="18"/>
                      </a:lnTo>
                      <a:lnTo>
                        <a:pt x="6" y="18"/>
                      </a:lnTo>
                      <a:lnTo>
                        <a:pt x="0" y="18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64" name="Freeform 120"/>
                <p:cNvSpPr>
                  <a:spLocks noChangeAspect="1"/>
                </p:cNvSpPr>
                <p:nvPr>
                  <p:custDataLst>
                    <p:tags r:id="rId59"/>
                  </p:custDataLst>
                </p:nvPr>
              </p:nvSpPr>
              <p:spPr bwMode="auto">
                <a:xfrm>
                  <a:off x="1000" y="1647"/>
                  <a:ext cx="10" cy="10"/>
                </a:xfrm>
                <a:custGeom>
                  <a:avLst/>
                  <a:gdLst>
                    <a:gd name="T0" fmla="*/ 3 w 12"/>
                    <a:gd name="T1" fmla="*/ 3 h 12"/>
                    <a:gd name="T2" fmla="*/ 3 w 12"/>
                    <a:gd name="T3" fmla="*/ 0 h 12"/>
                    <a:gd name="T4" fmla="*/ 3 w 12"/>
                    <a:gd name="T5" fmla="*/ 3 h 12"/>
                    <a:gd name="T6" fmla="*/ 3 w 12"/>
                    <a:gd name="T7" fmla="*/ 0 h 12"/>
                    <a:gd name="T8" fmla="*/ 3 w 12"/>
                    <a:gd name="T9" fmla="*/ 3 h 12"/>
                    <a:gd name="T10" fmla="*/ 6 w 12"/>
                    <a:gd name="T11" fmla="*/ 3 h 12"/>
                    <a:gd name="T12" fmla="*/ 3 w 12"/>
                    <a:gd name="T13" fmla="*/ 3 h 12"/>
                    <a:gd name="T14" fmla="*/ 3 w 12"/>
                    <a:gd name="T15" fmla="*/ 6 h 12"/>
                    <a:gd name="T16" fmla="*/ 0 w 12"/>
                    <a:gd name="T17" fmla="*/ 6 h 12"/>
                    <a:gd name="T18" fmla="*/ 0 w 12"/>
                    <a:gd name="T19" fmla="*/ 3 h 12"/>
                    <a:gd name="T20" fmla="*/ 3 w 12"/>
                    <a:gd name="T21" fmla="*/ 3 h 1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12" h="12">
                      <a:moveTo>
                        <a:pt x="6" y="6"/>
                      </a:move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6" y="6"/>
                      </a:lnTo>
                      <a:lnTo>
                        <a:pt x="6" y="12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65" name="Rectangle 121"/>
                <p:cNvSpPr>
                  <a:spLocks noChangeAspect="1" noChangeArrowheads="1"/>
                </p:cNvSpPr>
                <p:nvPr>
                  <p:custDataLst>
                    <p:tags r:id="rId60"/>
                  </p:custDataLst>
                </p:nvPr>
              </p:nvSpPr>
              <p:spPr bwMode="auto">
                <a:xfrm>
                  <a:off x="1076" y="1718"/>
                  <a:ext cx="5" cy="5"/>
                </a:xfrm>
                <a:prstGeom prst="rect">
                  <a:avLst/>
                </a:prstGeom>
                <a:solidFill>
                  <a:srgbClr val="CE6B29"/>
                </a:solidFill>
                <a:ln w="9525">
                  <a:solidFill>
                    <a:srgbClr val="808080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/>
                  <a:endParaRPr lang="en-US" sz="700" b="1"/>
                </a:p>
              </p:txBody>
            </p:sp>
            <p:sp>
              <p:nvSpPr>
                <p:cNvPr id="24666" name="Freeform 122"/>
                <p:cNvSpPr>
                  <a:spLocks noChangeAspect="1"/>
                </p:cNvSpPr>
                <p:nvPr>
                  <p:custDataLst>
                    <p:tags r:id="rId61"/>
                  </p:custDataLst>
                </p:nvPr>
              </p:nvSpPr>
              <p:spPr bwMode="auto">
                <a:xfrm>
                  <a:off x="1010" y="1652"/>
                  <a:ext cx="5" cy="5"/>
                </a:xfrm>
                <a:custGeom>
                  <a:avLst/>
                  <a:gdLst>
                    <a:gd name="T0" fmla="*/ 3 w 6"/>
                    <a:gd name="T1" fmla="*/ 3 h 6"/>
                    <a:gd name="T2" fmla="*/ 0 w 6"/>
                    <a:gd name="T3" fmla="*/ 3 h 6"/>
                    <a:gd name="T4" fmla="*/ 0 w 6"/>
                    <a:gd name="T5" fmla="*/ 0 h 6"/>
                    <a:gd name="T6" fmla="*/ 3 w 6"/>
                    <a:gd name="T7" fmla="*/ 3 h 6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6" h="6">
                      <a:moveTo>
                        <a:pt x="6" y="6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67" name="Freeform 123"/>
                <p:cNvSpPr>
                  <a:spLocks noChangeAspect="1"/>
                </p:cNvSpPr>
                <p:nvPr>
                  <p:custDataLst>
                    <p:tags r:id="rId62"/>
                  </p:custDataLst>
                </p:nvPr>
              </p:nvSpPr>
              <p:spPr bwMode="auto">
                <a:xfrm>
                  <a:off x="989" y="1637"/>
                  <a:ext cx="16" cy="15"/>
                </a:xfrm>
                <a:custGeom>
                  <a:avLst/>
                  <a:gdLst>
                    <a:gd name="T0" fmla="*/ 11 w 18"/>
                    <a:gd name="T1" fmla="*/ 3 h 18"/>
                    <a:gd name="T2" fmla="*/ 8 w 18"/>
                    <a:gd name="T3" fmla="*/ 6 h 18"/>
                    <a:gd name="T4" fmla="*/ 4 w 18"/>
                    <a:gd name="T5" fmla="*/ 6 h 18"/>
                    <a:gd name="T6" fmla="*/ 4 w 18"/>
                    <a:gd name="T7" fmla="*/ 9 h 18"/>
                    <a:gd name="T8" fmla="*/ 4 w 18"/>
                    <a:gd name="T9" fmla="*/ 6 h 18"/>
                    <a:gd name="T10" fmla="*/ 4 w 18"/>
                    <a:gd name="T11" fmla="*/ 9 h 18"/>
                    <a:gd name="T12" fmla="*/ 4 w 18"/>
                    <a:gd name="T13" fmla="*/ 6 h 18"/>
                    <a:gd name="T14" fmla="*/ 0 w 18"/>
                    <a:gd name="T15" fmla="*/ 9 h 18"/>
                    <a:gd name="T16" fmla="*/ 0 w 18"/>
                    <a:gd name="T17" fmla="*/ 6 h 18"/>
                    <a:gd name="T18" fmla="*/ 0 w 18"/>
                    <a:gd name="T19" fmla="*/ 3 h 18"/>
                    <a:gd name="T20" fmla="*/ 4 w 18"/>
                    <a:gd name="T21" fmla="*/ 3 h 18"/>
                    <a:gd name="T22" fmla="*/ 4 w 18"/>
                    <a:gd name="T23" fmla="*/ 0 h 18"/>
                    <a:gd name="T24" fmla="*/ 8 w 18"/>
                    <a:gd name="T25" fmla="*/ 0 h 18"/>
                    <a:gd name="T26" fmla="*/ 8 w 18"/>
                    <a:gd name="T27" fmla="*/ 3 h 18"/>
                    <a:gd name="T28" fmla="*/ 11 w 18"/>
                    <a:gd name="T29" fmla="*/ 3 h 1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18" h="18">
                      <a:moveTo>
                        <a:pt x="18" y="6"/>
                      </a:move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6" y="18"/>
                      </a:lnTo>
                      <a:lnTo>
                        <a:pt x="6" y="12"/>
                      </a:lnTo>
                      <a:lnTo>
                        <a:pt x="6" y="18"/>
                      </a:lnTo>
                      <a:lnTo>
                        <a:pt x="6" y="12"/>
                      </a:lnTo>
                      <a:lnTo>
                        <a:pt x="0" y="18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12" y="0"/>
                      </a:lnTo>
                      <a:lnTo>
                        <a:pt x="12" y="6"/>
                      </a:lnTo>
                      <a:lnTo>
                        <a:pt x="18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68" name="Freeform 124"/>
                <p:cNvSpPr>
                  <a:spLocks noChangeAspect="1"/>
                </p:cNvSpPr>
                <p:nvPr>
                  <p:custDataLst>
                    <p:tags r:id="rId63"/>
                  </p:custDataLst>
                </p:nvPr>
              </p:nvSpPr>
              <p:spPr bwMode="auto">
                <a:xfrm>
                  <a:off x="1015" y="1734"/>
                  <a:ext cx="0" cy="5"/>
                </a:xfrm>
                <a:custGeom>
                  <a:avLst/>
                  <a:gdLst>
                    <a:gd name="T0" fmla="*/ 3 h 6"/>
                    <a:gd name="T1" fmla="*/ 0 h 6"/>
                    <a:gd name="T2" fmla="*/ 3 h 6"/>
                    <a:gd name="T3" fmla="*/ 0 60000 65536"/>
                    <a:gd name="T4" fmla="*/ 0 60000 65536"/>
                    <a:gd name="T5" fmla="*/ 0 60000 65536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0" r="r" b="b"/>
                  <a:pathLst>
                    <a:path h="6">
                      <a:moveTo>
                        <a:pt x="0" y="6"/>
                      </a:moveTo>
                      <a:lnTo>
                        <a:pt x="0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69" name="Freeform 125"/>
                <p:cNvSpPr>
                  <a:spLocks noChangeAspect="1"/>
                </p:cNvSpPr>
                <p:nvPr>
                  <p:custDataLst>
                    <p:tags r:id="rId64"/>
                  </p:custDataLst>
                </p:nvPr>
              </p:nvSpPr>
              <p:spPr bwMode="auto">
                <a:xfrm>
                  <a:off x="1025" y="1657"/>
                  <a:ext cx="20" cy="10"/>
                </a:xfrm>
                <a:custGeom>
                  <a:avLst/>
                  <a:gdLst>
                    <a:gd name="T0" fmla="*/ 3 w 24"/>
                    <a:gd name="T1" fmla="*/ 3 h 12"/>
                    <a:gd name="T2" fmla="*/ 6 w 24"/>
                    <a:gd name="T3" fmla="*/ 3 h 12"/>
                    <a:gd name="T4" fmla="*/ 9 w 24"/>
                    <a:gd name="T5" fmla="*/ 3 h 12"/>
                    <a:gd name="T6" fmla="*/ 12 w 24"/>
                    <a:gd name="T7" fmla="*/ 3 h 12"/>
                    <a:gd name="T8" fmla="*/ 12 w 24"/>
                    <a:gd name="T9" fmla="*/ 6 h 12"/>
                    <a:gd name="T10" fmla="*/ 9 w 24"/>
                    <a:gd name="T11" fmla="*/ 3 h 12"/>
                    <a:gd name="T12" fmla="*/ 9 w 24"/>
                    <a:gd name="T13" fmla="*/ 6 h 12"/>
                    <a:gd name="T14" fmla="*/ 9 w 24"/>
                    <a:gd name="T15" fmla="*/ 3 h 12"/>
                    <a:gd name="T16" fmla="*/ 6 w 24"/>
                    <a:gd name="T17" fmla="*/ 3 h 12"/>
                    <a:gd name="T18" fmla="*/ 6 w 24"/>
                    <a:gd name="T19" fmla="*/ 6 h 12"/>
                    <a:gd name="T20" fmla="*/ 3 w 24"/>
                    <a:gd name="T21" fmla="*/ 6 h 12"/>
                    <a:gd name="T22" fmla="*/ 3 w 24"/>
                    <a:gd name="T23" fmla="*/ 3 h 12"/>
                    <a:gd name="T24" fmla="*/ 0 w 24"/>
                    <a:gd name="T25" fmla="*/ 3 h 12"/>
                    <a:gd name="T26" fmla="*/ 3 w 24"/>
                    <a:gd name="T27" fmla="*/ 3 h 12"/>
                    <a:gd name="T28" fmla="*/ 3 w 24"/>
                    <a:gd name="T29" fmla="*/ 0 h 12"/>
                    <a:gd name="T30" fmla="*/ 3 w 24"/>
                    <a:gd name="T31" fmla="*/ 3 h 1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24" h="12">
                      <a:moveTo>
                        <a:pt x="6" y="6"/>
                      </a:moveTo>
                      <a:lnTo>
                        <a:pt x="12" y="6"/>
                      </a:lnTo>
                      <a:lnTo>
                        <a:pt x="18" y="6"/>
                      </a:lnTo>
                      <a:lnTo>
                        <a:pt x="24" y="6"/>
                      </a:lnTo>
                      <a:lnTo>
                        <a:pt x="24" y="12"/>
                      </a:lnTo>
                      <a:lnTo>
                        <a:pt x="18" y="6"/>
                      </a:lnTo>
                      <a:lnTo>
                        <a:pt x="18" y="12"/>
                      </a:lnTo>
                      <a:lnTo>
                        <a:pt x="18" y="6"/>
                      </a:lnTo>
                      <a:lnTo>
                        <a:pt x="12" y="6"/>
                      </a:ln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6" y="0"/>
                      </a:lnTo>
                      <a:lnTo>
                        <a:pt x="6" y="6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70" name="Freeform 126"/>
                <p:cNvSpPr>
                  <a:spLocks noChangeAspect="1"/>
                </p:cNvSpPr>
                <p:nvPr>
                  <p:custDataLst>
                    <p:tags r:id="rId65"/>
                  </p:custDataLst>
                </p:nvPr>
              </p:nvSpPr>
              <p:spPr bwMode="auto">
                <a:xfrm>
                  <a:off x="1086" y="1652"/>
                  <a:ext cx="5" cy="10"/>
                </a:xfrm>
                <a:custGeom>
                  <a:avLst/>
                  <a:gdLst>
                    <a:gd name="T0" fmla="*/ 3 w 6"/>
                    <a:gd name="T1" fmla="*/ 0 h 12"/>
                    <a:gd name="T2" fmla="*/ 3 w 6"/>
                    <a:gd name="T3" fmla="*/ 3 h 12"/>
                    <a:gd name="T4" fmla="*/ 3 w 6"/>
                    <a:gd name="T5" fmla="*/ 6 h 12"/>
                    <a:gd name="T6" fmla="*/ 3 w 6"/>
                    <a:gd name="T7" fmla="*/ 3 h 12"/>
                    <a:gd name="T8" fmla="*/ 0 w 6"/>
                    <a:gd name="T9" fmla="*/ 3 h 12"/>
                    <a:gd name="T10" fmla="*/ 0 w 6"/>
                    <a:gd name="T11" fmla="*/ 0 h 12"/>
                    <a:gd name="T12" fmla="*/ 3 w 6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12">
                      <a:moveTo>
                        <a:pt x="6" y="0"/>
                      </a:moveTo>
                      <a:lnTo>
                        <a:pt x="6" y="6"/>
                      </a:lnTo>
                      <a:lnTo>
                        <a:pt x="6" y="12"/>
                      </a:lnTo>
                      <a:lnTo>
                        <a:pt x="6" y="6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71" name="Freeform 127"/>
                <p:cNvSpPr>
                  <a:spLocks noChangeAspect="1"/>
                </p:cNvSpPr>
                <p:nvPr>
                  <p:custDataLst>
                    <p:tags r:id="rId66"/>
                  </p:custDataLst>
                </p:nvPr>
              </p:nvSpPr>
              <p:spPr bwMode="auto">
                <a:xfrm>
                  <a:off x="1025" y="1728"/>
                  <a:ext cx="10" cy="11"/>
                </a:xfrm>
                <a:custGeom>
                  <a:avLst/>
                  <a:gdLst>
                    <a:gd name="T0" fmla="*/ 0 w 12"/>
                    <a:gd name="T1" fmla="*/ 0 h 12"/>
                    <a:gd name="T2" fmla="*/ 3 w 12"/>
                    <a:gd name="T3" fmla="*/ 0 h 12"/>
                    <a:gd name="T4" fmla="*/ 3 w 12"/>
                    <a:gd name="T5" fmla="*/ 6 h 12"/>
                    <a:gd name="T6" fmla="*/ 6 w 12"/>
                    <a:gd name="T7" fmla="*/ 6 h 12"/>
                    <a:gd name="T8" fmla="*/ 3 w 12"/>
                    <a:gd name="T9" fmla="*/ 8 h 12"/>
                    <a:gd name="T10" fmla="*/ 0 w 12"/>
                    <a:gd name="T11" fmla="*/ 8 h 12"/>
                    <a:gd name="T12" fmla="*/ 0 w 12"/>
                    <a:gd name="T13" fmla="*/ 6 h 12"/>
                    <a:gd name="T14" fmla="*/ 0 w 12"/>
                    <a:gd name="T15" fmla="*/ 0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12" h="12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6" y="6"/>
                      </a:lnTo>
                      <a:lnTo>
                        <a:pt x="12" y="6"/>
                      </a:lnTo>
                      <a:lnTo>
                        <a:pt x="6" y="12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E6B29">
                    <a:alpha val="70195"/>
                  </a:srgbClr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24672" name="Freeform 128"/>
                <p:cNvSpPr>
                  <a:spLocks noChangeAspect="1"/>
                </p:cNvSpPr>
                <p:nvPr>
                  <p:custDataLst>
                    <p:tags r:id="rId67"/>
                  </p:custDataLst>
                </p:nvPr>
              </p:nvSpPr>
              <p:spPr bwMode="auto">
                <a:xfrm>
                  <a:off x="1091" y="1677"/>
                  <a:ext cx="11" cy="11"/>
                </a:xfrm>
                <a:custGeom>
                  <a:avLst/>
                  <a:gdLst>
                    <a:gd name="T0" fmla="*/ 6 w 12"/>
                    <a:gd name="T1" fmla="*/ 0 h 12"/>
                    <a:gd name="T2" fmla="*/ 8 w 12"/>
                    <a:gd name="T3" fmla="*/ 0 h 12"/>
                    <a:gd name="T4" fmla="*/ 8 w 12"/>
                    <a:gd name="T5" fmla="*/ 6 h 12"/>
                    <a:gd name="T6" fmla="*/ 8 w 12"/>
                    <a:gd name="T7" fmla="*/ 8 h 12"/>
                    <a:gd name="T8" fmla="*/ 6 w 12"/>
                    <a:gd name="T9" fmla="*/ 8 h 12"/>
                    <a:gd name="T10" fmla="*/ 0 w 12"/>
                    <a:gd name="T11" fmla="*/ 8 h 12"/>
                    <a:gd name="T12" fmla="*/ 0 w 12"/>
                    <a:gd name="T13" fmla="*/ 6 h 12"/>
                    <a:gd name="T14" fmla="*/ 0 w 12"/>
                    <a:gd name="T15" fmla="*/ 0 h 12"/>
                    <a:gd name="T16" fmla="*/ 6 w 12"/>
                    <a:gd name="T17" fmla="*/ 0 h 1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2" h="12">
                      <a:moveTo>
                        <a:pt x="6" y="0"/>
                      </a:moveTo>
                      <a:lnTo>
                        <a:pt x="12" y="0"/>
                      </a:lnTo>
                      <a:lnTo>
                        <a:pt x="12" y="6"/>
                      </a:lnTo>
                      <a:lnTo>
                        <a:pt x="12" y="12"/>
                      </a:lnTo>
                      <a:lnTo>
                        <a:pt x="6" y="12"/>
                      </a:lnTo>
                      <a:lnTo>
                        <a:pt x="0" y="12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CE6B29"/>
                </a:solidFill>
                <a:ln w="9525">
                  <a:solidFill>
                    <a:srgbClr val="8080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</p:grpSp>
        </p:grpSp>
        <p:sp>
          <p:nvSpPr>
            <p:cNvPr id="24644" name="Freeform 129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auto">
            <a:xfrm>
              <a:off x="4669" y="1664"/>
              <a:ext cx="171" cy="184"/>
            </a:xfrm>
            <a:custGeom>
              <a:avLst/>
              <a:gdLst>
                <a:gd name="T0" fmla="*/ 11 w 276"/>
                <a:gd name="T1" fmla="*/ 5 h 282"/>
                <a:gd name="T2" fmla="*/ 12 w 276"/>
                <a:gd name="T3" fmla="*/ 3 h 282"/>
                <a:gd name="T4" fmla="*/ 15 w 276"/>
                <a:gd name="T5" fmla="*/ 5 h 282"/>
                <a:gd name="T6" fmla="*/ 17 w 276"/>
                <a:gd name="T7" fmla="*/ 3 h 282"/>
                <a:gd name="T8" fmla="*/ 18 w 276"/>
                <a:gd name="T9" fmla="*/ 5 h 282"/>
                <a:gd name="T10" fmla="*/ 21 w 276"/>
                <a:gd name="T11" fmla="*/ 5 h 282"/>
                <a:gd name="T12" fmla="*/ 26 w 276"/>
                <a:gd name="T13" fmla="*/ 2 h 282"/>
                <a:gd name="T14" fmla="*/ 31 w 276"/>
                <a:gd name="T15" fmla="*/ 1 h 282"/>
                <a:gd name="T16" fmla="*/ 33 w 276"/>
                <a:gd name="T17" fmla="*/ 1 h 282"/>
                <a:gd name="T18" fmla="*/ 35 w 276"/>
                <a:gd name="T19" fmla="*/ 2 h 282"/>
                <a:gd name="T20" fmla="*/ 35 w 276"/>
                <a:gd name="T21" fmla="*/ 3 h 282"/>
                <a:gd name="T22" fmla="*/ 35 w 276"/>
                <a:gd name="T23" fmla="*/ 5 h 282"/>
                <a:gd name="T24" fmla="*/ 36 w 276"/>
                <a:gd name="T25" fmla="*/ 5 h 282"/>
                <a:gd name="T26" fmla="*/ 36 w 276"/>
                <a:gd name="T27" fmla="*/ 7 h 282"/>
                <a:gd name="T28" fmla="*/ 36 w 276"/>
                <a:gd name="T29" fmla="*/ 8 h 282"/>
                <a:gd name="T30" fmla="*/ 37 w 276"/>
                <a:gd name="T31" fmla="*/ 10 h 282"/>
                <a:gd name="T32" fmla="*/ 38 w 276"/>
                <a:gd name="T33" fmla="*/ 12 h 282"/>
                <a:gd name="T34" fmla="*/ 40 w 276"/>
                <a:gd name="T35" fmla="*/ 15 h 282"/>
                <a:gd name="T36" fmla="*/ 40 w 276"/>
                <a:gd name="T37" fmla="*/ 20 h 282"/>
                <a:gd name="T38" fmla="*/ 40 w 276"/>
                <a:gd name="T39" fmla="*/ 24 h 282"/>
                <a:gd name="T40" fmla="*/ 38 w 276"/>
                <a:gd name="T41" fmla="*/ 25 h 282"/>
                <a:gd name="T42" fmla="*/ 38 w 276"/>
                <a:gd name="T43" fmla="*/ 26 h 282"/>
                <a:gd name="T44" fmla="*/ 36 w 276"/>
                <a:gd name="T45" fmla="*/ 27 h 282"/>
                <a:gd name="T46" fmla="*/ 36 w 276"/>
                <a:gd name="T47" fmla="*/ 31 h 282"/>
                <a:gd name="T48" fmla="*/ 35 w 276"/>
                <a:gd name="T49" fmla="*/ 31 h 282"/>
                <a:gd name="T50" fmla="*/ 33 w 276"/>
                <a:gd name="T51" fmla="*/ 35 h 282"/>
                <a:gd name="T52" fmla="*/ 33 w 276"/>
                <a:gd name="T53" fmla="*/ 37 h 282"/>
                <a:gd name="T54" fmla="*/ 32 w 276"/>
                <a:gd name="T55" fmla="*/ 41 h 282"/>
                <a:gd name="T56" fmla="*/ 15 w 276"/>
                <a:gd name="T57" fmla="*/ 47 h 282"/>
                <a:gd name="T58" fmla="*/ 9 w 276"/>
                <a:gd name="T59" fmla="*/ 47 h 282"/>
                <a:gd name="T60" fmla="*/ 7 w 276"/>
                <a:gd name="T61" fmla="*/ 47 h 282"/>
                <a:gd name="T62" fmla="*/ 6 w 276"/>
                <a:gd name="T63" fmla="*/ 48 h 282"/>
                <a:gd name="T64" fmla="*/ 4 w 276"/>
                <a:gd name="T65" fmla="*/ 50 h 282"/>
                <a:gd name="T66" fmla="*/ 2 w 276"/>
                <a:gd name="T67" fmla="*/ 51 h 282"/>
                <a:gd name="T68" fmla="*/ 1 w 276"/>
                <a:gd name="T69" fmla="*/ 49 h 282"/>
                <a:gd name="T70" fmla="*/ 1 w 276"/>
                <a:gd name="T71" fmla="*/ 49 h 282"/>
                <a:gd name="T72" fmla="*/ 0 w 276"/>
                <a:gd name="T73" fmla="*/ 48 h 282"/>
                <a:gd name="T74" fmla="*/ 1 w 276"/>
                <a:gd name="T75" fmla="*/ 46 h 282"/>
                <a:gd name="T76" fmla="*/ 1 w 276"/>
                <a:gd name="T77" fmla="*/ 42 h 282"/>
                <a:gd name="T78" fmla="*/ 1 w 276"/>
                <a:gd name="T79" fmla="*/ 37 h 282"/>
                <a:gd name="T80" fmla="*/ 2 w 276"/>
                <a:gd name="T81" fmla="*/ 35 h 282"/>
                <a:gd name="T82" fmla="*/ 4 w 276"/>
                <a:gd name="T83" fmla="*/ 31 h 282"/>
                <a:gd name="T84" fmla="*/ 4 w 276"/>
                <a:gd name="T85" fmla="*/ 29 h 282"/>
                <a:gd name="T86" fmla="*/ 6 w 276"/>
                <a:gd name="T87" fmla="*/ 27 h 282"/>
                <a:gd name="T88" fmla="*/ 9 w 276"/>
                <a:gd name="T89" fmla="*/ 24 h 282"/>
                <a:gd name="T90" fmla="*/ 12 w 276"/>
                <a:gd name="T91" fmla="*/ 20 h 282"/>
                <a:gd name="T92" fmla="*/ 12 w 276"/>
                <a:gd name="T93" fmla="*/ 18 h 282"/>
                <a:gd name="T94" fmla="*/ 9 w 276"/>
                <a:gd name="T95" fmla="*/ 16 h 282"/>
                <a:gd name="T96" fmla="*/ 9 w 276"/>
                <a:gd name="T97" fmla="*/ 14 h 282"/>
                <a:gd name="T98" fmla="*/ 9 w 276"/>
                <a:gd name="T99" fmla="*/ 10 h 282"/>
                <a:gd name="T100" fmla="*/ 9 w 276"/>
                <a:gd name="T101" fmla="*/ 8 h 282"/>
                <a:gd name="T102" fmla="*/ 9 w 276"/>
                <a:gd name="T103" fmla="*/ 7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76" h="282">
                  <a:moveTo>
                    <a:pt x="66" y="36"/>
                  </a:moveTo>
                  <a:lnTo>
                    <a:pt x="66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0" y="30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44" y="24"/>
                  </a:lnTo>
                  <a:lnTo>
                    <a:pt x="156" y="18"/>
                  </a:lnTo>
                  <a:lnTo>
                    <a:pt x="168" y="18"/>
                  </a:lnTo>
                  <a:lnTo>
                    <a:pt x="174" y="12"/>
                  </a:lnTo>
                  <a:lnTo>
                    <a:pt x="180" y="18"/>
                  </a:lnTo>
                  <a:lnTo>
                    <a:pt x="198" y="24"/>
                  </a:lnTo>
                  <a:lnTo>
                    <a:pt x="210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46" y="30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0" y="42"/>
                  </a:lnTo>
                  <a:lnTo>
                    <a:pt x="246" y="42"/>
                  </a:lnTo>
                  <a:lnTo>
                    <a:pt x="246" y="48"/>
                  </a:lnTo>
                  <a:lnTo>
                    <a:pt x="246" y="54"/>
                  </a:lnTo>
                  <a:lnTo>
                    <a:pt x="252" y="54"/>
                  </a:lnTo>
                  <a:lnTo>
                    <a:pt x="252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76" y="114"/>
                  </a:lnTo>
                  <a:lnTo>
                    <a:pt x="270" y="126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64" y="144"/>
                  </a:lnTo>
                  <a:lnTo>
                    <a:pt x="258" y="144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46" y="150"/>
                  </a:lnTo>
                  <a:lnTo>
                    <a:pt x="246" y="156"/>
                  </a:lnTo>
                  <a:lnTo>
                    <a:pt x="246" y="162"/>
                  </a:lnTo>
                  <a:lnTo>
                    <a:pt x="246" y="168"/>
                  </a:lnTo>
                  <a:lnTo>
                    <a:pt x="240" y="168"/>
                  </a:lnTo>
                  <a:lnTo>
                    <a:pt x="240" y="174"/>
                  </a:lnTo>
                  <a:lnTo>
                    <a:pt x="234" y="174"/>
                  </a:lnTo>
                  <a:lnTo>
                    <a:pt x="228" y="180"/>
                  </a:lnTo>
                  <a:lnTo>
                    <a:pt x="228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204"/>
                  </a:lnTo>
                  <a:lnTo>
                    <a:pt x="222" y="204"/>
                  </a:lnTo>
                  <a:lnTo>
                    <a:pt x="222" y="216"/>
                  </a:lnTo>
                  <a:lnTo>
                    <a:pt x="222" y="222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16" y="258"/>
                  </a:lnTo>
                  <a:lnTo>
                    <a:pt x="102" y="258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70"/>
                  </a:lnTo>
                  <a:lnTo>
                    <a:pt x="30" y="270"/>
                  </a:lnTo>
                  <a:lnTo>
                    <a:pt x="30" y="276"/>
                  </a:lnTo>
                  <a:lnTo>
                    <a:pt x="24" y="276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12" y="270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60" y="132"/>
                  </a:lnTo>
                  <a:lnTo>
                    <a:pt x="72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0" y="102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6"/>
                  </a:lnTo>
                  <a:lnTo>
                    <a:pt x="66" y="36"/>
                  </a:lnTo>
                  <a:close/>
                </a:path>
              </a:pathLst>
            </a:custGeom>
            <a:solidFill>
              <a:srgbClr val="D5CB99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45" name="Freeform 130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auto">
            <a:xfrm>
              <a:off x="4803" y="1638"/>
              <a:ext cx="244" cy="310"/>
            </a:xfrm>
            <a:custGeom>
              <a:avLst/>
              <a:gdLst>
                <a:gd name="T0" fmla="*/ 4 w 396"/>
                <a:gd name="T1" fmla="*/ 3 h 480"/>
                <a:gd name="T2" fmla="*/ 7 w 396"/>
                <a:gd name="T3" fmla="*/ 1 h 480"/>
                <a:gd name="T4" fmla="*/ 10 w 396"/>
                <a:gd name="T5" fmla="*/ 0 h 480"/>
                <a:gd name="T6" fmla="*/ 11 w 396"/>
                <a:gd name="T7" fmla="*/ 3 h 480"/>
                <a:gd name="T8" fmla="*/ 15 w 396"/>
                <a:gd name="T9" fmla="*/ 4 h 480"/>
                <a:gd name="T10" fmla="*/ 19 w 396"/>
                <a:gd name="T11" fmla="*/ 5 h 480"/>
                <a:gd name="T12" fmla="*/ 22 w 396"/>
                <a:gd name="T13" fmla="*/ 6 h 480"/>
                <a:gd name="T14" fmla="*/ 30 w 396"/>
                <a:gd name="T15" fmla="*/ 12 h 480"/>
                <a:gd name="T16" fmla="*/ 33 w 396"/>
                <a:gd name="T17" fmla="*/ 12 h 480"/>
                <a:gd name="T18" fmla="*/ 36 w 396"/>
                <a:gd name="T19" fmla="*/ 12 h 480"/>
                <a:gd name="T20" fmla="*/ 38 w 396"/>
                <a:gd name="T21" fmla="*/ 14 h 480"/>
                <a:gd name="T22" fmla="*/ 43 w 396"/>
                <a:gd name="T23" fmla="*/ 12 h 480"/>
                <a:gd name="T24" fmla="*/ 45 w 396"/>
                <a:gd name="T25" fmla="*/ 8 h 480"/>
                <a:gd name="T26" fmla="*/ 49 w 396"/>
                <a:gd name="T27" fmla="*/ 7 h 480"/>
                <a:gd name="T28" fmla="*/ 51 w 396"/>
                <a:gd name="T29" fmla="*/ 7 h 480"/>
                <a:gd name="T30" fmla="*/ 53 w 396"/>
                <a:gd name="T31" fmla="*/ 10 h 480"/>
                <a:gd name="T32" fmla="*/ 56 w 396"/>
                <a:gd name="T33" fmla="*/ 10 h 480"/>
                <a:gd name="T34" fmla="*/ 51 w 396"/>
                <a:gd name="T35" fmla="*/ 19 h 480"/>
                <a:gd name="T36" fmla="*/ 51 w 396"/>
                <a:gd name="T37" fmla="*/ 44 h 480"/>
                <a:gd name="T38" fmla="*/ 55 w 396"/>
                <a:gd name="T39" fmla="*/ 58 h 480"/>
                <a:gd name="T40" fmla="*/ 54 w 396"/>
                <a:gd name="T41" fmla="*/ 59 h 480"/>
                <a:gd name="T42" fmla="*/ 53 w 396"/>
                <a:gd name="T43" fmla="*/ 61 h 480"/>
                <a:gd name="T44" fmla="*/ 51 w 396"/>
                <a:gd name="T45" fmla="*/ 61 h 480"/>
                <a:gd name="T46" fmla="*/ 50 w 396"/>
                <a:gd name="T47" fmla="*/ 62 h 480"/>
                <a:gd name="T48" fmla="*/ 51 w 396"/>
                <a:gd name="T49" fmla="*/ 63 h 480"/>
                <a:gd name="T50" fmla="*/ 51 w 396"/>
                <a:gd name="T51" fmla="*/ 63 h 480"/>
                <a:gd name="T52" fmla="*/ 49 w 396"/>
                <a:gd name="T53" fmla="*/ 63 h 480"/>
                <a:gd name="T54" fmla="*/ 50 w 396"/>
                <a:gd name="T55" fmla="*/ 63 h 480"/>
                <a:gd name="T56" fmla="*/ 47 w 396"/>
                <a:gd name="T57" fmla="*/ 66 h 480"/>
                <a:gd name="T58" fmla="*/ 45 w 396"/>
                <a:gd name="T59" fmla="*/ 67 h 480"/>
                <a:gd name="T60" fmla="*/ 45 w 396"/>
                <a:gd name="T61" fmla="*/ 69 h 480"/>
                <a:gd name="T62" fmla="*/ 44 w 396"/>
                <a:gd name="T63" fmla="*/ 72 h 480"/>
                <a:gd name="T64" fmla="*/ 44 w 396"/>
                <a:gd name="T65" fmla="*/ 72 h 480"/>
                <a:gd name="T66" fmla="*/ 43 w 396"/>
                <a:gd name="T67" fmla="*/ 74 h 480"/>
                <a:gd name="T68" fmla="*/ 43 w 396"/>
                <a:gd name="T69" fmla="*/ 75 h 480"/>
                <a:gd name="T70" fmla="*/ 43 w 396"/>
                <a:gd name="T71" fmla="*/ 77 h 480"/>
                <a:gd name="T72" fmla="*/ 41 w 396"/>
                <a:gd name="T73" fmla="*/ 78 h 480"/>
                <a:gd name="T74" fmla="*/ 41 w 396"/>
                <a:gd name="T75" fmla="*/ 81 h 480"/>
                <a:gd name="T76" fmla="*/ 40 w 396"/>
                <a:gd name="T77" fmla="*/ 83 h 480"/>
                <a:gd name="T78" fmla="*/ 39 w 396"/>
                <a:gd name="T79" fmla="*/ 83 h 480"/>
                <a:gd name="T80" fmla="*/ 39 w 396"/>
                <a:gd name="T81" fmla="*/ 83 h 480"/>
                <a:gd name="T82" fmla="*/ 30 w 396"/>
                <a:gd name="T83" fmla="*/ 76 h 480"/>
                <a:gd name="T84" fmla="*/ 27 w 396"/>
                <a:gd name="T85" fmla="*/ 73 h 480"/>
                <a:gd name="T86" fmla="*/ 26 w 396"/>
                <a:gd name="T87" fmla="*/ 69 h 480"/>
                <a:gd name="T88" fmla="*/ 14 w 396"/>
                <a:gd name="T89" fmla="*/ 61 h 480"/>
                <a:gd name="T90" fmla="*/ 0 w 396"/>
                <a:gd name="T91" fmla="*/ 52 h 480"/>
                <a:gd name="T92" fmla="*/ 1 w 396"/>
                <a:gd name="T93" fmla="*/ 45 h 480"/>
                <a:gd name="T94" fmla="*/ 1 w 396"/>
                <a:gd name="T95" fmla="*/ 41 h 480"/>
                <a:gd name="T96" fmla="*/ 4 w 396"/>
                <a:gd name="T97" fmla="*/ 37 h 480"/>
                <a:gd name="T98" fmla="*/ 4 w 396"/>
                <a:gd name="T99" fmla="*/ 35 h 480"/>
                <a:gd name="T100" fmla="*/ 6 w 396"/>
                <a:gd name="T101" fmla="*/ 32 h 480"/>
                <a:gd name="T102" fmla="*/ 7 w 396"/>
                <a:gd name="T103" fmla="*/ 31 h 480"/>
                <a:gd name="T104" fmla="*/ 9 w 396"/>
                <a:gd name="T105" fmla="*/ 27 h 480"/>
                <a:gd name="T106" fmla="*/ 7 w 396"/>
                <a:gd name="T107" fmla="*/ 22 h 480"/>
                <a:gd name="T108" fmla="*/ 6 w 396"/>
                <a:gd name="T109" fmla="*/ 19 h 480"/>
                <a:gd name="T110" fmla="*/ 4 w 396"/>
                <a:gd name="T111" fmla="*/ 16 h 480"/>
                <a:gd name="T112" fmla="*/ 4 w 396"/>
                <a:gd name="T113" fmla="*/ 14 h 480"/>
                <a:gd name="T114" fmla="*/ 4 w 396"/>
                <a:gd name="T115" fmla="*/ 12 h 480"/>
                <a:gd name="T116" fmla="*/ 1 w 396"/>
                <a:gd name="T117" fmla="*/ 10 h 480"/>
                <a:gd name="T118" fmla="*/ 2 w 396"/>
                <a:gd name="T119" fmla="*/ 10 h 480"/>
                <a:gd name="T120" fmla="*/ 1 w 396"/>
                <a:gd name="T121" fmla="*/ 7 h 4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96" h="480">
                  <a:moveTo>
                    <a:pt x="6" y="42"/>
                  </a:moveTo>
                  <a:lnTo>
                    <a:pt x="6" y="36"/>
                  </a:lnTo>
                  <a:lnTo>
                    <a:pt x="18" y="24"/>
                  </a:lnTo>
                  <a:lnTo>
                    <a:pt x="24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8" y="30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56" y="36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6" y="54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8" y="72"/>
                  </a:lnTo>
                  <a:lnTo>
                    <a:pt x="234" y="66"/>
                  </a:lnTo>
                  <a:lnTo>
                    <a:pt x="234" y="72"/>
                  </a:lnTo>
                  <a:lnTo>
                    <a:pt x="240" y="72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58" y="72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2" y="78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300" y="60"/>
                  </a:lnTo>
                  <a:lnTo>
                    <a:pt x="300" y="54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6" y="42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4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90" y="54"/>
                  </a:lnTo>
                  <a:lnTo>
                    <a:pt x="396" y="54"/>
                  </a:lnTo>
                  <a:lnTo>
                    <a:pt x="390" y="66"/>
                  </a:lnTo>
                  <a:lnTo>
                    <a:pt x="372" y="90"/>
                  </a:lnTo>
                  <a:lnTo>
                    <a:pt x="354" y="108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54" y="270"/>
                  </a:lnTo>
                  <a:lnTo>
                    <a:pt x="354" y="288"/>
                  </a:lnTo>
                  <a:lnTo>
                    <a:pt x="384" y="330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66" y="342"/>
                  </a:lnTo>
                  <a:lnTo>
                    <a:pt x="366" y="348"/>
                  </a:lnTo>
                  <a:lnTo>
                    <a:pt x="360" y="348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54" y="366"/>
                  </a:lnTo>
                  <a:lnTo>
                    <a:pt x="354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8" y="366"/>
                  </a:lnTo>
                  <a:lnTo>
                    <a:pt x="342" y="372"/>
                  </a:lnTo>
                  <a:lnTo>
                    <a:pt x="336" y="378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78"/>
                  </a:lnTo>
                  <a:lnTo>
                    <a:pt x="318" y="384"/>
                  </a:lnTo>
                  <a:lnTo>
                    <a:pt x="312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18" y="396"/>
                  </a:lnTo>
                  <a:lnTo>
                    <a:pt x="312" y="396"/>
                  </a:lnTo>
                  <a:lnTo>
                    <a:pt x="312" y="402"/>
                  </a:lnTo>
                  <a:lnTo>
                    <a:pt x="312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14"/>
                  </a:lnTo>
                  <a:lnTo>
                    <a:pt x="300" y="414"/>
                  </a:lnTo>
                  <a:lnTo>
                    <a:pt x="306" y="414"/>
                  </a:lnTo>
                  <a:lnTo>
                    <a:pt x="300" y="420"/>
                  </a:lnTo>
                  <a:lnTo>
                    <a:pt x="306" y="420"/>
                  </a:lnTo>
                  <a:lnTo>
                    <a:pt x="300" y="420"/>
                  </a:lnTo>
                  <a:lnTo>
                    <a:pt x="300" y="426"/>
                  </a:lnTo>
                  <a:lnTo>
                    <a:pt x="300" y="432"/>
                  </a:lnTo>
                  <a:lnTo>
                    <a:pt x="294" y="426"/>
                  </a:lnTo>
                  <a:lnTo>
                    <a:pt x="294" y="432"/>
                  </a:lnTo>
                  <a:lnTo>
                    <a:pt x="300" y="432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88" y="444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62"/>
                  </a:lnTo>
                  <a:lnTo>
                    <a:pt x="282" y="462"/>
                  </a:lnTo>
                  <a:lnTo>
                    <a:pt x="282" y="468"/>
                  </a:lnTo>
                  <a:lnTo>
                    <a:pt x="282" y="474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64" y="480"/>
                  </a:lnTo>
                  <a:lnTo>
                    <a:pt x="240" y="462"/>
                  </a:lnTo>
                  <a:lnTo>
                    <a:pt x="228" y="456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26"/>
                  </a:lnTo>
                  <a:lnTo>
                    <a:pt x="186" y="420"/>
                  </a:lnTo>
                  <a:lnTo>
                    <a:pt x="192" y="414"/>
                  </a:lnTo>
                  <a:lnTo>
                    <a:pt x="192" y="402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56" y="384"/>
                  </a:lnTo>
                  <a:lnTo>
                    <a:pt x="138" y="372"/>
                  </a:lnTo>
                  <a:lnTo>
                    <a:pt x="120" y="360"/>
                  </a:lnTo>
                  <a:lnTo>
                    <a:pt x="96" y="348"/>
                  </a:lnTo>
                  <a:lnTo>
                    <a:pt x="60" y="330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0" y="282"/>
                  </a:lnTo>
                  <a:lnTo>
                    <a:pt x="0" y="270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18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60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2"/>
                  </a:lnTo>
                  <a:close/>
                </a:path>
              </a:pathLst>
            </a:custGeom>
            <a:solidFill>
              <a:srgbClr val="D5CB99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46" name="Freeform 131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auto">
            <a:xfrm>
              <a:off x="4655" y="1874"/>
              <a:ext cx="57" cy="71"/>
            </a:xfrm>
            <a:custGeom>
              <a:avLst/>
              <a:gdLst>
                <a:gd name="T0" fmla="*/ 0 w 90"/>
                <a:gd name="T1" fmla="*/ 2 h 108"/>
                <a:gd name="T2" fmla="*/ 2 w 90"/>
                <a:gd name="T3" fmla="*/ 2 h 108"/>
                <a:gd name="T4" fmla="*/ 3 w 90"/>
                <a:gd name="T5" fmla="*/ 3 h 108"/>
                <a:gd name="T6" fmla="*/ 3 w 90"/>
                <a:gd name="T7" fmla="*/ 5 h 108"/>
                <a:gd name="T8" fmla="*/ 5 w 90"/>
                <a:gd name="T9" fmla="*/ 5 h 108"/>
                <a:gd name="T10" fmla="*/ 6 w 90"/>
                <a:gd name="T11" fmla="*/ 3 h 108"/>
                <a:gd name="T12" fmla="*/ 7 w 90"/>
                <a:gd name="T13" fmla="*/ 5 h 108"/>
                <a:gd name="T14" fmla="*/ 7 w 90"/>
                <a:gd name="T15" fmla="*/ 2 h 108"/>
                <a:gd name="T16" fmla="*/ 8 w 90"/>
                <a:gd name="T17" fmla="*/ 1 h 108"/>
                <a:gd name="T18" fmla="*/ 9 w 90"/>
                <a:gd name="T19" fmla="*/ 1 h 108"/>
                <a:gd name="T20" fmla="*/ 11 w 90"/>
                <a:gd name="T21" fmla="*/ 0 h 108"/>
                <a:gd name="T22" fmla="*/ 13 w 90"/>
                <a:gd name="T23" fmla="*/ 0 h 108"/>
                <a:gd name="T24" fmla="*/ 11 w 90"/>
                <a:gd name="T25" fmla="*/ 1 h 108"/>
                <a:gd name="T26" fmla="*/ 11 w 90"/>
                <a:gd name="T27" fmla="*/ 3 h 108"/>
                <a:gd name="T28" fmla="*/ 11 w 90"/>
                <a:gd name="T29" fmla="*/ 5 h 108"/>
                <a:gd name="T30" fmla="*/ 11 w 90"/>
                <a:gd name="T31" fmla="*/ 5 h 108"/>
                <a:gd name="T32" fmla="*/ 13 w 90"/>
                <a:gd name="T33" fmla="*/ 6 h 108"/>
                <a:gd name="T34" fmla="*/ 15 w 90"/>
                <a:gd name="T35" fmla="*/ 6 h 108"/>
                <a:gd name="T36" fmla="*/ 15 w 90"/>
                <a:gd name="T37" fmla="*/ 8 h 108"/>
                <a:gd name="T38" fmla="*/ 14 w 90"/>
                <a:gd name="T39" fmla="*/ 9 h 108"/>
                <a:gd name="T40" fmla="*/ 13 w 90"/>
                <a:gd name="T41" fmla="*/ 11 h 108"/>
                <a:gd name="T42" fmla="*/ 13 w 90"/>
                <a:gd name="T43" fmla="*/ 11 h 108"/>
                <a:gd name="T44" fmla="*/ 11 w 90"/>
                <a:gd name="T45" fmla="*/ 11 h 108"/>
                <a:gd name="T46" fmla="*/ 11 w 90"/>
                <a:gd name="T47" fmla="*/ 13 h 108"/>
                <a:gd name="T48" fmla="*/ 10 w 90"/>
                <a:gd name="T49" fmla="*/ 16 h 108"/>
                <a:gd name="T50" fmla="*/ 9 w 90"/>
                <a:gd name="T51" fmla="*/ 17 h 108"/>
                <a:gd name="T52" fmla="*/ 8 w 90"/>
                <a:gd name="T53" fmla="*/ 18 h 108"/>
                <a:gd name="T54" fmla="*/ 7 w 90"/>
                <a:gd name="T55" fmla="*/ 19 h 108"/>
                <a:gd name="T56" fmla="*/ 6 w 90"/>
                <a:gd name="T57" fmla="*/ 20 h 108"/>
                <a:gd name="T58" fmla="*/ 5 w 90"/>
                <a:gd name="T59" fmla="*/ 19 h 108"/>
                <a:gd name="T60" fmla="*/ 3 w 90"/>
                <a:gd name="T61" fmla="*/ 17 h 108"/>
                <a:gd name="T62" fmla="*/ 2 w 90"/>
                <a:gd name="T63" fmla="*/ 16 h 108"/>
                <a:gd name="T64" fmla="*/ 2 w 90"/>
                <a:gd name="T65" fmla="*/ 13 h 108"/>
                <a:gd name="T66" fmla="*/ 2 w 90"/>
                <a:gd name="T67" fmla="*/ 11 h 108"/>
                <a:gd name="T68" fmla="*/ 1 w 90"/>
                <a:gd name="T69" fmla="*/ 9 h 108"/>
                <a:gd name="T70" fmla="*/ 1 w 90"/>
                <a:gd name="T71" fmla="*/ 8 h 108"/>
                <a:gd name="T72" fmla="*/ 1 w 90"/>
                <a:gd name="T73" fmla="*/ 8 h 108"/>
                <a:gd name="T74" fmla="*/ 2 w 90"/>
                <a:gd name="T75" fmla="*/ 7 h 108"/>
                <a:gd name="T76" fmla="*/ 2 w 90"/>
                <a:gd name="T77" fmla="*/ 7 h 108"/>
                <a:gd name="T78" fmla="*/ 1 w 90"/>
                <a:gd name="T79" fmla="*/ 6 h 108"/>
                <a:gd name="T80" fmla="*/ 0 w 90"/>
                <a:gd name="T81" fmla="*/ 5 h 1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90" h="108">
                  <a:moveTo>
                    <a:pt x="0" y="18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0" y="102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5CB99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647" name="Freeform 132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auto">
            <a:xfrm>
              <a:off x="4652" y="1831"/>
              <a:ext cx="60" cy="60"/>
            </a:xfrm>
            <a:custGeom>
              <a:avLst/>
              <a:gdLst>
                <a:gd name="T0" fmla="*/ 6 w 96"/>
                <a:gd name="T1" fmla="*/ 3 h 90"/>
                <a:gd name="T2" fmla="*/ 8 w 96"/>
                <a:gd name="T3" fmla="*/ 2 h 90"/>
                <a:gd name="T4" fmla="*/ 8 w 96"/>
                <a:gd name="T5" fmla="*/ 5 h 90"/>
                <a:gd name="T6" fmla="*/ 8 w 96"/>
                <a:gd name="T7" fmla="*/ 3 h 90"/>
                <a:gd name="T8" fmla="*/ 9 w 96"/>
                <a:gd name="T9" fmla="*/ 2 h 90"/>
                <a:gd name="T10" fmla="*/ 10 w 96"/>
                <a:gd name="T11" fmla="*/ 1 h 90"/>
                <a:gd name="T12" fmla="*/ 11 w 96"/>
                <a:gd name="T13" fmla="*/ 0 h 90"/>
                <a:gd name="T14" fmla="*/ 12 w 96"/>
                <a:gd name="T15" fmla="*/ 1 h 90"/>
                <a:gd name="T16" fmla="*/ 13 w 96"/>
                <a:gd name="T17" fmla="*/ 2 h 90"/>
                <a:gd name="T18" fmla="*/ 14 w 96"/>
                <a:gd name="T19" fmla="*/ 3 h 90"/>
                <a:gd name="T20" fmla="*/ 15 w 96"/>
                <a:gd name="T21" fmla="*/ 6 h 90"/>
                <a:gd name="T22" fmla="*/ 15 w 96"/>
                <a:gd name="T23" fmla="*/ 9 h 90"/>
                <a:gd name="T24" fmla="*/ 14 w 96"/>
                <a:gd name="T25" fmla="*/ 9 h 90"/>
                <a:gd name="T26" fmla="*/ 15 w 96"/>
                <a:gd name="T27" fmla="*/ 11 h 90"/>
                <a:gd name="T28" fmla="*/ 15 w 96"/>
                <a:gd name="T29" fmla="*/ 13 h 90"/>
                <a:gd name="T30" fmla="*/ 13 w 96"/>
                <a:gd name="T31" fmla="*/ 14 h 90"/>
                <a:gd name="T32" fmla="*/ 13 w 96"/>
                <a:gd name="T33" fmla="*/ 14 h 90"/>
                <a:gd name="T34" fmla="*/ 12 w 96"/>
                <a:gd name="T35" fmla="*/ 13 h 90"/>
                <a:gd name="T36" fmla="*/ 10 w 96"/>
                <a:gd name="T37" fmla="*/ 13 h 90"/>
                <a:gd name="T38" fmla="*/ 8 w 96"/>
                <a:gd name="T39" fmla="*/ 13 h 90"/>
                <a:gd name="T40" fmla="*/ 8 w 96"/>
                <a:gd name="T41" fmla="*/ 14 h 90"/>
                <a:gd name="T42" fmla="*/ 8 w 96"/>
                <a:gd name="T43" fmla="*/ 17 h 90"/>
                <a:gd name="T44" fmla="*/ 6 w 96"/>
                <a:gd name="T45" fmla="*/ 18 h 90"/>
                <a:gd name="T46" fmla="*/ 6 w 96"/>
                <a:gd name="T47" fmla="*/ 18 h 90"/>
                <a:gd name="T48" fmla="*/ 5 w 96"/>
                <a:gd name="T49" fmla="*/ 18 h 90"/>
                <a:gd name="T50" fmla="*/ 3 w 96"/>
                <a:gd name="T51" fmla="*/ 17 h 90"/>
                <a:gd name="T52" fmla="*/ 3 w 96"/>
                <a:gd name="T53" fmla="*/ 17 h 90"/>
                <a:gd name="T54" fmla="*/ 2 w 96"/>
                <a:gd name="T55" fmla="*/ 15 h 90"/>
                <a:gd name="T56" fmla="*/ 1 w 96"/>
                <a:gd name="T57" fmla="*/ 17 h 90"/>
                <a:gd name="T58" fmla="*/ 0 w 96"/>
                <a:gd name="T59" fmla="*/ 15 h 90"/>
                <a:gd name="T60" fmla="*/ 0 w 96"/>
                <a:gd name="T61" fmla="*/ 13 h 90"/>
                <a:gd name="T62" fmla="*/ 1 w 96"/>
                <a:gd name="T63" fmla="*/ 12 h 90"/>
                <a:gd name="T64" fmla="*/ 2 w 96"/>
                <a:gd name="T65" fmla="*/ 11 h 90"/>
                <a:gd name="T66" fmla="*/ 2 w 96"/>
                <a:gd name="T67" fmla="*/ 9 h 90"/>
                <a:gd name="T68" fmla="*/ 3 w 96"/>
                <a:gd name="T69" fmla="*/ 7 h 90"/>
                <a:gd name="T70" fmla="*/ 3 w 96"/>
                <a:gd name="T71" fmla="*/ 5 h 90"/>
                <a:gd name="T72" fmla="*/ 5 w 96"/>
                <a:gd name="T73" fmla="*/ 5 h 90"/>
                <a:gd name="T74" fmla="*/ 6 w 96"/>
                <a:gd name="T75" fmla="*/ 3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96" h="90">
                  <a:moveTo>
                    <a:pt x="36" y="18"/>
                  </a:moveTo>
                  <a:lnTo>
                    <a:pt x="42" y="18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D5CB99"/>
            </a:solidFill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>
                <a:latin typeface="Calibri" pitchFamily="34" charset="0"/>
                <a:cs typeface="Calibri" pitchFamily="34" charset="0"/>
              </a:rPr>
              <a:t>East African Community is progressing in the</a:t>
            </a:r>
            <a:br>
              <a:rPr lang="en-GB" sz="2800" dirty="0">
                <a:latin typeface="Calibri" pitchFamily="34" charset="0"/>
                <a:cs typeface="Calibri" pitchFamily="34" charset="0"/>
              </a:rPr>
            </a:br>
            <a:r>
              <a:rPr lang="en-GB" sz="2800" dirty="0">
                <a:latin typeface="Calibri" pitchFamily="34" charset="0"/>
                <a:cs typeface="Calibri" pitchFamily="34" charset="0"/>
              </a:rPr>
              <a:t>implementation of EAC MRH (1)</a:t>
            </a:r>
            <a:endParaRPr lang="en-GB" dirty="0"/>
          </a:p>
        </p:txBody>
      </p:sp>
      <p:sp>
        <p:nvSpPr>
          <p:cNvPr id="4" name="Rounded Rectangle 3"/>
          <p:cNvSpPr/>
          <p:nvPr/>
        </p:nvSpPr>
        <p:spPr bwMode="auto">
          <a:xfrm>
            <a:off x="467544" y="1412776"/>
            <a:ext cx="3816424" cy="4464496"/>
          </a:xfrm>
          <a:prstGeom prst="roundRect">
            <a:avLst>
              <a:gd name="adj" fmla="val 6299"/>
            </a:avLst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Unicode MS" pitchFamily="34" charset="-128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4860032" y="1412776"/>
            <a:ext cx="3816424" cy="4464496"/>
          </a:xfrm>
          <a:prstGeom prst="roundRect">
            <a:avLst>
              <a:gd name="adj" fmla="val 6299"/>
            </a:avLst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Unicode MS" pitchFamily="34" charset="-128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39553" y="1412776"/>
            <a:ext cx="3672407" cy="4464496"/>
          </a:xfrm>
          <a:ln>
            <a:noFill/>
          </a:ln>
        </p:spPr>
        <p:txBody>
          <a:bodyPr/>
          <a:lstStyle/>
          <a:p>
            <a:pPr marL="169863" indent="-52388">
              <a:spcBef>
                <a:spcPts val="0"/>
              </a:spcBef>
              <a:buNone/>
              <a:tabLst>
                <a:tab pos="3605213" algn="l"/>
              </a:tabLst>
            </a:pPr>
            <a:r>
              <a:rPr lang="en-US" sz="14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169863" indent="-52388">
              <a:spcBef>
                <a:spcPts val="0"/>
              </a:spcBef>
              <a:buNone/>
              <a:tabLst>
                <a:tab pos="3605213" algn="l"/>
              </a:tabLst>
            </a:pPr>
            <a:r>
              <a:rPr lang="en-US" sz="16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TWG on Medicines Evaluation and Registration: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 draft of the EAC guidelines on format and content of labels for medicinal products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 draft of the EAC guidelines on the format and content of patient information leaflet (PIL) for Medicinal Products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 draft of the EAC guidelines on the format and content of summary of product characteristics for medicinal products (</a:t>
            </a:r>
            <a:r>
              <a:rPr lang="en-US" sz="1600" dirty="0" err="1" smtClean="0">
                <a:latin typeface="Calibri" pitchFamily="34" charset="0"/>
                <a:cs typeface="Calibri" pitchFamily="34" charset="0"/>
              </a:rPr>
              <a:t>SmPC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)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 draft of the EAC Guidelines on Stability requirements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 draft of the EAC Application Form for registration of human medicines.</a:t>
            </a:r>
          </a:p>
          <a:p>
            <a:pPr marL="169863" indent="-169863">
              <a:spcBef>
                <a:spcPts val="600"/>
              </a:spcBef>
              <a:buSzPct val="120000"/>
              <a:buFont typeface="Wingdings" pitchFamily="2" charset="2"/>
              <a:buChar char="§"/>
            </a:pPr>
            <a:endParaRPr lang="en-GB" sz="16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4932041" y="1412776"/>
            <a:ext cx="3672407" cy="446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Font typeface="Wingdings" pitchFamily="2" charset="2"/>
              <a:buChar char="l"/>
              <a:defRPr sz="2500">
                <a:solidFill>
                  <a:srgbClr val="000066"/>
                </a:solidFill>
                <a:latin typeface="+mn-lt"/>
                <a:ea typeface="+mn-ea"/>
                <a:cs typeface="+mn-cs"/>
              </a:defRPr>
            </a:lvl1pPr>
            <a:lvl2pPr marL="804863" indent="-2809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Font typeface="Arial" charset="0"/>
              <a:buChar char="–"/>
              <a:defRPr sz="2100">
                <a:solidFill>
                  <a:srgbClr val="000066"/>
                </a:solidFill>
                <a:latin typeface="+mn-lt"/>
                <a:cs typeface="+mn-cs"/>
              </a:defRPr>
            </a:lvl2pPr>
            <a:lvl3pPr marL="1255713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Char char="•"/>
              <a:defRPr sz="2100">
                <a:solidFill>
                  <a:srgbClr val="000066"/>
                </a:solidFill>
                <a:latin typeface="Arial Unicode MS" pitchFamily="34" charset="-128"/>
                <a:cs typeface="+mn-cs"/>
              </a:defRPr>
            </a:lvl3pPr>
            <a:lvl4pPr marL="1663700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Char char="–"/>
              <a:defRPr sz="2100">
                <a:solidFill>
                  <a:srgbClr val="000066"/>
                </a:solidFill>
                <a:latin typeface="Arial Unicode MS" pitchFamily="34" charset="-128"/>
                <a:cs typeface="+mn-cs"/>
              </a:defRPr>
            </a:lvl4pPr>
            <a:lvl5pPr marL="1989138" indent="-146050" algn="r" rtl="1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5pPr>
            <a:lvl6pPr marL="2446338" indent="-146050" algn="r" rtl="1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6pPr>
            <a:lvl7pPr marL="2903538" indent="-146050" algn="r" rtl="1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7pPr>
            <a:lvl8pPr marL="3360738" indent="-146050" algn="r" rtl="1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8pPr>
            <a:lvl9pPr marL="3817938" indent="-146050" algn="r" rtl="1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9pPr>
          </a:lstStyle>
          <a:p>
            <a:pPr marL="169863" indent="-52388">
              <a:spcBef>
                <a:spcPts val="0"/>
              </a:spcBef>
              <a:buFont typeface="Wingdings" pitchFamily="2" charset="2"/>
              <a:buNone/>
              <a:tabLst>
                <a:tab pos="3605213" algn="l"/>
              </a:tabLst>
            </a:pPr>
            <a:r>
              <a:rPr lang="en-US" sz="14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169863" indent="-52388">
              <a:spcBef>
                <a:spcPts val="0"/>
              </a:spcBef>
              <a:buNone/>
              <a:tabLst>
                <a:tab pos="3605213" algn="l"/>
              </a:tabLst>
            </a:pPr>
            <a:r>
              <a:rPr lang="en-US" sz="16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TWG on Good Manufacturing Practices (GMP):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izing the EAC GMP Format for Executive Summary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izing EAC GMP Inspection Manual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GB" sz="1600" dirty="0" smtClean="0">
                <a:latin typeface="Calibri" pitchFamily="34" charset="0"/>
                <a:cs typeface="Calibri" pitchFamily="34" charset="0"/>
              </a:rPr>
              <a:t>finalising EAC Inspection preparation Standard Operating procedures (SOP)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GB" sz="1600" dirty="0" smtClean="0">
                <a:latin typeface="Calibri" pitchFamily="34" charset="0"/>
                <a:cs typeface="Calibri" pitchFamily="34" charset="0"/>
              </a:rPr>
              <a:t>finalising EAC GMP Report Format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GB" sz="1600" dirty="0" smtClean="0">
                <a:latin typeface="Calibri" pitchFamily="34" charset="0"/>
                <a:cs typeface="Calibri" pitchFamily="34" charset="0"/>
              </a:rPr>
              <a:t>finalising EAC GMP Report Writing Format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GB" sz="1600" dirty="0" smtClean="0">
                <a:latin typeface="Calibri" pitchFamily="34" charset="0"/>
                <a:cs typeface="Calibri" pitchFamily="34" charset="0"/>
              </a:rPr>
              <a:t>finalising SOP for conducting GMP inspection.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endParaRPr lang="en-GB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9700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>
                <a:latin typeface="Calibri" pitchFamily="34" charset="0"/>
                <a:cs typeface="Calibri" pitchFamily="34" charset="0"/>
              </a:rPr>
              <a:t>East African Community is progressing in the</a:t>
            </a:r>
            <a:br>
              <a:rPr lang="en-GB" sz="2800" dirty="0">
                <a:latin typeface="Calibri" pitchFamily="34" charset="0"/>
                <a:cs typeface="Calibri" pitchFamily="34" charset="0"/>
              </a:rPr>
            </a:br>
            <a:r>
              <a:rPr lang="en-GB" sz="2800" dirty="0">
                <a:latin typeface="Calibri" pitchFamily="34" charset="0"/>
                <a:cs typeface="Calibri" pitchFamily="34" charset="0"/>
              </a:rPr>
              <a:t>implementation of EAC MRH </a:t>
            </a:r>
            <a:r>
              <a:rPr lang="en-GB" sz="2800" dirty="0" smtClean="0">
                <a:latin typeface="Calibri" pitchFamily="34" charset="0"/>
                <a:cs typeface="Calibri" pitchFamily="34" charset="0"/>
              </a:rPr>
              <a:t>(2)</a:t>
            </a:r>
            <a:endParaRPr lang="en-GB" dirty="0"/>
          </a:p>
        </p:txBody>
      </p:sp>
      <p:sp>
        <p:nvSpPr>
          <p:cNvPr id="4" name="Rounded Rectangle 3"/>
          <p:cNvSpPr/>
          <p:nvPr/>
        </p:nvSpPr>
        <p:spPr bwMode="auto">
          <a:xfrm>
            <a:off x="467544" y="1412776"/>
            <a:ext cx="3816424" cy="4464496"/>
          </a:xfrm>
          <a:prstGeom prst="roundRect">
            <a:avLst>
              <a:gd name="adj" fmla="val 6299"/>
            </a:avLst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Unicode MS" pitchFamily="34" charset="-128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39553" y="1412776"/>
            <a:ext cx="3672407" cy="4464496"/>
          </a:xfrm>
          <a:noFill/>
          <a:ln>
            <a:noFill/>
          </a:ln>
        </p:spPr>
        <p:txBody>
          <a:bodyPr/>
          <a:lstStyle/>
          <a:p>
            <a:pPr marL="169863" indent="-52388">
              <a:spcBef>
                <a:spcPts val="0"/>
              </a:spcBef>
              <a:buNone/>
              <a:tabLst>
                <a:tab pos="3605213" algn="l"/>
              </a:tabLst>
            </a:pPr>
            <a:r>
              <a:rPr lang="en-US" sz="14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169863" indent="-52388">
              <a:spcBef>
                <a:spcPts val="0"/>
              </a:spcBef>
              <a:buNone/>
              <a:tabLst>
                <a:tab pos="3605213" algn="l"/>
              </a:tabLst>
            </a:pPr>
            <a:r>
              <a:rPr lang="en-US" sz="16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TWG on Information management systems (IMS):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ompleted final terms of reference for the consultancy to conduct an assessment of the current state of the existing IMS, to design and develop technical specifications for a harmonized IMS in the EAC Partner States National Medicines Regulatory Authorities (NMRAs) and EAC Secretariat </a:t>
            </a:r>
            <a:r>
              <a:rPr lang="en-US" sz="1600" i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(assessment conducted by the WHO in January 2013)</a:t>
            </a:r>
            <a:r>
              <a:rPr lang="en-US" sz="1600" dirty="0" smtClean="0">
                <a:latin typeface="Calibri" pitchFamily="34" charset="0"/>
                <a:cs typeface="Calibri" pitchFamily="34" charset="0"/>
              </a:rPr>
              <a:t>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revised Terms of Reference for the technical working group on IMS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completed draft guidelines for the development of the common information management system.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4860032" y="1412776"/>
            <a:ext cx="3816424" cy="4464496"/>
          </a:xfrm>
          <a:prstGeom prst="roundRect">
            <a:avLst>
              <a:gd name="adj" fmla="val 6299"/>
            </a:avLst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 Unicode MS" pitchFamily="34" charset="-128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4932041" y="1412776"/>
            <a:ext cx="3672407" cy="446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80000"/>
              </a:spcBef>
              <a:spcAft>
                <a:spcPct val="0"/>
              </a:spcAft>
              <a:buClr>
                <a:srgbClr val="1E7FB8"/>
              </a:buClr>
              <a:buFont typeface="Wingdings" pitchFamily="2" charset="2"/>
              <a:buChar char="l"/>
              <a:defRPr sz="2500">
                <a:solidFill>
                  <a:srgbClr val="000066"/>
                </a:solidFill>
                <a:latin typeface="+mn-lt"/>
                <a:ea typeface="+mn-ea"/>
                <a:cs typeface="+mn-cs"/>
              </a:defRPr>
            </a:lvl1pPr>
            <a:lvl2pPr marL="804863" indent="-2809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Font typeface="Arial" charset="0"/>
              <a:buChar char="–"/>
              <a:defRPr sz="2100">
                <a:solidFill>
                  <a:srgbClr val="000066"/>
                </a:solidFill>
                <a:latin typeface="+mn-lt"/>
                <a:cs typeface="+mn-cs"/>
              </a:defRPr>
            </a:lvl2pPr>
            <a:lvl3pPr marL="1255713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Char char="•"/>
              <a:defRPr sz="2100">
                <a:solidFill>
                  <a:srgbClr val="000066"/>
                </a:solidFill>
                <a:latin typeface="Arial Unicode MS" pitchFamily="34" charset="-128"/>
                <a:cs typeface="+mn-cs"/>
              </a:defRPr>
            </a:lvl3pPr>
            <a:lvl4pPr marL="1663700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E7FB8"/>
              </a:buClr>
              <a:buChar char="–"/>
              <a:defRPr sz="2100">
                <a:solidFill>
                  <a:srgbClr val="000066"/>
                </a:solidFill>
                <a:latin typeface="Arial Unicode MS" pitchFamily="34" charset="-128"/>
                <a:cs typeface="+mn-cs"/>
              </a:defRPr>
            </a:lvl4pPr>
            <a:lvl5pPr marL="1989138" indent="-146050" algn="r" rtl="1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5pPr>
            <a:lvl6pPr marL="2446338" indent="-146050" algn="r" rtl="1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6pPr>
            <a:lvl7pPr marL="2903538" indent="-146050" algn="r" rtl="1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7pPr>
            <a:lvl8pPr marL="3360738" indent="-146050" algn="r" rtl="1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8pPr>
            <a:lvl9pPr marL="3817938" indent="-146050" algn="r" rtl="1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  <a:cs typeface="+mn-cs"/>
              </a:defRPr>
            </a:lvl9pPr>
          </a:lstStyle>
          <a:p>
            <a:pPr marL="169863" indent="-52388">
              <a:spcBef>
                <a:spcPts val="0"/>
              </a:spcBef>
              <a:buFont typeface="Wingdings" pitchFamily="2" charset="2"/>
              <a:buNone/>
              <a:tabLst>
                <a:tab pos="3605213" algn="l"/>
              </a:tabLst>
            </a:pPr>
            <a:r>
              <a:rPr lang="en-US" sz="14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marL="169863" indent="-52388">
              <a:spcBef>
                <a:spcPts val="0"/>
              </a:spcBef>
              <a:buNone/>
              <a:tabLst>
                <a:tab pos="3605213" algn="l"/>
              </a:tabLst>
            </a:pPr>
            <a:r>
              <a:rPr lang="en-US" sz="16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TWG on Quality Management System (QMS):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izing the Draft East African Community (EAC) Quality Management Requirements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izing guidelines for implementation of EAC QMS requirements;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r>
              <a:rPr lang="en-US" sz="1600" dirty="0" smtClean="0">
                <a:latin typeface="Calibri" pitchFamily="34" charset="0"/>
                <a:cs typeface="Calibri" pitchFamily="34" charset="0"/>
              </a:rPr>
              <a:t>finalizing the draft EAC QMS Manual.</a:t>
            </a:r>
          </a:p>
          <a:p>
            <a:pPr marL="287338" indent="-169863">
              <a:spcBef>
                <a:spcPts val="0"/>
              </a:spcBef>
              <a:buSzPct val="120000"/>
              <a:buFont typeface="Wingdings" pitchFamily="2" charset="2"/>
              <a:buChar char="§"/>
              <a:tabLst>
                <a:tab pos="3605213" algn="l"/>
              </a:tabLst>
            </a:pPr>
            <a:endParaRPr lang="en-GB" sz="16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625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 smtClean="0">
                <a:latin typeface="Calibri" pitchFamily="34" charset="0"/>
                <a:cs typeface="Calibri" pitchFamily="34" charset="0"/>
              </a:rPr>
              <a:t>Joint activities in EAC to support national decision making</a:t>
            </a:r>
            <a:endParaRPr lang="en-GB" sz="2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412776"/>
            <a:ext cx="8568951" cy="4351337"/>
          </a:xfrm>
          <a:ln>
            <a:noFill/>
          </a:ln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  <a:buSzPct val="120000"/>
              <a:buFont typeface="Wingdings" pitchFamily="2" charset="2"/>
              <a:buChar char="§"/>
            </a:pPr>
            <a:r>
              <a:rPr lang="en-GB" sz="2200" b="1" dirty="0" smtClean="0">
                <a:latin typeface="Calibri" pitchFamily="34" charset="0"/>
                <a:cs typeface="Calibri" pitchFamily="34" charset="0"/>
              </a:rPr>
              <a:t>2010 – Joint WHO-EAC Pilot Assessment exercise:</a:t>
            </a:r>
          </a:p>
          <a:p>
            <a:pPr marL="685800" lvl="1" indent="-285750">
              <a:spcBef>
                <a:spcPts val="0"/>
              </a:spcBef>
              <a:spcAft>
                <a:spcPts val="0"/>
              </a:spcAft>
              <a:buSzPct val="120000"/>
              <a:buFont typeface="Calibri" pitchFamily="34" charset="0"/>
              <a:buChar char="−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2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products, submitted by one of the manufacturers simultaneously in EAC countries and in the WHO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Prequalification Programme;</a:t>
            </a:r>
          </a:p>
          <a:p>
            <a:pPr marL="685800" lvl="1" indent="-285750">
              <a:spcBef>
                <a:spcPts val="0"/>
              </a:spcBef>
              <a:spcAft>
                <a:spcPts val="0"/>
              </a:spcAft>
              <a:buSzPct val="120000"/>
              <a:buFont typeface="Calibri" pitchFamily="34" charset="0"/>
              <a:buChar char="−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3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joint assessment sessions conducted during March - July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2010;</a:t>
            </a:r>
          </a:p>
          <a:p>
            <a:pPr marL="685800" lvl="1" indent="-285750">
              <a:spcBef>
                <a:spcPts val="0"/>
              </a:spcBef>
              <a:spcAft>
                <a:spcPts val="0"/>
              </a:spcAft>
              <a:buSzPct val="120000"/>
              <a:buFont typeface="Calibri" pitchFamily="34" charset="0"/>
              <a:buChar char="−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Prequalified by WHO in August 2010 – review time </a:t>
            </a:r>
            <a:r>
              <a:rPr lang="en-US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4 months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pPr marL="685800" lvl="1" indent="-285750">
              <a:spcBef>
                <a:spcPts val="0"/>
              </a:spcBef>
              <a:spcAft>
                <a:spcPts val="0"/>
              </a:spcAft>
              <a:buSzPct val="120000"/>
              <a:buFont typeface="Calibri" pitchFamily="34" charset="0"/>
              <a:buChar char="−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Registered by EAC NMRAs in </a:t>
            </a:r>
            <a:r>
              <a:rPr lang="en-US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7 months</a:t>
            </a:r>
            <a:r>
              <a:rPr lang="en-US" sz="20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after joint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review.</a:t>
            </a:r>
          </a:p>
          <a:p>
            <a:pPr>
              <a:spcBef>
                <a:spcPts val="0"/>
              </a:spcBef>
              <a:spcAft>
                <a:spcPts val="0"/>
              </a:spcAft>
              <a:buSzPct val="120000"/>
              <a:buFont typeface="Wingdings" pitchFamily="2" charset="2"/>
              <a:buChar char="§"/>
            </a:pP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2013 – 2</a:t>
            </a:r>
            <a:r>
              <a:rPr lang="en-US" sz="2200" b="1" baseline="30000" dirty="0" smtClean="0">
                <a:latin typeface="Calibri" pitchFamily="34" charset="0"/>
                <a:cs typeface="Calibri" pitchFamily="34" charset="0"/>
              </a:rPr>
              <a:t>nd</a:t>
            </a: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 Joint </a:t>
            </a:r>
            <a:r>
              <a:rPr lang="en-US" sz="2200" b="1" dirty="0">
                <a:latin typeface="Calibri" pitchFamily="34" charset="0"/>
                <a:cs typeface="Calibri" pitchFamily="34" charset="0"/>
              </a:rPr>
              <a:t>WHO-EAC </a:t>
            </a:r>
            <a:r>
              <a:rPr lang="en-US" sz="2200" b="1" dirty="0" smtClean="0">
                <a:latin typeface="Calibri" pitchFamily="34" charset="0"/>
                <a:cs typeface="Calibri" pitchFamily="34" charset="0"/>
              </a:rPr>
              <a:t>Assessment </a:t>
            </a:r>
            <a:r>
              <a:rPr lang="en-US" sz="2200" b="1" dirty="0">
                <a:latin typeface="Calibri" pitchFamily="34" charset="0"/>
                <a:cs typeface="Calibri" pitchFamily="34" charset="0"/>
              </a:rPr>
              <a:t>exercise:</a:t>
            </a:r>
            <a:endParaRPr lang="en-US" sz="2200" b="1" dirty="0" smtClean="0">
              <a:latin typeface="Calibri" pitchFamily="34" charset="0"/>
              <a:cs typeface="Calibri" pitchFamily="34" charset="0"/>
            </a:endParaRPr>
          </a:p>
          <a:p>
            <a:pPr marL="685800" lvl="1" indent="-285750">
              <a:spcBef>
                <a:spcPts val="0"/>
              </a:spcBef>
              <a:spcAft>
                <a:spcPts val="0"/>
              </a:spcAft>
              <a:buSzPct val="120000"/>
              <a:buFont typeface="Calibri" pitchFamily="34" charset="0"/>
              <a:buChar char="−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3 products (4 strengths) are submitted by the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same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manufacturer simultaneously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in EAC countries and in the WHO Prequalification Programme;</a:t>
            </a:r>
            <a:endParaRPr lang="en-US" sz="2000" dirty="0" smtClean="0">
              <a:latin typeface="Calibri" pitchFamily="34" charset="0"/>
              <a:cs typeface="Calibri" pitchFamily="34" charset="0"/>
            </a:endParaRPr>
          </a:p>
          <a:p>
            <a:pPr marL="685800" lvl="1" indent="-285750">
              <a:spcBef>
                <a:spcPts val="0"/>
              </a:spcBef>
              <a:spcAft>
                <a:spcPts val="0"/>
              </a:spcAft>
              <a:buSzPct val="120000"/>
              <a:buFont typeface="Calibri" pitchFamily="34" charset="0"/>
              <a:buChar char="−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First joint assessment session conducted in July 2013;</a:t>
            </a:r>
          </a:p>
          <a:p>
            <a:pPr marL="685800" lvl="1" indent="-285750">
              <a:spcBef>
                <a:spcPts val="0"/>
              </a:spcBef>
              <a:spcAft>
                <a:spcPts val="0"/>
              </a:spcAft>
              <a:buSzPct val="120000"/>
              <a:buFont typeface="Calibri" pitchFamily="34" charset="0"/>
              <a:buChar char="−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Second session is planned for September 2013..</a:t>
            </a:r>
          </a:p>
          <a:p>
            <a:pPr marL="523875" lvl="1" indent="0" algn="ctr">
              <a:spcBef>
                <a:spcPts val="0"/>
              </a:spcBef>
              <a:spcAft>
                <a:spcPts val="0"/>
              </a:spcAft>
              <a:buSzPct val="120000"/>
              <a:buNone/>
            </a:pPr>
            <a:endParaRPr lang="en-US" sz="1000" b="1" dirty="0" smtClean="0">
              <a:solidFill>
                <a:srgbClr val="006699"/>
              </a:solidFill>
              <a:latin typeface="Calibri" pitchFamily="34" charset="0"/>
              <a:cs typeface="Calibri" pitchFamily="34" charset="0"/>
            </a:endParaRPr>
          </a:p>
          <a:p>
            <a:pPr marL="523875" lvl="1" indent="0" algn="ctr">
              <a:spcBef>
                <a:spcPts val="0"/>
              </a:spcBef>
              <a:spcAft>
                <a:spcPts val="0"/>
              </a:spcAft>
              <a:buSzPct val="120000"/>
              <a:buNone/>
            </a:pPr>
            <a:r>
              <a:rPr lang="en-US" sz="22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Platform for collaboration, building trust and mutual</a:t>
            </a:r>
          </a:p>
          <a:p>
            <a:pPr marL="523875" lvl="1" indent="0" algn="ctr">
              <a:spcBef>
                <a:spcPts val="0"/>
              </a:spcBef>
              <a:spcAft>
                <a:spcPts val="0"/>
              </a:spcAft>
              <a:buSzPct val="120000"/>
              <a:buNone/>
            </a:pPr>
            <a:r>
              <a:rPr lang="en-US" sz="22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recognition of regulatory decisions in the future</a:t>
            </a:r>
          </a:p>
          <a:p>
            <a:pPr>
              <a:spcBef>
                <a:spcPts val="0"/>
              </a:spcBef>
              <a:spcAft>
                <a:spcPts val="0"/>
              </a:spcAft>
              <a:buSzPct val="120000"/>
              <a:buFont typeface="Wingdings" pitchFamily="2" charset="2"/>
              <a:buChar char="§"/>
            </a:pPr>
            <a:endParaRPr lang="en-GB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89496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7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28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What we </a:t>
            </a:r>
            <a:r>
              <a:rPr lang="en-US" sz="2800" dirty="0" smtClean="0">
                <a:solidFill>
                  <a:srgbClr val="0066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do</a:t>
            </a:r>
            <a:r>
              <a:rPr lang="en-US" sz="28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 and </a:t>
            </a:r>
            <a:r>
              <a:rPr lang="en-US" sz="2800" dirty="0" smtClean="0">
                <a:solidFill>
                  <a:srgbClr val="0066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don't </a:t>
            </a:r>
            <a:r>
              <a:rPr lang="en-US" sz="28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mean under harmonization</a:t>
            </a:r>
            <a:endParaRPr lang="en-GB" sz="2800" dirty="0" smtClean="0"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True harmonization goes far beyond development of common documentation;</a:t>
            </a:r>
          </a:p>
          <a:p>
            <a:pPr eaLnBrk="1" hangingPunct="1">
              <a:lnSpc>
                <a:spcPct val="90000"/>
              </a:lnSpc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It requires effective </a:t>
            </a:r>
            <a:r>
              <a:rPr lang="en-US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communication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and </a:t>
            </a:r>
            <a:r>
              <a:rPr lang="en-US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collaboration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aimed at </a:t>
            </a:r>
            <a:r>
              <a:rPr lang="en-US" b="1" dirty="0" smtClean="0">
                <a:latin typeface="Calibri" pitchFamily="34" charset="0"/>
                <a:cs typeface="Calibri" pitchFamily="34" charset="0"/>
              </a:rPr>
              <a:t>building capacity and trust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(e.g., information sharing, recognition and joint activities);</a:t>
            </a:r>
          </a:p>
          <a:p>
            <a:pPr eaLnBrk="1" hangingPunct="1">
              <a:lnSpc>
                <a:spcPct val="90000"/>
              </a:lnSpc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In combination, these activities can lead to similar or collaborative approaches to medicines registration;</a:t>
            </a:r>
          </a:p>
          <a:p>
            <a:pPr eaLnBrk="1" hangingPunct="1">
              <a:lnSpc>
                <a:spcPct val="90000"/>
              </a:lnSpc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Can prepare the ground for </a:t>
            </a:r>
            <a:r>
              <a:rPr lang="en-US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mutual recognition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and/or </a:t>
            </a:r>
            <a:r>
              <a:rPr lang="en-US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centralized registration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in the longer-term future.</a:t>
            </a:r>
            <a:endParaRPr lang="en-GB" dirty="0" smtClean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Rectangle 3"/>
          <p:cNvSpPr>
            <a:spLocks noChangeArrowheads="1"/>
          </p:cNvSpPr>
          <p:nvPr/>
        </p:nvSpPr>
        <p:spPr bwMode="auto">
          <a:xfrm>
            <a:off x="539750" y="1844675"/>
            <a:ext cx="8064500" cy="3887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65125" indent="-365125" eaLnBrk="1" hangingPunct="1">
              <a:lnSpc>
                <a:spcPct val="90000"/>
              </a:lnSpc>
              <a:spcBef>
                <a:spcPct val="50000"/>
              </a:spcBef>
              <a:buClr>
                <a:srgbClr val="1E7FB8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2500" dirty="0">
                <a:solidFill>
                  <a:srgbClr val="000066"/>
                </a:solidFill>
                <a:latin typeface="Calibri" pitchFamily="34" charset="0"/>
                <a:cs typeface="Calibri" pitchFamily="34" charset="0"/>
              </a:rPr>
              <a:t>Harmonization </a:t>
            </a:r>
            <a:r>
              <a:rPr lang="en-US" sz="2500" b="1" dirty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doesn't mean a loss of national sovereignty / autonomy </a:t>
            </a:r>
            <a:r>
              <a:rPr lang="en-US" sz="2500" dirty="0">
                <a:solidFill>
                  <a:srgbClr val="000066"/>
                </a:solidFill>
                <a:latin typeface="Calibri" pitchFamily="34" charset="0"/>
                <a:cs typeface="Calibri" pitchFamily="34" charset="0"/>
              </a:rPr>
              <a:t>(and certainly not in the early stages);</a:t>
            </a:r>
          </a:p>
          <a:p>
            <a:pPr marL="365125" indent="-365125" eaLnBrk="1" hangingPunct="1">
              <a:lnSpc>
                <a:spcPct val="90000"/>
              </a:lnSpc>
              <a:spcBef>
                <a:spcPct val="50000"/>
              </a:spcBef>
              <a:buClr>
                <a:srgbClr val="1E7FB8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2500" dirty="0">
                <a:solidFill>
                  <a:srgbClr val="000066"/>
                </a:solidFill>
                <a:latin typeface="Calibri" pitchFamily="34" charset="0"/>
                <a:cs typeface="Calibri" pitchFamily="34" charset="0"/>
              </a:rPr>
              <a:t>In all cases the registration decision itself remains firmly in the hands of sovereign nations;</a:t>
            </a:r>
          </a:p>
          <a:p>
            <a:pPr marL="365125" indent="-365125" eaLnBrk="1" hangingPunct="1">
              <a:lnSpc>
                <a:spcPct val="90000"/>
              </a:lnSpc>
              <a:spcBef>
                <a:spcPct val="50000"/>
              </a:spcBef>
              <a:buClr>
                <a:srgbClr val="1E7FB8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2500" dirty="0">
                <a:solidFill>
                  <a:srgbClr val="000066"/>
                </a:solidFill>
                <a:latin typeface="Calibri" pitchFamily="34" charset="0"/>
                <a:cs typeface="Calibri" pitchFamily="34" charset="0"/>
              </a:rPr>
              <a:t>Collaborative mechanisms, such as joint assessments or inspections, </a:t>
            </a:r>
            <a:r>
              <a:rPr lang="en-US" sz="2500" b="1" dirty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does not imply collaborative decision-making!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What we </a:t>
            </a:r>
            <a:r>
              <a:rPr lang="en-US" sz="2800" dirty="0">
                <a:solidFill>
                  <a:srgbClr val="0066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do</a:t>
            </a:r>
            <a:r>
              <a:rPr lang="en-US" sz="2800" dirty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 and </a:t>
            </a:r>
            <a:r>
              <a:rPr lang="en-US" sz="2800" dirty="0">
                <a:solidFill>
                  <a:srgbClr val="0066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don't </a:t>
            </a:r>
            <a:r>
              <a:rPr lang="en-US" sz="2800" dirty="0"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  <a:cs typeface="Calibri" pitchFamily="34" charset="0"/>
              </a:rPr>
              <a:t>mean under harmonization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3200" dirty="0" smtClean="0">
                <a:latin typeface="Calibri" pitchFamily="34" charset="0"/>
                <a:cs typeface="Calibri" pitchFamily="34" charset="0"/>
              </a:rPr>
              <a:t>Conclusions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2329" y="1484313"/>
            <a:ext cx="7848103" cy="4351337"/>
          </a:xfrm>
        </p:spPr>
        <p:txBody>
          <a:bodyPr/>
          <a:lstStyle/>
          <a:p>
            <a:pPr eaLnBrk="1" hangingPunct="1">
              <a:lnSpc>
                <a:spcPct val="80000"/>
              </a:lnSpc>
              <a:spcBef>
                <a:spcPct val="45000"/>
              </a:spcBef>
              <a:buSzPct val="120000"/>
              <a:buFont typeface="Wingdings" pitchFamily="2" charset="2"/>
              <a:buChar char="§"/>
            </a:pPr>
            <a:r>
              <a:rPr lang="en-GB" sz="2400" dirty="0" smtClean="0">
                <a:latin typeface="Calibri" pitchFamily="34" charset="0"/>
                <a:cs typeface="Calibri" pitchFamily="34" charset="0"/>
              </a:rPr>
              <a:t>Medicines regulation is not anymore a "single-player" activity;</a:t>
            </a:r>
          </a:p>
          <a:p>
            <a:pPr eaLnBrk="1" hangingPunct="1">
              <a:lnSpc>
                <a:spcPct val="80000"/>
              </a:lnSpc>
              <a:spcBef>
                <a:spcPct val="45000"/>
              </a:spcBef>
              <a:buSzPct val="120000"/>
              <a:buFont typeface="Wingdings" pitchFamily="2" charset="2"/>
              <a:buChar char="§"/>
            </a:pPr>
            <a:r>
              <a:rPr lang="en-GB" sz="24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Harmonization of regulatory requirements, work sharing and collaboration </a:t>
            </a:r>
            <a:r>
              <a:rPr lang="en-GB" sz="2400" dirty="0" smtClean="0">
                <a:latin typeface="Calibri" pitchFamily="34" charset="0"/>
                <a:cs typeface="Calibri" pitchFamily="34" charset="0"/>
              </a:rPr>
              <a:t>can help reduce workload and improve public health by improving overall regulatory performance.</a:t>
            </a:r>
          </a:p>
          <a:p>
            <a:pPr eaLnBrk="1" hangingPunct="1">
              <a:lnSpc>
                <a:spcPct val="80000"/>
              </a:lnSpc>
              <a:spcBef>
                <a:spcPct val="45000"/>
              </a:spcBef>
              <a:buSzPct val="120000"/>
              <a:buFont typeface="Wingdings" pitchFamily="2" charset="2"/>
              <a:buChar char="§"/>
            </a:pPr>
            <a:r>
              <a:rPr lang="en-GB" sz="2400" dirty="0" smtClean="0">
                <a:latin typeface="Calibri" pitchFamily="34" charset="0"/>
                <a:cs typeface="Calibri" pitchFamily="34" charset="0"/>
              </a:rPr>
              <a:t>It can help to direct the expert knowledge and resources to performance of the functions that can</a:t>
            </a:r>
            <a:r>
              <a:rPr lang="en-GB" sz="24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improve public health</a:t>
            </a:r>
            <a:r>
              <a:rPr lang="en-GB" sz="2400" dirty="0" smtClean="0">
                <a:latin typeface="Calibri" pitchFamily="34" charset="0"/>
                <a:cs typeface="Calibri" pitchFamily="34" charset="0"/>
              </a:rPr>
              <a:t> and facilitate access to essential medicines;</a:t>
            </a:r>
          </a:p>
          <a:p>
            <a:pPr eaLnBrk="1" hangingPunct="1">
              <a:lnSpc>
                <a:spcPct val="80000"/>
              </a:lnSpc>
              <a:spcBef>
                <a:spcPct val="45000"/>
              </a:spcBef>
              <a:buSzPct val="120000"/>
              <a:buFont typeface="Wingdings" pitchFamily="2" charset="2"/>
              <a:buChar char="§"/>
            </a:pPr>
            <a:r>
              <a:rPr lang="en-US" sz="2400" dirty="0" smtClean="0">
                <a:latin typeface="Calibri" pitchFamily="34" charset="0"/>
                <a:cs typeface="Calibri" pitchFamily="34" charset="0"/>
              </a:rPr>
              <a:t>Formation of effective networks between regulatory authorities nationally and internationally may facilitate </a:t>
            </a:r>
            <a:r>
              <a:rPr lang="en-US" sz="24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sharing of scarce resources and eliminate duplicating of activities</a:t>
            </a:r>
            <a:r>
              <a:rPr lang="en-US" sz="2400" dirty="0" smtClean="0">
                <a:latin typeface="Calibri" pitchFamily="34" charset="0"/>
                <a:cs typeface="Calibri" pitchFamily="34" charset="0"/>
              </a:rPr>
              <a:t>.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934" y="1887463"/>
            <a:ext cx="3143250" cy="2333625"/>
          </a:xfrm>
          <a:prstGeom prst="rect">
            <a:avLst/>
          </a:prstGeom>
        </p:spPr>
      </p:pic>
      <p:sp>
        <p:nvSpPr>
          <p:cNvPr id="3891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2987824" y="4509120"/>
            <a:ext cx="3313112" cy="1204441"/>
          </a:xfrm>
        </p:spPr>
        <p:txBody>
          <a:bodyPr/>
          <a:lstStyle/>
          <a:p>
            <a:pPr algn="ctr" eaLnBrk="1" hangingPunct="1">
              <a:buFont typeface="Wingdings" pitchFamily="2" charset="2"/>
              <a:buNone/>
            </a:pPr>
            <a:r>
              <a:rPr lang="en-GB" sz="3200" b="1" dirty="0" smtClean="0">
                <a:latin typeface="Calibri" pitchFamily="34" charset="0"/>
                <a:cs typeface="Calibri" pitchFamily="34" charset="0"/>
              </a:rPr>
              <a:t>Thank you!</a:t>
            </a:r>
          </a:p>
          <a:p>
            <a:pPr algn="ctr" eaLnBrk="1" hangingPunct="1">
              <a:buFont typeface="Wingdings" pitchFamily="2" charset="2"/>
              <a:buNone/>
            </a:pPr>
            <a:r>
              <a:rPr lang="en-GB" sz="1800" dirty="0" smtClean="0">
                <a:solidFill>
                  <a:srgbClr val="0066CC"/>
                </a:solidFill>
                <a:latin typeface="Calibri" pitchFamily="34" charset="0"/>
                <a:cs typeface="Calibri" pitchFamily="34" charset="0"/>
                <a:hlinkClick r:id="rId3"/>
              </a:rPr>
              <a:t>www.who.int/medicines</a:t>
            </a:r>
          </a:p>
        </p:txBody>
      </p:sp>
      <p:sp>
        <p:nvSpPr>
          <p:cNvPr id="38916" name="TextBox 1"/>
          <p:cNvSpPr txBox="1">
            <a:spLocks noChangeArrowheads="1"/>
          </p:cNvSpPr>
          <p:nvPr/>
        </p:nvSpPr>
        <p:spPr bwMode="auto">
          <a:xfrm>
            <a:off x="3059832" y="4005064"/>
            <a:ext cx="105189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r>
              <a:rPr lang="en-GB" sz="600" dirty="0"/>
              <a:t>Graphic: </a:t>
            </a:r>
            <a:r>
              <a:rPr lang="en-GB" sz="600" dirty="0" smtClean="0">
                <a:hlinkClick r:id="rId4"/>
              </a:rPr>
              <a:t>www.uneca.org</a:t>
            </a:r>
            <a:r>
              <a:rPr lang="en-GB" sz="600" dirty="0" smtClean="0"/>
              <a:t> </a:t>
            </a:r>
            <a:endParaRPr lang="en-US" sz="6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600" dirty="0" smtClean="0">
                <a:latin typeface="Calibri" pitchFamily="34" charset="0"/>
                <a:cs typeface="Calibri" pitchFamily="34" charset="0"/>
              </a:rPr>
              <a:t>Current challenges in Africa</a:t>
            </a:r>
            <a:endParaRPr lang="en-GB" sz="36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339" name="Content Placeholder 1"/>
          <p:cNvSpPr>
            <a:spLocks noGrp="1"/>
          </p:cNvSpPr>
          <p:nvPr>
            <p:ph idx="1"/>
          </p:nvPr>
        </p:nvSpPr>
        <p:spPr>
          <a:xfrm>
            <a:off x="540321" y="1669951"/>
            <a:ext cx="7920111" cy="3919289"/>
          </a:xfrm>
        </p:spPr>
        <p:txBody>
          <a:bodyPr/>
          <a:lstStyle/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In many African countries most essential medicines are not readily available and accessible due to </a:t>
            </a:r>
            <a:r>
              <a:rPr lang="en-US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insufficient regulatory capacity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and a </a:t>
            </a:r>
            <a:r>
              <a:rPr lang="en-US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lack of harmonized technical requirements for medicines registration;</a:t>
            </a:r>
          </a:p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Poor uptake of new and existing health solutions costs </a:t>
            </a:r>
            <a:r>
              <a:rPr lang="en-US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millions of lives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across low-income countries;</a:t>
            </a:r>
          </a:p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</a:pPr>
            <a:r>
              <a:rPr lang="en-US" dirty="0" smtClean="0">
                <a:latin typeface="Calibri" pitchFamily="34" charset="0"/>
                <a:cs typeface="Calibri" pitchFamily="34" charset="0"/>
              </a:rPr>
              <a:t>Lack of essential medicines contributes to </a:t>
            </a:r>
            <a:r>
              <a:rPr lang="en-US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disparities in health and life-expectancy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 between low-income African countries and high-income countries outside the continent.</a:t>
            </a:r>
          </a:p>
          <a:p>
            <a:endParaRPr lang="en-US" dirty="0" smtClean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3200" dirty="0" smtClean="0">
                <a:latin typeface="Calibri" pitchFamily="34" charset="0"/>
                <a:cs typeface="Calibri" pitchFamily="34" charset="0"/>
              </a:rPr>
              <a:t>Differences in regulatory capacity </a:t>
            </a:r>
            <a:br>
              <a:rPr lang="en-GB" sz="3200" dirty="0" smtClean="0">
                <a:latin typeface="Calibri" pitchFamily="34" charset="0"/>
                <a:cs typeface="Calibri" pitchFamily="34" charset="0"/>
              </a:rPr>
            </a:br>
            <a:r>
              <a:rPr lang="en-GB" sz="3200" dirty="0" smtClean="0">
                <a:latin typeface="Calibri" pitchFamily="34" charset="0"/>
                <a:cs typeface="Calibri" pitchFamily="34" charset="0"/>
              </a:rPr>
              <a:t>in WHO African Region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291" name="Rectangle 3"/>
          <p:cNvSpPr>
            <a:spLocks noChangeArrowheads="1"/>
          </p:cNvSpPr>
          <p:nvPr/>
        </p:nvSpPr>
        <p:spPr bwMode="auto">
          <a:xfrm>
            <a:off x="5003924" y="1549241"/>
            <a:ext cx="3240484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1" hangingPunct="1"/>
            <a:r>
              <a:rPr lang="en-GB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Medicines Regulatory capacity in 46 </a:t>
            </a:r>
            <a:r>
              <a:rPr lang="en-GB" sz="2000" b="1" dirty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WHO AFRO</a:t>
            </a:r>
          </a:p>
          <a:p>
            <a:pPr algn="ctr" eaLnBrk="1" hangingPunct="1"/>
            <a:r>
              <a:rPr lang="en-GB" sz="2000" b="1" dirty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Member States:</a:t>
            </a:r>
          </a:p>
        </p:txBody>
      </p:sp>
      <p:graphicFrame>
        <p:nvGraphicFramePr>
          <p:cNvPr id="2" name="Object 4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84243293"/>
              </p:ext>
            </p:extLst>
          </p:nvPr>
        </p:nvGraphicFramePr>
        <p:xfrm>
          <a:off x="4279900" y="2400300"/>
          <a:ext cx="4327525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293" name="Text Box 5"/>
          <p:cNvSpPr txBox="1">
            <a:spLocks noChangeArrowheads="1"/>
          </p:cNvSpPr>
          <p:nvPr/>
        </p:nvSpPr>
        <p:spPr bwMode="auto">
          <a:xfrm>
            <a:off x="231775" y="5465763"/>
            <a:ext cx="520382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endParaRPr lang="en-GB"/>
          </a:p>
        </p:txBody>
      </p:sp>
      <p:sp>
        <p:nvSpPr>
          <p:cNvPr id="12294" name="Text Box 6"/>
          <p:cNvSpPr txBox="1">
            <a:spLocks noChangeArrowheads="1"/>
          </p:cNvSpPr>
          <p:nvPr/>
        </p:nvSpPr>
        <p:spPr bwMode="auto">
          <a:xfrm>
            <a:off x="2555875" y="5375275"/>
            <a:ext cx="63579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r>
              <a:rPr lang="en-GB" sz="1200" b="1" dirty="0">
                <a:latin typeface="Calibri" pitchFamily="34" charset="0"/>
                <a:cs typeface="Calibri" pitchFamily="34" charset="0"/>
              </a:rPr>
              <a:t>Source:</a:t>
            </a:r>
            <a:r>
              <a:rPr lang="en-GB" sz="1200" dirty="0">
                <a:latin typeface="Calibri" pitchFamily="34" charset="0"/>
                <a:cs typeface="Calibri" pitchFamily="34" charset="0"/>
              </a:rPr>
              <a:t> 	</a:t>
            </a:r>
            <a:r>
              <a:rPr lang="en-GB" sz="1200" i="1" dirty="0">
                <a:latin typeface="Calibri" pitchFamily="34" charset="0"/>
                <a:cs typeface="Calibri" pitchFamily="34" charset="0"/>
              </a:rPr>
              <a:t>WHO/AFRO/EDP/04.5: Availability of Drug Regulatory and Quality Assurance 	Elements in Member States of the WHO African Region, 2004, Brazzaville.</a:t>
            </a:r>
          </a:p>
        </p:txBody>
      </p:sp>
      <p:sp>
        <p:nvSpPr>
          <p:cNvPr id="12295" name="Text Box 5"/>
          <p:cNvSpPr txBox="1">
            <a:spLocks noChangeArrowheads="1"/>
          </p:cNvSpPr>
          <p:nvPr/>
        </p:nvSpPr>
        <p:spPr bwMode="auto">
          <a:xfrm>
            <a:off x="323850" y="1773238"/>
            <a:ext cx="4103688" cy="304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r>
              <a:rPr lang="en-GB" sz="2400" dirty="0">
                <a:solidFill>
                  <a:srgbClr val="000066"/>
                </a:solidFill>
                <a:latin typeface="Calibri" pitchFamily="34" charset="0"/>
                <a:ea typeface="SimSun" pitchFamily="2" charset="-122"/>
                <a:cs typeface="Calibri" pitchFamily="34" charset="0"/>
              </a:rPr>
              <a:t>Due to </a:t>
            </a:r>
            <a:r>
              <a:rPr lang="en-GB" altLang="zh-CN" sz="2400" dirty="0">
                <a:solidFill>
                  <a:srgbClr val="000066"/>
                </a:solidFill>
                <a:latin typeface="Calibri" pitchFamily="34" charset="0"/>
                <a:ea typeface="SimSun" pitchFamily="2" charset="-122"/>
                <a:cs typeface="Calibri" pitchFamily="34" charset="0"/>
              </a:rPr>
              <a:t>chronic shortages of human, technical, financial and other resources many </a:t>
            </a:r>
            <a:r>
              <a:rPr lang="en-GB" altLang="zh-CN" sz="2400" dirty="0" smtClean="0">
                <a:solidFill>
                  <a:srgbClr val="000066"/>
                </a:solidFill>
                <a:latin typeface="Calibri" pitchFamily="34" charset="0"/>
                <a:ea typeface="SimSun" pitchFamily="2" charset="-122"/>
                <a:cs typeface="Calibri" pitchFamily="34" charset="0"/>
              </a:rPr>
              <a:t>National Medicines Regulatory Authorities (NMRAs) in </a:t>
            </a:r>
            <a:r>
              <a:rPr lang="en-GB" altLang="zh-CN" sz="2400" dirty="0">
                <a:solidFill>
                  <a:srgbClr val="000066"/>
                </a:solidFill>
                <a:latin typeface="Calibri" pitchFamily="34" charset="0"/>
                <a:ea typeface="SimSun" pitchFamily="2" charset="-122"/>
                <a:cs typeface="Calibri" pitchFamily="34" charset="0"/>
              </a:rPr>
              <a:t>Africa don't  have the full capacity to perform </a:t>
            </a:r>
            <a:r>
              <a:rPr lang="en-GB" altLang="zh-CN" sz="2400" b="1" dirty="0">
                <a:solidFill>
                  <a:srgbClr val="006699"/>
                </a:solidFill>
                <a:latin typeface="Calibri" pitchFamily="34" charset="0"/>
                <a:ea typeface="SimSun" pitchFamily="2" charset="-122"/>
                <a:cs typeface="Calibri" pitchFamily="34" charset="0"/>
              </a:rPr>
              <a:t>most  core regulatory functions</a:t>
            </a:r>
            <a:endParaRPr lang="en-GB" sz="2400" b="1" dirty="0">
              <a:solidFill>
                <a:srgbClr val="000066"/>
              </a:solidFill>
              <a:latin typeface="Calibri" pitchFamily="34" charset="0"/>
              <a:ea typeface="SimSun" pitchFamily="2" charset="-122"/>
              <a:cs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3000" dirty="0" smtClean="0">
                <a:latin typeface="Calibri" pitchFamily="34" charset="0"/>
                <a:cs typeface="Calibri" pitchFamily="34" charset="0"/>
              </a:rPr>
              <a:t>Assessments of medicines regulatory systems in</a:t>
            </a:r>
            <a:br>
              <a:rPr lang="en-GB" sz="3000" dirty="0" smtClean="0">
                <a:latin typeface="Calibri" pitchFamily="34" charset="0"/>
                <a:cs typeface="Calibri" pitchFamily="34" charset="0"/>
              </a:rPr>
            </a:br>
            <a:r>
              <a:rPr lang="en-GB" sz="3000" dirty="0" smtClean="0">
                <a:latin typeface="Calibri" pitchFamily="34" charset="0"/>
                <a:cs typeface="Calibri" pitchFamily="34" charset="0"/>
              </a:rPr>
              <a:t>26 Sub-Saharan African countries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830513" y="1773362"/>
            <a:ext cx="5845175" cy="3887886"/>
          </a:xfrm>
        </p:spPr>
        <p:txBody>
          <a:bodyPr/>
          <a:lstStyle/>
          <a:p>
            <a:pPr eaLnBrk="1" hangingPunct="1">
              <a:lnSpc>
                <a:spcPct val="80000"/>
              </a:lnSpc>
              <a:spcBef>
                <a:spcPts val="1200"/>
              </a:spcBef>
              <a:buSzPct val="120000"/>
              <a:buFont typeface="Wingdings" pitchFamily="2" charset="2"/>
              <a:buChar char="§"/>
            </a:pPr>
            <a:r>
              <a:rPr lang="en-GB" sz="2000" dirty="0" smtClean="0">
                <a:latin typeface="Calibri" pitchFamily="34" charset="0"/>
                <a:cs typeface="Calibri" pitchFamily="34" charset="0"/>
              </a:rPr>
              <a:t>Guidelines and assessment procedures are not up to international standards and are often of an administrative rather than technical nature;</a:t>
            </a:r>
          </a:p>
          <a:p>
            <a:pPr eaLnBrk="1" hangingPunct="1">
              <a:lnSpc>
                <a:spcPct val="80000"/>
              </a:lnSpc>
              <a:spcBef>
                <a:spcPts val="1200"/>
              </a:spcBef>
              <a:buSzPct val="120000"/>
              <a:buFont typeface="Wingdings" pitchFamily="2" charset="2"/>
              <a:buChar char="§"/>
            </a:pPr>
            <a:r>
              <a:rPr lang="en-GB" sz="2000" dirty="0" smtClean="0">
                <a:latin typeface="Calibri" pitchFamily="34" charset="0"/>
                <a:cs typeface="Calibri" pitchFamily="34" charset="0"/>
              </a:rPr>
              <a:t>Wide-ranging exemption clauses exist which are not justified by a risk assessment, for example for public sector imports or donations;</a:t>
            </a:r>
          </a:p>
          <a:p>
            <a:pPr eaLnBrk="1" hangingPunct="1">
              <a:lnSpc>
                <a:spcPct val="80000"/>
              </a:lnSpc>
              <a:spcBef>
                <a:spcPts val="1200"/>
              </a:spcBef>
              <a:buSzPct val="120000"/>
              <a:buFont typeface="Wingdings" pitchFamily="2" charset="2"/>
              <a:buChar char="§"/>
            </a:pPr>
            <a:r>
              <a:rPr lang="en-GB" sz="2000" dirty="0" smtClean="0">
                <a:latin typeface="Calibri" pitchFamily="34" charset="0"/>
                <a:cs typeface="Calibri" pitchFamily="34" charset="0"/>
              </a:rPr>
              <a:t>Inadequate resources severely limit technical assessment of dossiers;</a:t>
            </a:r>
          </a:p>
          <a:p>
            <a:pPr eaLnBrk="1" hangingPunct="1">
              <a:lnSpc>
                <a:spcPct val="80000"/>
              </a:lnSpc>
              <a:spcBef>
                <a:spcPts val="1200"/>
              </a:spcBef>
              <a:buSzPct val="120000"/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In spite of resource constraints </a:t>
            </a:r>
            <a:r>
              <a:rPr lang="en-GB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only few countries rely/refer on decisions made by other regulators</a:t>
            </a:r>
            <a:r>
              <a:rPr lang="en-GB" sz="20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(such as stringent NMRAs or by the WHO Prequalification Programme), or by other competent authorities.</a:t>
            </a:r>
            <a:endParaRPr lang="en-GB" sz="2000" b="1" dirty="0" smtClean="0">
              <a:solidFill>
                <a:srgbClr val="006699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3316" name="Picture 4" descr="Cover Assessment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914" y="1988095"/>
            <a:ext cx="2328862" cy="33131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>
                <a:latin typeface="Calibri" pitchFamily="34" charset="0"/>
                <a:cs typeface="Calibri" pitchFamily="34" charset="0"/>
              </a:rPr>
              <a:t>How could medicines registration processes</a:t>
            </a:r>
            <a:br>
              <a:rPr lang="en-GB" dirty="0" smtClean="0">
                <a:latin typeface="Calibri" pitchFamily="34" charset="0"/>
                <a:cs typeface="Calibri" pitchFamily="34" charset="0"/>
              </a:rPr>
            </a:br>
            <a:r>
              <a:rPr lang="en-GB" dirty="0" smtClean="0">
                <a:latin typeface="Calibri" pitchFamily="34" charset="0"/>
                <a:cs typeface="Calibri" pitchFamily="34" charset="0"/>
              </a:rPr>
              <a:t>in Africa be improved?</a:t>
            </a:r>
          </a:p>
        </p:txBody>
      </p:sp>
      <p:graphicFrame>
        <p:nvGraphicFramePr>
          <p:cNvPr id="15363" name="Object 7"/>
          <p:cNvGraphicFramePr>
            <a:graphicFrameLocks noGrp="1" noChangeAspect="1"/>
          </p:cNvGraphicFramePr>
          <p:nvPr>
            <p:ph idx="1"/>
          </p:nvPr>
        </p:nvGraphicFramePr>
        <p:xfrm>
          <a:off x="323850" y="1504950"/>
          <a:ext cx="8293100" cy="4265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Image" r:id="rId3" imgW="14539683" imgH="7479365" progId="Photoshop.Image.7">
                  <p:embed/>
                </p:oleObj>
              </mc:Choice>
              <mc:Fallback>
                <p:oleObj name="Image" r:id="rId3" imgW="14539683" imgH="7479365" progId="Photoshop.Image.7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3850" y="1504950"/>
                        <a:ext cx="8293100" cy="42656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 cap="flat" cmpd="sng">
                            <a:solidFill>
                              <a:schemeClr val="tx1"/>
                            </a:solidFill>
                            <a:prstDash val="solid"/>
                            <a:miter lim="800000"/>
                            <a:headEnd type="none" w="sm" len="sm"/>
                            <a:tailEnd type="none" w="sm" len="sm"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3200" dirty="0" smtClean="0">
                <a:latin typeface="Calibri" pitchFamily="34" charset="0"/>
                <a:cs typeface="Calibri" pitchFamily="34" charset="0"/>
              </a:rPr>
              <a:t>Potential public health gains from collaboration</a:t>
            </a:r>
            <a:br>
              <a:rPr lang="en-GB" sz="3200" dirty="0" smtClean="0">
                <a:latin typeface="Calibri" pitchFamily="34" charset="0"/>
                <a:cs typeface="Calibri" pitchFamily="34" charset="0"/>
              </a:rPr>
            </a:br>
            <a:r>
              <a:rPr lang="en-GB" sz="3200" dirty="0" smtClean="0">
                <a:latin typeface="Calibri" pitchFamily="34" charset="0"/>
                <a:cs typeface="Calibri" pitchFamily="34" charset="0"/>
              </a:rPr>
              <a:t>and harmonization</a:t>
            </a:r>
            <a:endParaRPr lang="en-US" sz="32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SzPct val="120000"/>
              <a:buFont typeface="Wingdings" pitchFamily="2" charset="2"/>
              <a:buChar char="§"/>
            </a:pPr>
            <a:r>
              <a:rPr lang="en-GB" dirty="0" smtClean="0">
                <a:latin typeface="Calibri" pitchFamily="34" charset="0"/>
                <a:cs typeface="Calibri" pitchFamily="34" charset="0"/>
              </a:rPr>
              <a:t>Less risk of being harmed by medicines, as gradual improvement of quality, safety and efficacy of products on the markets is expected;</a:t>
            </a:r>
          </a:p>
          <a:p>
            <a:pPr eaLnBrk="1" hangingPunct="1">
              <a:lnSpc>
                <a:spcPct val="90000"/>
              </a:lnSpc>
              <a:buSzPct val="120000"/>
              <a:buFont typeface="Wingdings" pitchFamily="2" charset="2"/>
              <a:buChar char="§"/>
            </a:pPr>
            <a:r>
              <a:rPr lang="en-GB" dirty="0" smtClean="0">
                <a:latin typeface="Calibri" pitchFamily="34" charset="0"/>
                <a:cs typeface="Calibri" pitchFamily="34" charset="0"/>
              </a:rPr>
              <a:t>More rapid access to needed medicines - high priority essential medicines, new medicines;</a:t>
            </a:r>
          </a:p>
          <a:p>
            <a:pPr eaLnBrk="1" hangingPunct="1">
              <a:lnSpc>
                <a:spcPct val="90000"/>
              </a:lnSpc>
              <a:buSzPct val="120000"/>
              <a:buFont typeface="Wingdings" pitchFamily="2" charset="2"/>
              <a:buChar char="§"/>
            </a:pPr>
            <a:r>
              <a:rPr lang="en-GB" dirty="0" smtClean="0">
                <a:latin typeface="Calibri" pitchFamily="34" charset="0"/>
                <a:cs typeface="Calibri" pitchFamily="34" charset="0"/>
              </a:rPr>
              <a:t>Better value for money - both for out of pocket and public funds, as there will be no waste on substandard and on poor-quality medicines.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6588125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eaLnBrk="1" hangingPunct="1"/>
            <a:fld id="{B1C4392C-857C-4261-8FDA-9AAAA1780FCE}" type="slidenum">
              <a:rPr lang="en-GB" sz="1200">
                <a:solidFill>
                  <a:srgbClr val="898989"/>
                </a:solidFill>
                <a:latin typeface="Calibri" pitchFamily="34" charset="0"/>
              </a:rPr>
              <a:pPr eaLnBrk="1" hangingPunct="1"/>
              <a:t>7</a:t>
            </a:fld>
            <a:endParaRPr lang="en-GB" sz="1200">
              <a:solidFill>
                <a:srgbClr val="898989"/>
              </a:solidFill>
              <a:latin typeface="Calibri" pitchFamily="34" charset="0"/>
            </a:endParaRPr>
          </a:p>
        </p:txBody>
      </p:sp>
      <p:sp>
        <p:nvSpPr>
          <p:cNvPr id="10244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2400" dirty="0" smtClean="0">
                <a:latin typeface="Calibri" pitchFamily="34" charset="0"/>
                <a:cs typeface="Calibri" pitchFamily="34" charset="0"/>
              </a:rPr>
              <a:t>African </a:t>
            </a:r>
            <a:r>
              <a:rPr lang="en-US" sz="2400" dirty="0">
                <a:latin typeface="Calibri" pitchFamily="34" charset="0"/>
                <a:cs typeface="Calibri" pitchFamily="34" charset="0"/>
              </a:rPr>
              <a:t>Medicines </a:t>
            </a:r>
            <a:r>
              <a:rPr lang="en-US" sz="2400" dirty="0" smtClean="0">
                <a:latin typeface="Calibri" pitchFamily="34" charset="0"/>
                <a:cs typeface="Calibri" pitchFamily="34" charset="0"/>
              </a:rPr>
              <a:t>Registration Harmonization Initiative (AMRH) –                       a Consortium of partners (1)</a:t>
            </a:r>
          </a:p>
        </p:txBody>
      </p:sp>
      <p:grpSp>
        <p:nvGrpSpPr>
          <p:cNvPr id="22532" name="Group 3"/>
          <p:cNvGrpSpPr>
            <a:grpSpLocks/>
          </p:cNvGrpSpPr>
          <p:nvPr/>
        </p:nvGrpSpPr>
        <p:grpSpPr bwMode="auto">
          <a:xfrm>
            <a:off x="1417638" y="1544638"/>
            <a:ext cx="6286500" cy="801687"/>
            <a:chOff x="1044" y="979"/>
            <a:chExt cx="4092" cy="522"/>
          </a:xfrm>
        </p:grpSpPr>
        <p:pic>
          <p:nvPicPr>
            <p:cNvPr id="22645" name="Picture 2" descr="http://tbn0.google.com/images?q=tbn:z2NEcrvJsPCBKM:http://upload.wikimedia.org/wikipedia/commons/thumb/5/55/Logo_of_the_African_Union.svg/429px-Logo_of_the_African_Union.svg.png">
              <a:hlinkClick r:id="rId80"/>
            </p:cNvPr>
            <p:cNvPicPr>
              <a:picLocks noChangeAspect="1" noChangeArrowheads="1"/>
            </p:cNvPicPr>
            <p:nvPr/>
          </p:nvPicPr>
          <p:blipFill>
            <a:blip r:embed="rId8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2" y="1013"/>
              <a:ext cx="384" cy="3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646" name="Group 5"/>
            <p:cNvGrpSpPr>
              <a:grpSpLocks/>
            </p:cNvGrpSpPr>
            <p:nvPr/>
          </p:nvGrpSpPr>
          <p:grpSpPr bwMode="auto">
            <a:xfrm>
              <a:off x="1044" y="979"/>
              <a:ext cx="3662" cy="522"/>
              <a:chOff x="408" y="693"/>
              <a:chExt cx="4896" cy="698"/>
            </a:xfrm>
          </p:grpSpPr>
          <p:pic>
            <p:nvPicPr>
              <p:cNvPr id="22647" name="Picture 4" descr="DRH Logos.PNG"/>
              <p:cNvPicPr>
                <a:picLocks noChangeAspect="1"/>
              </p:cNvPicPr>
              <p:nvPr/>
            </p:nvPicPr>
            <p:blipFill>
              <a:blip r:embed="rId8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8" y="693"/>
                <a:ext cx="4021" cy="6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648" name="Picture 7"/>
              <p:cNvPicPr>
                <a:picLocks noChangeAspect="1" noChangeArrowheads="1"/>
              </p:cNvPicPr>
              <p:nvPr/>
            </p:nvPicPr>
            <p:blipFill>
              <a:blip r:embed="rId8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6" y="863"/>
                <a:ext cx="918" cy="29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10246" name="Oval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932113" y="2636838"/>
            <a:ext cx="3270250" cy="1289050"/>
          </a:xfrm>
          <a:prstGeom prst="ellipse">
            <a:avLst/>
          </a:prstGeom>
          <a:solidFill>
            <a:srgbClr val="007DBC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sortium and major</a:t>
            </a:r>
          </a:p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takeholders convened in</a:t>
            </a:r>
          </a:p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February and November</a:t>
            </a:r>
          </a:p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09</a:t>
            </a:r>
          </a:p>
        </p:txBody>
      </p:sp>
      <p:pic>
        <p:nvPicPr>
          <p:cNvPr id="22534" name="Picture 9"/>
          <p:cNvPicPr>
            <a:picLocks noChangeAspect="1" noChangeArrowheads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238" y="3209925"/>
            <a:ext cx="7937" cy="9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5" name="Picture 10"/>
          <p:cNvPicPr>
            <a:picLocks noChangeAspect="1" noChangeArrowheads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238" y="3209925"/>
            <a:ext cx="7937" cy="9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6" name="Picture 11"/>
          <p:cNvPicPr>
            <a:picLocks noChangeAspect="1" noChangeArrowheads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238" y="3209925"/>
            <a:ext cx="7937" cy="9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2537" name="AutoShape 12"/>
          <p:cNvCxnSpPr>
            <a:cxnSpLocks noChangeShapeType="1"/>
            <a:stCxn id="22550" idx="3"/>
            <a:endCxn id="10246" idx="2"/>
          </p:cNvCxnSpPr>
          <p:nvPr/>
        </p:nvCxnSpPr>
        <p:spPr bwMode="auto">
          <a:xfrm flipV="1">
            <a:off x="2276475" y="3281363"/>
            <a:ext cx="655638" cy="71437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38" name="AutoShape 13"/>
          <p:cNvCxnSpPr>
            <a:cxnSpLocks noChangeShapeType="1"/>
            <a:stCxn id="22548" idx="2"/>
            <a:endCxn id="10246" idx="0"/>
          </p:cNvCxnSpPr>
          <p:nvPr/>
        </p:nvCxnSpPr>
        <p:spPr bwMode="auto">
          <a:xfrm flipH="1">
            <a:off x="4567238" y="2338388"/>
            <a:ext cx="1587" cy="29845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39" name="AutoShape 14"/>
          <p:cNvCxnSpPr>
            <a:cxnSpLocks noChangeShapeType="1"/>
            <a:stCxn id="22551" idx="1"/>
            <a:endCxn id="10246" idx="6"/>
          </p:cNvCxnSpPr>
          <p:nvPr/>
        </p:nvCxnSpPr>
        <p:spPr bwMode="auto">
          <a:xfrm flipH="1" flipV="1">
            <a:off x="6202363" y="3281363"/>
            <a:ext cx="728662" cy="71437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540" name="AutoShape 15"/>
          <p:cNvCxnSpPr>
            <a:cxnSpLocks noChangeShapeType="1"/>
            <a:stCxn id="22549" idx="0"/>
            <a:endCxn id="10246" idx="4"/>
          </p:cNvCxnSpPr>
          <p:nvPr/>
        </p:nvCxnSpPr>
        <p:spPr bwMode="auto">
          <a:xfrm flipH="1" flipV="1">
            <a:off x="4567238" y="3925888"/>
            <a:ext cx="4762" cy="655637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stealth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541" name="Text Box 16"/>
          <p:cNvSpPr txBox="1">
            <a:spLocks noChangeArrowheads="1"/>
          </p:cNvSpPr>
          <p:nvPr/>
        </p:nvSpPr>
        <p:spPr bwMode="auto">
          <a:xfrm>
            <a:off x="1404938" y="1416050"/>
            <a:ext cx="109966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eaLnBrk="1" hangingPunct="1"/>
            <a:r>
              <a:rPr lang="en-US" sz="1000" b="1" dirty="0">
                <a:latin typeface="Calibri" pitchFamily="34" charset="0"/>
                <a:cs typeface="Calibri" pitchFamily="34" charset="0"/>
              </a:rPr>
              <a:t>Consortium Partners</a:t>
            </a:r>
          </a:p>
        </p:txBody>
      </p:sp>
      <p:sp>
        <p:nvSpPr>
          <p:cNvPr id="22542" name="Text Box 17"/>
          <p:cNvSpPr txBox="1">
            <a:spLocks noChangeArrowheads="1"/>
          </p:cNvSpPr>
          <p:nvPr/>
        </p:nvSpPr>
        <p:spPr bwMode="auto">
          <a:xfrm>
            <a:off x="496888" y="2554288"/>
            <a:ext cx="103073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eaLnBrk="1" hangingPunct="1"/>
            <a:r>
              <a:rPr lang="en-US" sz="1000" b="1" dirty="0">
                <a:latin typeface="Calibri" pitchFamily="34" charset="0"/>
                <a:cs typeface="Calibri" pitchFamily="34" charset="0"/>
              </a:rPr>
              <a:t>Other Stakeholders</a:t>
            </a:r>
          </a:p>
        </p:txBody>
      </p:sp>
      <p:sp>
        <p:nvSpPr>
          <p:cNvPr id="22543" name="Text Box 18"/>
          <p:cNvSpPr txBox="1">
            <a:spLocks noChangeArrowheads="1"/>
          </p:cNvSpPr>
          <p:nvPr/>
        </p:nvSpPr>
        <p:spPr bwMode="auto">
          <a:xfrm>
            <a:off x="6964363" y="2549525"/>
            <a:ext cx="17494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eaLnBrk="1" hangingPunct="1"/>
            <a:r>
              <a:rPr lang="en-US" sz="1000" b="1" dirty="0">
                <a:latin typeface="Calibri" pitchFamily="34" charset="0"/>
                <a:cs typeface="Calibri" pitchFamily="34" charset="0"/>
              </a:rPr>
              <a:t>NMRA Representatives</a:t>
            </a:r>
          </a:p>
        </p:txBody>
      </p:sp>
      <p:sp>
        <p:nvSpPr>
          <p:cNvPr id="22544" name="Text Box 19"/>
          <p:cNvSpPr txBox="1">
            <a:spLocks noChangeArrowheads="1"/>
          </p:cNvSpPr>
          <p:nvPr/>
        </p:nvSpPr>
        <p:spPr bwMode="auto">
          <a:xfrm>
            <a:off x="2752725" y="4581525"/>
            <a:ext cx="309379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 Unicode MS" pitchFamily="34" charset="-128"/>
                <a:cs typeface="Arial" charset="0"/>
              </a:defRPr>
            </a:lvl9pPr>
          </a:lstStyle>
          <a:p>
            <a:pPr eaLnBrk="1" hangingPunct="1"/>
            <a:r>
              <a:rPr lang="en-US" sz="1000" b="1" dirty="0">
                <a:latin typeface="Calibri" pitchFamily="34" charset="0"/>
                <a:cs typeface="Calibri" pitchFamily="34" charset="0"/>
              </a:rPr>
              <a:t>Regional Economic Communities and Organizations (RECs)</a:t>
            </a:r>
          </a:p>
        </p:txBody>
      </p:sp>
      <p:grpSp>
        <p:nvGrpSpPr>
          <p:cNvPr id="22545" name="Group 20"/>
          <p:cNvGrpSpPr>
            <a:grpSpLocks/>
          </p:cNvGrpSpPr>
          <p:nvPr/>
        </p:nvGrpSpPr>
        <p:grpSpPr bwMode="auto">
          <a:xfrm>
            <a:off x="7072313" y="2789238"/>
            <a:ext cx="1481137" cy="1285875"/>
            <a:chOff x="989" y="785"/>
            <a:chExt cx="3509" cy="3049"/>
          </a:xfrm>
        </p:grpSpPr>
        <p:sp>
          <p:nvSpPr>
            <p:cNvPr id="22568" name="Freeform 21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1540" y="1310"/>
              <a:ext cx="699" cy="622"/>
            </a:xfrm>
            <a:custGeom>
              <a:avLst/>
              <a:gdLst>
                <a:gd name="T0" fmla="*/ 12 w 822"/>
                <a:gd name="T1" fmla="*/ 257 h 732"/>
                <a:gd name="T2" fmla="*/ 19 w 822"/>
                <a:gd name="T3" fmla="*/ 241 h 732"/>
                <a:gd name="T4" fmla="*/ 35 w 822"/>
                <a:gd name="T5" fmla="*/ 253 h 732"/>
                <a:gd name="T6" fmla="*/ 43 w 822"/>
                <a:gd name="T7" fmla="*/ 247 h 732"/>
                <a:gd name="T8" fmla="*/ 65 w 822"/>
                <a:gd name="T9" fmla="*/ 247 h 732"/>
                <a:gd name="T10" fmla="*/ 100 w 822"/>
                <a:gd name="T11" fmla="*/ 244 h 732"/>
                <a:gd name="T12" fmla="*/ 162 w 822"/>
                <a:gd name="T13" fmla="*/ 244 h 732"/>
                <a:gd name="T14" fmla="*/ 170 w 822"/>
                <a:gd name="T15" fmla="*/ 185 h 732"/>
                <a:gd name="T16" fmla="*/ 162 w 822"/>
                <a:gd name="T17" fmla="*/ 119 h 732"/>
                <a:gd name="T18" fmla="*/ 154 w 822"/>
                <a:gd name="T19" fmla="*/ 41 h 732"/>
                <a:gd name="T20" fmla="*/ 216 w 822"/>
                <a:gd name="T21" fmla="*/ 12 h 732"/>
                <a:gd name="T22" fmla="*/ 320 w 822"/>
                <a:gd name="T23" fmla="*/ 82 h 732"/>
                <a:gd name="T24" fmla="*/ 361 w 822"/>
                <a:gd name="T25" fmla="*/ 113 h 732"/>
                <a:gd name="T26" fmla="*/ 367 w 822"/>
                <a:gd name="T27" fmla="*/ 122 h 732"/>
                <a:gd name="T28" fmla="*/ 383 w 822"/>
                <a:gd name="T29" fmla="*/ 125 h 732"/>
                <a:gd name="T30" fmla="*/ 401 w 822"/>
                <a:gd name="T31" fmla="*/ 132 h 732"/>
                <a:gd name="T32" fmla="*/ 401 w 822"/>
                <a:gd name="T33" fmla="*/ 144 h 732"/>
                <a:gd name="T34" fmla="*/ 429 w 822"/>
                <a:gd name="T35" fmla="*/ 150 h 732"/>
                <a:gd name="T36" fmla="*/ 421 w 822"/>
                <a:gd name="T37" fmla="*/ 238 h 732"/>
                <a:gd name="T38" fmla="*/ 411 w 822"/>
                <a:gd name="T39" fmla="*/ 251 h 732"/>
                <a:gd name="T40" fmla="*/ 339 w 822"/>
                <a:gd name="T41" fmla="*/ 259 h 732"/>
                <a:gd name="T42" fmla="*/ 323 w 822"/>
                <a:gd name="T43" fmla="*/ 259 h 732"/>
                <a:gd name="T44" fmla="*/ 293 w 822"/>
                <a:gd name="T45" fmla="*/ 263 h 732"/>
                <a:gd name="T46" fmla="*/ 264 w 822"/>
                <a:gd name="T47" fmla="*/ 279 h 732"/>
                <a:gd name="T48" fmla="*/ 244 w 822"/>
                <a:gd name="T49" fmla="*/ 291 h 732"/>
                <a:gd name="T50" fmla="*/ 236 w 822"/>
                <a:gd name="T51" fmla="*/ 291 h 732"/>
                <a:gd name="T52" fmla="*/ 229 w 822"/>
                <a:gd name="T53" fmla="*/ 307 h 732"/>
                <a:gd name="T54" fmla="*/ 213 w 822"/>
                <a:gd name="T55" fmla="*/ 300 h 732"/>
                <a:gd name="T56" fmla="*/ 207 w 822"/>
                <a:gd name="T57" fmla="*/ 310 h 732"/>
                <a:gd name="T58" fmla="*/ 201 w 822"/>
                <a:gd name="T59" fmla="*/ 319 h 732"/>
                <a:gd name="T60" fmla="*/ 197 w 822"/>
                <a:gd name="T61" fmla="*/ 331 h 732"/>
                <a:gd name="T62" fmla="*/ 182 w 822"/>
                <a:gd name="T63" fmla="*/ 338 h 732"/>
                <a:gd name="T64" fmla="*/ 182 w 822"/>
                <a:gd name="T65" fmla="*/ 344 h 732"/>
                <a:gd name="T66" fmla="*/ 182 w 822"/>
                <a:gd name="T67" fmla="*/ 350 h 732"/>
                <a:gd name="T68" fmla="*/ 179 w 822"/>
                <a:gd name="T69" fmla="*/ 366 h 732"/>
                <a:gd name="T70" fmla="*/ 167 w 822"/>
                <a:gd name="T71" fmla="*/ 376 h 732"/>
                <a:gd name="T72" fmla="*/ 160 w 822"/>
                <a:gd name="T73" fmla="*/ 378 h 732"/>
                <a:gd name="T74" fmla="*/ 157 w 822"/>
                <a:gd name="T75" fmla="*/ 372 h 732"/>
                <a:gd name="T76" fmla="*/ 154 w 822"/>
                <a:gd name="T77" fmla="*/ 372 h 732"/>
                <a:gd name="T78" fmla="*/ 147 w 822"/>
                <a:gd name="T79" fmla="*/ 376 h 732"/>
                <a:gd name="T80" fmla="*/ 128 w 822"/>
                <a:gd name="T81" fmla="*/ 382 h 732"/>
                <a:gd name="T82" fmla="*/ 119 w 822"/>
                <a:gd name="T83" fmla="*/ 376 h 732"/>
                <a:gd name="T84" fmla="*/ 106 w 822"/>
                <a:gd name="T85" fmla="*/ 378 h 732"/>
                <a:gd name="T86" fmla="*/ 104 w 822"/>
                <a:gd name="T87" fmla="*/ 359 h 732"/>
                <a:gd name="T88" fmla="*/ 97 w 822"/>
                <a:gd name="T89" fmla="*/ 357 h 732"/>
                <a:gd name="T90" fmla="*/ 94 w 822"/>
                <a:gd name="T91" fmla="*/ 344 h 732"/>
                <a:gd name="T92" fmla="*/ 88 w 822"/>
                <a:gd name="T93" fmla="*/ 331 h 732"/>
                <a:gd name="T94" fmla="*/ 75 w 822"/>
                <a:gd name="T95" fmla="*/ 322 h 732"/>
                <a:gd name="T96" fmla="*/ 71 w 822"/>
                <a:gd name="T97" fmla="*/ 329 h 732"/>
                <a:gd name="T98" fmla="*/ 63 w 822"/>
                <a:gd name="T99" fmla="*/ 331 h 732"/>
                <a:gd name="T100" fmla="*/ 51 w 822"/>
                <a:gd name="T101" fmla="*/ 331 h 732"/>
                <a:gd name="T102" fmla="*/ 37 w 822"/>
                <a:gd name="T103" fmla="*/ 335 h 732"/>
                <a:gd name="T104" fmla="*/ 28 w 822"/>
                <a:gd name="T105" fmla="*/ 331 h 732"/>
                <a:gd name="T106" fmla="*/ 22 w 822"/>
                <a:gd name="T107" fmla="*/ 325 h 732"/>
                <a:gd name="T108" fmla="*/ 22 w 822"/>
                <a:gd name="T109" fmla="*/ 310 h 732"/>
                <a:gd name="T110" fmla="*/ 9 w 822"/>
                <a:gd name="T111" fmla="*/ 300 h 732"/>
                <a:gd name="T112" fmla="*/ 7 w 822"/>
                <a:gd name="T113" fmla="*/ 281 h 732"/>
                <a:gd name="T114" fmla="*/ 3 w 822"/>
                <a:gd name="T115" fmla="*/ 269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22" h="732">
                  <a:moveTo>
                    <a:pt x="0" y="504"/>
                  </a:moveTo>
                  <a:lnTo>
                    <a:pt x="6" y="504"/>
                  </a:lnTo>
                  <a:lnTo>
                    <a:pt x="12" y="510"/>
                  </a:lnTo>
                  <a:lnTo>
                    <a:pt x="12" y="504"/>
                  </a:lnTo>
                  <a:lnTo>
                    <a:pt x="18" y="504"/>
                  </a:lnTo>
                  <a:lnTo>
                    <a:pt x="24" y="498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6" y="468"/>
                  </a:lnTo>
                  <a:lnTo>
                    <a:pt x="36" y="462"/>
                  </a:lnTo>
                  <a:lnTo>
                    <a:pt x="42" y="462"/>
                  </a:lnTo>
                  <a:lnTo>
                    <a:pt x="48" y="468"/>
                  </a:lnTo>
                  <a:lnTo>
                    <a:pt x="48" y="474"/>
                  </a:lnTo>
                  <a:lnTo>
                    <a:pt x="54" y="474"/>
                  </a:lnTo>
                  <a:lnTo>
                    <a:pt x="60" y="480"/>
                  </a:lnTo>
                  <a:lnTo>
                    <a:pt x="66" y="480"/>
                  </a:lnTo>
                  <a:lnTo>
                    <a:pt x="66" y="486"/>
                  </a:lnTo>
                  <a:lnTo>
                    <a:pt x="66" y="492"/>
                  </a:lnTo>
                  <a:lnTo>
                    <a:pt x="66" y="486"/>
                  </a:lnTo>
                  <a:lnTo>
                    <a:pt x="72" y="486"/>
                  </a:lnTo>
                  <a:lnTo>
                    <a:pt x="72" y="480"/>
                  </a:lnTo>
                  <a:lnTo>
                    <a:pt x="78" y="480"/>
                  </a:lnTo>
                  <a:lnTo>
                    <a:pt x="78" y="474"/>
                  </a:lnTo>
                  <a:lnTo>
                    <a:pt x="84" y="474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74"/>
                  </a:lnTo>
                  <a:lnTo>
                    <a:pt x="108" y="474"/>
                  </a:lnTo>
                  <a:lnTo>
                    <a:pt x="114" y="474"/>
                  </a:lnTo>
                  <a:lnTo>
                    <a:pt x="120" y="474"/>
                  </a:lnTo>
                  <a:lnTo>
                    <a:pt x="126" y="474"/>
                  </a:lnTo>
                  <a:lnTo>
                    <a:pt x="144" y="474"/>
                  </a:lnTo>
                  <a:lnTo>
                    <a:pt x="138" y="462"/>
                  </a:lnTo>
                  <a:lnTo>
                    <a:pt x="144" y="462"/>
                  </a:lnTo>
                  <a:lnTo>
                    <a:pt x="150" y="462"/>
                  </a:lnTo>
                  <a:lnTo>
                    <a:pt x="144" y="468"/>
                  </a:lnTo>
                  <a:lnTo>
                    <a:pt x="180" y="468"/>
                  </a:lnTo>
                  <a:lnTo>
                    <a:pt x="192" y="468"/>
                  </a:lnTo>
                  <a:lnTo>
                    <a:pt x="198" y="468"/>
                  </a:lnTo>
                  <a:lnTo>
                    <a:pt x="216" y="468"/>
                  </a:lnTo>
                  <a:lnTo>
                    <a:pt x="228" y="468"/>
                  </a:lnTo>
                  <a:lnTo>
                    <a:pt x="252" y="468"/>
                  </a:lnTo>
                  <a:lnTo>
                    <a:pt x="258" y="468"/>
                  </a:lnTo>
                  <a:lnTo>
                    <a:pt x="276" y="468"/>
                  </a:lnTo>
                  <a:lnTo>
                    <a:pt x="312" y="468"/>
                  </a:lnTo>
                  <a:lnTo>
                    <a:pt x="330" y="468"/>
                  </a:lnTo>
                  <a:lnTo>
                    <a:pt x="336" y="468"/>
                  </a:lnTo>
                  <a:lnTo>
                    <a:pt x="348" y="426"/>
                  </a:lnTo>
                  <a:lnTo>
                    <a:pt x="330" y="420"/>
                  </a:lnTo>
                  <a:lnTo>
                    <a:pt x="330" y="396"/>
                  </a:lnTo>
                  <a:lnTo>
                    <a:pt x="324" y="372"/>
                  </a:lnTo>
                  <a:lnTo>
                    <a:pt x="324" y="354"/>
                  </a:lnTo>
                  <a:lnTo>
                    <a:pt x="324" y="348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12" y="252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28"/>
                  </a:lnTo>
                  <a:lnTo>
                    <a:pt x="306" y="192"/>
                  </a:lnTo>
                  <a:lnTo>
                    <a:pt x="300" y="138"/>
                  </a:lnTo>
                  <a:lnTo>
                    <a:pt x="300" y="114"/>
                  </a:lnTo>
                  <a:lnTo>
                    <a:pt x="294" y="96"/>
                  </a:lnTo>
                  <a:lnTo>
                    <a:pt x="294" y="90"/>
                  </a:lnTo>
                  <a:lnTo>
                    <a:pt x="294" y="84"/>
                  </a:lnTo>
                  <a:lnTo>
                    <a:pt x="294" y="78"/>
                  </a:lnTo>
                  <a:lnTo>
                    <a:pt x="294" y="66"/>
                  </a:lnTo>
                  <a:lnTo>
                    <a:pt x="288" y="48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360" y="0"/>
                  </a:lnTo>
                  <a:lnTo>
                    <a:pt x="372" y="0"/>
                  </a:lnTo>
                  <a:lnTo>
                    <a:pt x="414" y="24"/>
                  </a:lnTo>
                  <a:lnTo>
                    <a:pt x="438" y="36"/>
                  </a:lnTo>
                  <a:lnTo>
                    <a:pt x="444" y="48"/>
                  </a:lnTo>
                  <a:lnTo>
                    <a:pt x="462" y="54"/>
                  </a:lnTo>
                  <a:lnTo>
                    <a:pt x="528" y="96"/>
                  </a:lnTo>
                  <a:lnTo>
                    <a:pt x="600" y="144"/>
                  </a:lnTo>
                  <a:lnTo>
                    <a:pt x="612" y="150"/>
                  </a:lnTo>
                  <a:lnTo>
                    <a:pt x="612" y="156"/>
                  </a:lnTo>
                  <a:lnTo>
                    <a:pt x="666" y="192"/>
                  </a:lnTo>
                  <a:lnTo>
                    <a:pt x="666" y="198"/>
                  </a:lnTo>
                  <a:lnTo>
                    <a:pt x="666" y="210"/>
                  </a:lnTo>
                  <a:lnTo>
                    <a:pt x="672" y="210"/>
                  </a:lnTo>
                  <a:lnTo>
                    <a:pt x="678" y="210"/>
                  </a:lnTo>
                  <a:lnTo>
                    <a:pt x="684" y="216"/>
                  </a:lnTo>
                  <a:lnTo>
                    <a:pt x="690" y="216"/>
                  </a:lnTo>
                  <a:lnTo>
                    <a:pt x="690" y="222"/>
                  </a:lnTo>
                  <a:lnTo>
                    <a:pt x="690" y="228"/>
                  </a:lnTo>
                  <a:lnTo>
                    <a:pt x="696" y="228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2" y="228"/>
                  </a:lnTo>
                  <a:lnTo>
                    <a:pt x="702" y="234"/>
                  </a:lnTo>
                  <a:lnTo>
                    <a:pt x="708" y="234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6" y="234"/>
                  </a:lnTo>
                  <a:lnTo>
                    <a:pt x="726" y="240"/>
                  </a:lnTo>
                  <a:lnTo>
                    <a:pt x="732" y="246"/>
                  </a:lnTo>
                  <a:lnTo>
                    <a:pt x="732" y="240"/>
                  </a:lnTo>
                  <a:lnTo>
                    <a:pt x="732" y="246"/>
                  </a:lnTo>
                  <a:lnTo>
                    <a:pt x="738" y="246"/>
                  </a:lnTo>
                  <a:lnTo>
                    <a:pt x="744" y="246"/>
                  </a:lnTo>
                  <a:lnTo>
                    <a:pt x="750" y="246"/>
                  </a:lnTo>
                  <a:lnTo>
                    <a:pt x="756" y="246"/>
                  </a:lnTo>
                  <a:lnTo>
                    <a:pt x="762" y="252"/>
                  </a:lnTo>
                  <a:lnTo>
                    <a:pt x="768" y="252"/>
                  </a:lnTo>
                  <a:lnTo>
                    <a:pt x="768" y="258"/>
                  </a:lnTo>
                  <a:lnTo>
                    <a:pt x="768" y="264"/>
                  </a:lnTo>
                  <a:lnTo>
                    <a:pt x="768" y="270"/>
                  </a:lnTo>
                  <a:lnTo>
                    <a:pt x="774" y="270"/>
                  </a:lnTo>
                  <a:lnTo>
                    <a:pt x="768" y="270"/>
                  </a:lnTo>
                  <a:lnTo>
                    <a:pt x="774" y="276"/>
                  </a:lnTo>
                  <a:lnTo>
                    <a:pt x="768" y="276"/>
                  </a:lnTo>
                  <a:lnTo>
                    <a:pt x="768" y="282"/>
                  </a:lnTo>
                  <a:lnTo>
                    <a:pt x="768" y="288"/>
                  </a:lnTo>
                  <a:lnTo>
                    <a:pt x="762" y="288"/>
                  </a:lnTo>
                  <a:lnTo>
                    <a:pt x="768" y="294"/>
                  </a:lnTo>
                  <a:lnTo>
                    <a:pt x="774" y="294"/>
                  </a:lnTo>
                  <a:lnTo>
                    <a:pt x="774" y="300"/>
                  </a:lnTo>
                  <a:lnTo>
                    <a:pt x="822" y="288"/>
                  </a:lnTo>
                  <a:lnTo>
                    <a:pt x="822" y="396"/>
                  </a:lnTo>
                  <a:lnTo>
                    <a:pt x="810" y="402"/>
                  </a:lnTo>
                  <a:lnTo>
                    <a:pt x="810" y="414"/>
                  </a:lnTo>
                  <a:lnTo>
                    <a:pt x="810" y="426"/>
                  </a:lnTo>
                  <a:lnTo>
                    <a:pt x="810" y="444"/>
                  </a:lnTo>
                  <a:lnTo>
                    <a:pt x="804" y="450"/>
                  </a:lnTo>
                  <a:lnTo>
                    <a:pt x="804" y="456"/>
                  </a:lnTo>
                  <a:lnTo>
                    <a:pt x="804" y="462"/>
                  </a:lnTo>
                  <a:lnTo>
                    <a:pt x="798" y="462"/>
                  </a:lnTo>
                  <a:lnTo>
                    <a:pt x="792" y="462"/>
                  </a:lnTo>
                  <a:lnTo>
                    <a:pt x="792" y="468"/>
                  </a:lnTo>
                  <a:lnTo>
                    <a:pt x="786" y="468"/>
                  </a:lnTo>
                  <a:lnTo>
                    <a:pt x="786" y="474"/>
                  </a:lnTo>
                  <a:lnTo>
                    <a:pt x="786" y="480"/>
                  </a:lnTo>
                  <a:lnTo>
                    <a:pt x="762" y="480"/>
                  </a:lnTo>
                  <a:lnTo>
                    <a:pt x="738" y="474"/>
                  </a:lnTo>
                  <a:lnTo>
                    <a:pt x="702" y="48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98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6" y="492"/>
                  </a:lnTo>
                  <a:lnTo>
                    <a:pt x="630" y="498"/>
                  </a:lnTo>
                  <a:lnTo>
                    <a:pt x="624" y="492"/>
                  </a:lnTo>
                  <a:lnTo>
                    <a:pt x="618" y="492"/>
                  </a:lnTo>
                  <a:lnTo>
                    <a:pt x="618" y="498"/>
                  </a:lnTo>
                  <a:lnTo>
                    <a:pt x="612" y="498"/>
                  </a:lnTo>
                  <a:lnTo>
                    <a:pt x="612" y="492"/>
                  </a:lnTo>
                  <a:lnTo>
                    <a:pt x="600" y="492"/>
                  </a:lnTo>
                  <a:lnTo>
                    <a:pt x="588" y="492"/>
                  </a:lnTo>
                  <a:lnTo>
                    <a:pt x="576" y="492"/>
                  </a:lnTo>
                  <a:lnTo>
                    <a:pt x="564" y="498"/>
                  </a:lnTo>
                  <a:lnTo>
                    <a:pt x="558" y="504"/>
                  </a:lnTo>
                  <a:lnTo>
                    <a:pt x="546" y="510"/>
                  </a:lnTo>
                  <a:lnTo>
                    <a:pt x="528" y="516"/>
                  </a:lnTo>
                  <a:lnTo>
                    <a:pt x="522" y="522"/>
                  </a:lnTo>
                  <a:lnTo>
                    <a:pt x="516" y="522"/>
                  </a:lnTo>
                  <a:lnTo>
                    <a:pt x="510" y="522"/>
                  </a:lnTo>
                  <a:lnTo>
                    <a:pt x="510" y="534"/>
                  </a:lnTo>
                  <a:lnTo>
                    <a:pt x="504" y="534"/>
                  </a:lnTo>
                  <a:lnTo>
                    <a:pt x="498" y="534"/>
                  </a:lnTo>
                  <a:lnTo>
                    <a:pt x="486" y="528"/>
                  </a:lnTo>
                  <a:lnTo>
                    <a:pt x="480" y="540"/>
                  </a:lnTo>
                  <a:lnTo>
                    <a:pt x="468" y="540"/>
                  </a:lnTo>
                  <a:lnTo>
                    <a:pt x="468" y="546"/>
                  </a:lnTo>
                  <a:lnTo>
                    <a:pt x="468" y="552"/>
                  </a:lnTo>
                  <a:lnTo>
                    <a:pt x="468" y="558"/>
                  </a:lnTo>
                  <a:lnTo>
                    <a:pt x="462" y="564"/>
                  </a:lnTo>
                  <a:lnTo>
                    <a:pt x="462" y="558"/>
                  </a:lnTo>
                  <a:lnTo>
                    <a:pt x="456" y="564"/>
                  </a:lnTo>
                  <a:lnTo>
                    <a:pt x="456" y="558"/>
                  </a:lnTo>
                  <a:lnTo>
                    <a:pt x="450" y="558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44" y="570"/>
                  </a:lnTo>
                  <a:lnTo>
                    <a:pt x="450" y="570"/>
                  </a:lnTo>
                  <a:lnTo>
                    <a:pt x="450" y="576"/>
                  </a:lnTo>
                  <a:lnTo>
                    <a:pt x="450" y="582"/>
                  </a:lnTo>
                  <a:lnTo>
                    <a:pt x="438" y="582"/>
                  </a:lnTo>
                  <a:lnTo>
                    <a:pt x="438" y="58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20" y="576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08" y="570"/>
                  </a:lnTo>
                  <a:lnTo>
                    <a:pt x="408" y="576"/>
                  </a:lnTo>
                  <a:lnTo>
                    <a:pt x="402" y="576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402" y="582"/>
                  </a:lnTo>
                  <a:lnTo>
                    <a:pt x="396" y="582"/>
                  </a:lnTo>
                  <a:lnTo>
                    <a:pt x="396" y="588"/>
                  </a:lnTo>
                  <a:lnTo>
                    <a:pt x="396" y="594"/>
                  </a:lnTo>
                  <a:lnTo>
                    <a:pt x="402" y="594"/>
                  </a:lnTo>
                  <a:lnTo>
                    <a:pt x="402" y="600"/>
                  </a:lnTo>
                  <a:lnTo>
                    <a:pt x="402" y="606"/>
                  </a:lnTo>
                  <a:lnTo>
                    <a:pt x="396" y="606"/>
                  </a:lnTo>
                  <a:lnTo>
                    <a:pt x="390" y="606"/>
                  </a:lnTo>
                  <a:lnTo>
                    <a:pt x="384" y="606"/>
                  </a:lnTo>
                  <a:lnTo>
                    <a:pt x="384" y="612"/>
                  </a:lnTo>
                  <a:lnTo>
                    <a:pt x="390" y="612"/>
                  </a:lnTo>
                  <a:lnTo>
                    <a:pt x="390" y="618"/>
                  </a:lnTo>
                  <a:lnTo>
                    <a:pt x="390" y="624"/>
                  </a:lnTo>
                  <a:lnTo>
                    <a:pt x="390" y="630"/>
                  </a:lnTo>
                  <a:lnTo>
                    <a:pt x="384" y="630"/>
                  </a:lnTo>
                  <a:lnTo>
                    <a:pt x="384" y="636"/>
                  </a:lnTo>
                  <a:lnTo>
                    <a:pt x="378" y="636"/>
                  </a:lnTo>
                  <a:lnTo>
                    <a:pt x="378" y="642"/>
                  </a:lnTo>
                  <a:lnTo>
                    <a:pt x="372" y="642"/>
                  </a:lnTo>
                  <a:lnTo>
                    <a:pt x="366" y="642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8" y="654"/>
                  </a:lnTo>
                  <a:lnTo>
                    <a:pt x="348" y="648"/>
                  </a:lnTo>
                  <a:lnTo>
                    <a:pt x="342" y="654"/>
                  </a:lnTo>
                  <a:lnTo>
                    <a:pt x="348" y="654"/>
                  </a:lnTo>
                  <a:lnTo>
                    <a:pt x="348" y="660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66"/>
                  </a:lnTo>
                  <a:lnTo>
                    <a:pt x="354" y="666"/>
                  </a:lnTo>
                  <a:lnTo>
                    <a:pt x="348" y="672"/>
                  </a:lnTo>
                  <a:lnTo>
                    <a:pt x="354" y="672"/>
                  </a:lnTo>
                  <a:lnTo>
                    <a:pt x="348" y="672"/>
                  </a:lnTo>
                  <a:lnTo>
                    <a:pt x="348" y="678"/>
                  </a:lnTo>
                  <a:lnTo>
                    <a:pt x="348" y="684"/>
                  </a:lnTo>
                  <a:lnTo>
                    <a:pt x="342" y="684"/>
                  </a:lnTo>
                  <a:lnTo>
                    <a:pt x="342" y="690"/>
                  </a:lnTo>
                  <a:lnTo>
                    <a:pt x="336" y="690"/>
                  </a:lnTo>
                  <a:lnTo>
                    <a:pt x="336" y="696"/>
                  </a:lnTo>
                  <a:lnTo>
                    <a:pt x="342" y="702"/>
                  </a:lnTo>
                  <a:lnTo>
                    <a:pt x="336" y="702"/>
                  </a:lnTo>
                  <a:lnTo>
                    <a:pt x="336" y="708"/>
                  </a:lnTo>
                  <a:lnTo>
                    <a:pt x="336" y="714"/>
                  </a:lnTo>
                  <a:lnTo>
                    <a:pt x="336" y="720"/>
                  </a:lnTo>
                  <a:lnTo>
                    <a:pt x="330" y="720"/>
                  </a:lnTo>
                  <a:lnTo>
                    <a:pt x="324" y="720"/>
                  </a:lnTo>
                  <a:lnTo>
                    <a:pt x="318" y="720"/>
                  </a:lnTo>
                  <a:lnTo>
                    <a:pt x="318" y="726"/>
                  </a:lnTo>
                  <a:lnTo>
                    <a:pt x="312" y="726"/>
                  </a:lnTo>
                  <a:lnTo>
                    <a:pt x="312" y="732"/>
                  </a:lnTo>
                  <a:lnTo>
                    <a:pt x="306" y="732"/>
                  </a:lnTo>
                  <a:lnTo>
                    <a:pt x="300" y="732"/>
                  </a:lnTo>
                  <a:lnTo>
                    <a:pt x="300" y="726"/>
                  </a:lnTo>
                  <a:lnTo>
                    <a:pt x="306" y="726"/>
                  </a:lnTo>
                  <a:lnTo>
                    <a:pt x="300" y="726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20"/>
                  </a:lnTo>
                  <a:lnTo>
                    <a:pt x="300" y="714"/>
                  </a:lnTo>
                  <a:lnTo>
                    <a:pt x="300" y="708"/>
                  </a:lnTo>
                  <a:lnTo>
                    <a:pt x="294" y="708"/>
                  </a:lnTo>
                  <a:lnTo>
                    <a:pt x="288" y="708"/>
                  </a:lnTo>
                  <a:lnTo>
                    <a:pt x="288" y="714"/>
                  </a:lnTo>
                  <a:lnTo>
                    <a:pt x="294" y="714"/>
                  </a:lnTo>
                  <a:lnTo>
                    <a:pt x="288" y="714"/>
                  </a:lnTo>
                  <a:lnTo>
                    <a:pt x="282" y="714"/>
                  </a:lnTo>
                  <a:lnTo>
                    <a:pt x="282" y="708"/>
                  </a:lnTo>
                  <a:lnTo>
                    <a:pt x="282" y="714"/>
                  </a:lnTo>
                  <a:lnTo>
                    <a:pt x="276" y="714"/>
                  </a:lnTo>
                  <a:lnTo>
                    <a:pt x="276" y="720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64" y="726"/>
                  </a:lnTo>
                  <a:lnTo>
                    <a:pt x="264" y="732"/>
                  </a:lnTo>
                  <a:lnTo>
                    <a:pt x="258" y="732"/>
                  </a:lnTo>
                  <a:lnTo>
                    <a:pt x="252" y="732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6" y="732"/>
                  </a:lnTo>
                  <a:lnTo>
                    <a:pt x="246" y="726"/>
                  </a:lnTo>
                  <a:lnTo>
                    <a:pt x="240" y="726"/>
                  </a:lnTo>
                  <a:lnTo>
                    <a:pt x="240" y="720"/>
                  </a:lnTo>
                  <a:lnTo>
                    <a:pt x="234" y="720"/>
                  </a:lnTo>
                  <a:lnTo>
                    <a:pt x="228" y="720"/>
                  </a:lnTo>
                  <a:lnTo>
                    <a:pt x="228" y="726"/>
                  </a:lnTo>
                  <a:lnTo>
                    <a:pt x="222" y="726"/>
                  </a:lnTo>
                  <a:lnTo>
                    <a:pt x="222" y="732"/>
                  </a:lnTo>
                  <a:lnTo>
                    <a:pt x="216" y="732"/>
                  </a:lnTo>
                  <a:lnTo>
                    <a:pt x="216" y="726"/>
                  </a:lnTo>
                  <a:lnTo>
                    <a:pt x="210" y="726"/>
                  </a:lnTo>
                  <a:lnTo>
                    <a:pt x="204" y="726"/>
                  </a:lnTo>
                  <a:lnTo>
                    <a:pt x="204" y="720"/>
                  </a:lnTo>
                  <a:lnTo>
                    <a:pt x="198" y="720"/>
                  </a:lnTo>
                  <a:lnTo>
                    <a:pt x="198" y="714"/>
                  </a:lnTo>
                  <a:lnTo>
                    <a:pt x="198" y="708"/>
                  </a:lnTo>
                  <a:lnTo>
                    <a:pt x="198" y="702"/>
                  </a:lnTo>
                  <a:lnTo>
                    <a:pt x="198" y="696"/>
                  </a:lnTo>
                  <a:lnTo>
                    <a:pt x="198" y="690"/>
                  </a:lnTo>
                  <a:lnTo>
                    <a:pt x="192" y="690"/>
                  </a:lnTo>
                  <a:lnTo>
                    <a:pt x="186" y="690"/>
                  </a:lnTo>
                  <a:lnTo>
                    <a:pt x="186" y="696"/>
                  </a:lnTo>
                  <a:lnTo>
                    <a:pt x="180" y="696"/>
                  </a:lnTo>
                  <a:lnTo>
                    <a:pt x="180" y="690"/>
                  </a:lnTo>
                  <a:lnTo>
                    <a:pt x="180" y="684"/>
                  </a:lnTo>
                  <a:lnTo>
                    <a:pt x="186" y="684"/>
                  </a:lnTo>
                  <a:lnTo>
                    <a:pt x="186" y="678"/>
                  </a:lnTo>
                  <a:lnTo>
                    <a:pt x="192" y="678"/>
                  </a:lnTo>
                  <a:lnTo>
                    <a:pt x="192" y="672"/>
                  </a:lnTo>
                  <a:lnTo>
                    <a:pt x="186" y="672"/>
                  </a:lnTo>
                  <a:lnTo>
                    <a:pt x="180" y="672"/>
                  </a:lnTo>
                  <a:lnTo>
                    <a:pt x="180" y="666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74" y="654"/>
                  </a:lnTo>
                  <a:lnTo>
                    <a:pt x="174" y="648"/>
                  </a:lnTo>
                  <a:lnTo>
                    <a:pt x="174" y="642"/>
                  </a:lnTo>
                  <a:lnTo>
                    <a:pt x="168" y="642"/>
                  </a:lnTo>
                  <a:lnTo>
                    <a:pt x="168" y="636"/>
                  </a:lnTo>
                  <a:lnTo>
                    <a:pt x="162" y="636"/>
                  </a:lnTo>
                  <a:lnTo>
                    <a:pt x="162" y="630"/>
                  </a:lnTo>
                  <a:lnTo>
                    <a:pt x="162" y="624"/>
                  </a:lnTo>
                  <a:lnTo>
                    <a:pt x="156" y="624"/>
                  </a:lnTo>
                  <a:lnTo>
                    <a:pt x="156" y="618"/>
                  </a:lnTo>
                  <a:lnTo>
                    <a:pt x="150" y="618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44" y="618"/>
                  </a:lnTo>
                  <a:lnTo>
                    <a:pt x="144" y="624"/>
                  </a:lnTo>
                  <a:lnTo>
                    <a:pt x="150" y="624"/>
                  </a:lnTo>
                  <a:lnTo>
                    <a:pt x="150" y="630"/>
                  </a:lnTo>
                  <a:lnTo>
                    <a:pt x="144" y="630"/>
                  </a:lnTo>
                  <a:lnTo>
                    <a:pt x="138" y="630"/>
                  </a:lnTo>
                  <a:lnTo>
                    <a:pt x="138" y="636"/>
                  </a:lnTo>
                  <a:lnTo>
                    <a:pt x="132" y="636"/>
                  </a:lnTo>
                  <a:lnTo>
                    <a:pt x="126" y="636"/>
                  </a:lnTo>
                  <a:lnTo>
                    <a:pt x="132" y="642"/>
                  </a:lnTo>
                  <a:lnTo>
                    <a:pt x="126" y="642"/>
                  </a:lnTo>
                  <a:lnTo>
                    <a:pt x="120" y="642"/>
                  </a:lnTo>
                  <a:lnTo>
                    <a:pt x="120" y="636"/>
                  </a:lnTo>
                  <a:lnTo>
                    <a:pt x="114" y="636"/>
                  </a:lnTo>
                  <a:lnTo>
                    <a:pt x="108" y="636"/>
                  </a:lnTo>
                  <a:lnTo>
                    <a:pt x="102" y="636"/>
                  </a:lnTo>
                  <a:lnTo>
                    <a:pt x="102" y="630"/>
                  </a:lnTo>
                  <a:lnTo>
                    <a:pt x="96" y="636"/>
                  </a:lnTo>
                  <a:lnTo>
                    <a:pt x="96" y="630"/>
                  </a:lnTo>
                  <a:lnTo>
                    <a:pt x="96" y="636"/>
                  </a:lnTo>
                  <a:lnTo>
                    <a:pt x="90" y="636"/>
                  </a:lnTo>
                  <a:lnTo>
                    <a:pt x="90" y="642"/>
                  </a:lnTo>
                  <a:lnTo>
                    <a:pt x="84" y="642"/>
                  </a:lnTo>
                  <a:lnTo>
                    <a:pt x="84" y="648"/>
                  </a:lnTo>
                  <a:lnTo>
                    <a:pt x="78" y="648"/>
                  </a:lnTo>
                  <a:lnTo>
                    <a:pt x="78" y="642"/>
                  </a:lnTo>
                  <a:lnTo>
                    <a:pt x="72" y="642"/>
                  </a:lnTo>
                  <a:lnTo>
                    <a:pt x="72" y="636"/>
                  </a:lnTo>
                  <a:lnTo>
                    <a:pt x="66" y="636"/>
                  </a:lnTo>
                  <a:lnTo>
                    <a:pt x="66" y="630"/>
                  </a:lnTo>
                  <a:lnTo>
                    <a:pt x="60" y="636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48" y="642"/>
                  </a:lnTo>
                  <a:lnTo>
                    <a:pt x="42" y="636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42" y="630"/>
                  </a:lnTo>
                  <a:lnTo>
                    <a:pt x="42" y="624"/>
                  </a:lnTo>
                  <a:lnTo>
                    <a:pt x="48" y="618"/>
                  </a:lnTo>
                  <a:lnTo>
                    <a:pt x="42" y="618"/>
                  </a:lnTo>
                  <a:lnTo>
                    <a:pt x="42" y="612"/>
                  </a:lnTo>
                  <a:lnTo>
                    <a:pt x="42" y="606"/>
                  </a:lnTo>
                  <a:lnTo>
                    <a:pt x="42" y="600"/>
                  </a:lnTo>
                  <a:lnTo>
                    <a:pt x="48" y="594"/>
                  </a:lnTo>
                  <a:lnTo>
                    <a:pt x="42" y="594"/>
                  </a:lnTo>
                  <a:lnTo>
                    <a:pt x="42" y="588"/>
                  </a:lnTo>
                  <a:lnTo>
                    <a:pt x="36" y="588"/>
                  </a:lnTo>
                  <a:lnTo>
                    <a:pt x="36" y="582"/>
                  </a:lnTo>
                  <a:lnTo>
                    <a:pt x="36" y="576"/>
                  </a:lnTo>
                  <a:lnTo>
                    <a:pt x="30" y="576"/>
                  </a:lnTo>
                  <a:lnTo>
                    <a:pt x="24" y="576"/>
                  </a:lnTo>
                  <a:lnTo>
                    <a:pt x="18" y="576"/>
                  </a:lnTo>
                  <a:lnTo>
                    <a:pt x="18" y="570"/>
                  </a:lnTo>
                  <a:lnTo>
                    <a:pt x="12" y="564"/>
                  </a:lnTo>
                  <a:lnTo>
                    <a:pt x="12" y="558"/>
                  </a:lnTo>
                  <a:lnTo>
                    <a:pt x="18" y="552"/>
                  </a:lnTo>
                  <a:lnTo>
                    <a:pt x="18" y="546"/>
                  </a:lnTo>
                  <a:lnTo>
                    <a:pt x="12" y="546"/>
                  </a:lnTo>
                  <a:lnTo>
                    <a:pt x="12" y="540"/>
                  </a:lnTo>
                  <a:lnTo>
                    <a:pt x="12" y="534"/>
                  </a:lnTo>
                  <a:lnTo>
                    <a:pt x="12" y="528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0" y="510"/>
                  </a:lnTo>
                  <a:lnTo>
                    <a:pt x="0" y="50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69" name="Freeform 22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1504" y="846"/>
              <a:ext cx="510" cy="352"/>
            </a:xfrm>
            <a:custGeom>
              <a:avLst/>
              <a:gdLst>
                <a:gd name="T0" fmla="*/ 7 w 600"/>
                <a:gd name="T1" fmla="*/ 207 h 414"/>
                <a:gd name="T2" fmla="*/ 22 w 600"/>
                <a:gd name="T3" fmla="*/ 204 h 414"/>
                <a:gd name="T4" fmla="*/ 35 w 600"/>
                <a:gd name="T5" fmla="*/ 201 h 414"/>
                <a:gd name="T6" fmla="*/ 47 w 600"/>
                <a:gd name="T7" fmla="*/ 195 h 414"/>
                <a:gd name="T8" fmla="*/ 54 w 600"/>
                <a:gd name="T9" fmla="*/ 185 h 414"/>
                <a:gd name="T10" fmla="*/ 69 w 600"/>
                <a:gd name="T11" fmla="*/ 179 h 414"/>
                <a:gd name="T12" fmla="*/ 75 w 600"/>
                <a:gd name="T13" fmla="*/ 169 h 414"/>
                <a:gd name="T14" fmla="*/ 82 w 600"/>
                <a:gd name="T15" fmla="*/ 160 h 414"/>
                <a:gd name="T16" fmla="*/ 91 w 600"/>
                <a:gd name="T17" fmla="*/ 147 h 414"/>
                <a:gd name="T18" fmla="*/ 84 w 600"/>
                <a:gd name="T19" fmla="*/ 138 h 414"/>
                <a:gd name="T20" fmla="*/ 84 w 600"/>
                <a:gd name="T21" fmla="*/ 122 h 414"/>
                <a:gd name="T22" fmla="*/ 88 w 600"/>
                <a:gd name="T23" fmla="*/ 113 h 414"/>
                <a:gd name="T24" fmla="*/ 97 w 600"/>
                <a:gd name="T25" fmla="*/ 100 h 414"/>
                <a:gd name="T26" fmla="*/ 100 w 600"/>
                <a:gd name="T27" fmla="*/ 88 h 414"/>
                <a:gd name="T28" fmla="*/ 113 w 600"/>
                <a:gd name="T29" fmla="*/ 79 h 414"/>
                <a:gd name="T30" fmla="*/ 122 w 600"/>
                <a:gd name="T31" fmla="*/ 69 h 414"/>
                <a:gd name="T32" fmla="*/ 134 w 600"/>
                <a:gd name="T33" fmla="*/ 63 h 414"/>
                <a:gd name="T34" fmla="*/ 147 w 600"/>
                <a:gd name="T35" fmla="*/ 56 h 414"/>
                <a:gd name="T36" fmla="*/ 160 w 600"/>
                <a:gd name="T37" fmla="*/ 54 h 414"/>
                <a:gd name="T38" fmla="*/ 169 w 600"/>
                <a:gd name="T39" fmla="*/ 43 h 414"/>
                <a:gd name="T40" fmla="*/ 176 w 600"/>
                <a:gd name="T41" fmla="*/ 31 h 414"/>
                <a:gd name="T42" fmla="*/ 182 w 600"/>
                <a:gd name="T43" fmla="*/ 16 h 414"/>
                <a:gd name="T44" fmla="*/ 188 w 600"/>
                <a:gd name="T45" fmla="*/ 3 h 414"/>
                <a:gd name="T46" fmla="*/ 200 w 600"/>
                <a:gd name="T47" fmla="*/ 0 h 414"/>
                <a:gd name="T48" fmla="*/ 207 w 600"/>
                <a:gd name="T49" fmla="*/ 9 h 414"/>
                <a:gd name="T50" fmla="*/ 216 w 600"/>
                <a:gd name="T51" fmla="*/ 19 h 414"/>
                <a:gd name="T52" fmla="*/ 229 w 600"/>
                <a:gd name="T53" fmla="*/ 19 h 414"/>
                <a:gd name="T54" fmla="*/ 244 w 600"/>
                <a:gd name="T55" fmla="*/ 19 h 414"/>
                <a:gd name="T56" fmla="*/ 257 w 600"/>
                <a:gd name="T57" fmla="*/ 19 h 414"/>
                <a:gd name="T58" fmla="*/ 267 w 600"/>
                <a:gd name="T59" fmla="*/ 19 h 414"/>
                <a:gd name="T60" fmla="*/ 263 w 600"/>
                <a:gd name="T61" fmla="*/ 19 h 414"/>
                <a:gd name="T62" fmla="*/ 267 w 600"/>
                <a:gd name="T63" fmla="*/ 19 h 414"/>
                <a:gd name="T64" fmla="*/ 279 w 600"/>
                <a:gd name="T65" fmla="*/ 22 h 414"/>
                <a:gd name="T66" fmla="*/ 288 w 600"/>
                <a:gd name="T67" fmla="*/ 28 h 414"/>
                <a:gd name="T68" fmla="*/ 294 w 600"/>
                <a:gd name="T69" fmla="*/ 37 h 414"/>
                <a:gd name="T70" fmla="*/ 298 w 600"/>
                <a:gd name="T71" fmla="*/ 54 h 414"/>
                <a:gd name="T72" fmla="*/ 298 w 600"/>
                <a:gd name="T73" fmla="*/ 63 h 414"/>
                <a:gd name="T74" fmla="*/ 301 w 600"/>
                <a:gd name="T75" fmla="*/ 75 h 414"/>
                <a:gd name="T76" fmla="*/ 314 w 600"/>
                <a:gd name="T77" fmla="*/ 91 h 414"/>
                <a:gd name="T78" fmla="*/ 310 w 600"/>
                <a:gd name="T79" fmla="*/ 100 h 414"/>
                <a:gd name="T80" fmla="*/ 301 w 600"/>
                <a:gd name="T81" fmla="*/ 97 h 414"/>
                <a:gd name="T82" fmla="*/ 285 w 600"/>
                <a:gd name="T83" fmla="*/ 97 h 414"/>
                <a:gd name="T84" fmla="*/ 267 w 600"/>
                <a:gd name="T85" fmla="*/ 100 h 414"/>
                <a:gd name="T86" fmla="*/ 267 w 600"/>
                <a:gd name="T87" fmla="*/ 110 h 414"/>
                <a:gd name="T88" fmla="*/ 248 w 600"/>
                <a:gd name="T89" fmla="*/ 113 h 414"/>
                <a:gd name="T90" fmla="*/ 241 w 600"/>
                <a:gd name="T91" fmla="*/ 122 h 414"/>
                <a:gd name="T92" fmla="*/ 248 w 600"/>
                <a:gd name="T93" fmla="*/ 132 h 414"/>
                <a:gd name="T94" fmla="*/ 231 w 600"/>
                <a:gd name="T95" fmla="*/ 134 h 414"/>
                <a:gd name="T96" fmla="*/ 219 w 600"/>
                <a:gd name="T97" fmla="*/ 138 h 414"/>
                <a:gd name="T98" fmla="*/ 213 w 600"/>
                <a:gd name="T99" fmla="*/ 147 h 414"/>
                <a:gd name="T100" fmla="*/ 204 w 600"/>
                <a:gd name="T101" fmla="*/ 154 h 414"/>
                <a:gd name="T102" fmla="*/ 190 w 600"/>
                <a:gd name="T103" fmla="*/ 160 h 414"/>
                <a:gd name="T104" fmla="*/ 176 w 600"/>
                <a:gd name="T105" fmla="*/ 162 h 414"/>
                <a:gd name="T106" fmla="*/ 162 w 600"/>
                <a:gd name="T107" fmla="*/ 162 h 414"/>
                <a:gd name="T108" fmla="*/ 150 w 600"/>
                <a:gd name="T109" fmla="*/ 167 h 414"/>
                <a:gd name="T110" fmla="*/ 142 w 600"/>
                <a:gd name="T111" fmla="*/ 173 h 414"/>
                <a:gd name="T112" fmla="*/ 128 w 600"/>
                <a:gd name="T113" fmla="*/ 179 h 414"/>
                <a:gd name="T114" fmla="*/ 116 w 600"/>
                <a:gd name="T115" fmla="*/ 188 h 414"/>
                <a:gd name="T116" fmla="*/ 0 w 600"/>
                <a:gd name="T117" fmla="*/ 213 h 4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00" h="414">
                  <a:moveTo>
                    <a:pt x="0" y="408"/>
                  </a:moveTo>
                  <a:lnTo>
                    <a:pt x="6" y="408"/>
                  </a:lnTo>
                  <a:lnTo>
                    <a:pt x="6" y="402"/>
                  </a:lnTo>
                  <a:lnTo>
                    <a:pt x="6" y="396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24" y="396"/>
                  </a:lnTo>
                  <a:lnTo>
                    <a:pt x="30" y="396"/>
                  </a:lnTo>
                  <a:lnTo>
                    <a:pt x="36" y="390"/>
                  </a:lnTo>
                  <a:lnTo>
                    <a:pt x="42" y="390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54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72" y="384"/>
                  </a:lnTo>
                  <a:lnTo>
                    <a:pt x="78" y="378"/>
                  </a:lnTo>
                  <a:lnTo>
                    <a:pt x="84" y="378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96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114" y="354"/>
                  </a:lnTo>
                  <a:lnTo>
                    <a:pt x="120" y="348"/>
                  </a:lnTo>
                  <a:lnTo>
                    <a:pt x="126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6" y="312"/>
                  </a:lnTo>
                  <a:lnTo>
                    <a:pt x="156" y="306"/>
                  </a:lnTo>
                  <a:lnTo>
                    <a:pt x="162" y="306"/>
                  </a:lnTo>
                  <a:lnTo>
                    <a:pt x="168" y="300"/>
                  </a:lnTo>
                  <a:lnTo>
                    <a:pt x="168" y="294"/>
                  </a:lnTo>
                  <a:lnTo>
                    <a:pt x="174" y="288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2" y="252"/>
                  </a:lnTo>
                  <a:lnTo>
                    <a:pt x="162" y="246"/>
                  </a:lnTo>
                  <a:lnTo>
                    <a:pt x="162" y="240"/>
                  </a:lnTo>
                  <a:lnTo>
                    <a:pt x="162" y="234"/>
                  </a:lnTo>
                  <a:lnTo>
                    <a:pt x="168" y="228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22"/>
                  </a:lnTo>
                  <a:lnTo>
                    <a:pt x="168" y="216"/>
                  </a:lnTo>
                  <a:lnTo>
                    <a:pt x="174" y="210"/>
                  </a:lnTo>
                  <a:lnTo>
                    <a:pt x="174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92"/>
                  </a:lnTo>
                  <a:lnTo>
                    <a:pt x="192" y="192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2" y="174"/>
                  </a:lnTo>
                  <a:lnTo>
                    <a:pt x="192" y="168"/>
                  </a:lnTo>
                  <a:lnTo>
                    <a:pt x="198" y="162"/>
                  </a:lnTo>
                  <a:lnTo>
                    <a:pt x="204" y="156"/>
                  </a:lnTo>
                  <a:lnTo>
                    <a:pt x="210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6" y="144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34" y="132"/>
                  </a:lnTo>
                  <a:lnTo>
                    <a:pt x="240" y="132"/>
                  </a:lnTo>
                  <a:lnTo>
                    <a:pt x="240" y="126"/>
                  </a:lnTo>
                  <a:lnTo>
                    <a:pt x="246" y="126"/>
                  </a:lnTo>
                  <a:lnTo>
                    <a:pt x="252" y="120"/>
                  </a:lnTo>
                  <a:lnTo>
                    <a:pt x="258" y="120"/>
                  </a:lnTo>
                  <a:lnTo>
                    <a:pt x="264" y="120"/>
                  </a:lnTo>
                  <a:lnTo>
                    <a:pt x="270" y="114"/>
                  </a:lnTo>
                  <a:lnTo>
                    <a:pt x="276" y="114"/>
                  </a:lnTo>
                  <a:lnTo>
                    <a:pt x="282" y="114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4" y="108"/>
                  </a:lnTo>
                  <a:lnTo>
                    <a:pt x="294" y="102"/>
                  </a:lnTo>
                  <a:lnTo>
                    <a:pt x="300" y="102"/>
                  </a:lnTo>
                  <a:lnTo>
                    <a:pt x="306" y="102"/>
                  </a:lnTo>
                  <a:lnTo>
                    <a:pt x="312" y="96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24" y="84"/>
                  </a:lnTo>
                  <a:lnTo>
                    <a:pt x="318" y="84"/>
                  </a:lnTo>
                  <a:lnTo>
                    <a:pt x="324" y="78"/>
                  </a:lnTo>
                  <a:lnTo>
                    <a:pt x="330" y="72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48" y="36"/>
                  </a:lnTo>
                  <a:lnTo>
                    <a:pt x="348" y="30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6"/>
                  </a:lnTo>
                  <a:lnTo>
                    <a:pt x="366" y="6"/>
                  </a:lnTo>
                  <a:lnTo>
                    <a:pt x="372" y="6"/>
                  </a:lnTo>
                  <a:lnTo>
                    <a:pt x="378" y="6"/>
                  </a:lnTo>
                  <a:lnTo>
                    <a:pt x="378" y="0"/>
                  </a:lnTo>
                  <a:lnTo>
                    <a:pt x="384" y="0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90" y="12"/>
                  </a:lnTo>
                  <a:lnTo>
                    <a:pt x="390" y="18"/>
                  </a:lnTo>
                  <a:lnTo>
                    <a:pt x="396" y="18"/>
                  </a:lnTo>
                  <a:lnTo>
                    <a:pt x="396" y="24"/>
                  </a:lnTo>
                  <a:lnTo>
                    <a:pt x="402" y="24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6" y="36"/>
                  </a:lnTo>
                  <a:lnTo>
                    <a:pt x="432" y="36"/>
                  </a:lnTo>
                  <a:lnTo>
                    <a:pt x="438" y="42"/>
                  </a:lnTo>
                  <a:lnTo>
                    <a:pt x="438" y="36"/>
                  </a:lnTo>
                  <a:lnTo>
                    <a:pt x="444" y="36"/>
                  </a:lnTo>
                  <a:lnTo>
                    <a:pt x="450" y="36"/>
                  </a:lnTo>
                  <a:lnTo>
                    <a:pt x="456" y="36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68" y="30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8" y="36"/>
                  </a:lnTo>
                  <a:lnTo>
                    <a:pt x="498" y="30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04" y="36"/>
                  </a:lnTo>
                  <a:lnTo>
                    <a:pt x="510" y="36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16" y="36"/>
                  </a:lnTo>
                  <a:lnTo>
                    <a:pt x="510" y="36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8" y="42"/>
                  </a:lnTo>
                  <a:lnTo>
                    <a:pt x="534" y="36"/>
                  </a:lnTo>
                  <a:lnTo>
                    <a:pt x="534" y="42"/>
                  </a:lnTo>
                  <a:lnTo>
                    <a:pt x="540" y="42"/>
                  </a:lnTo>
                  <a:lnTo>
                    <a:pt x="546" y="42"/>
                  </a:lnTo>
                  <a:lnTo>
                    <a:pt x="546" y="48"/>
                  </a:lnTo>
                  <a:lnTo>
                    <a:pt x="552" y="48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60"/>
                  </a:lnTo>
                  <a:lnTo>
                    <a:pt x="558" y="66"/>
                  </a:lnTo>
                  <a:lnTo>
                    <a:pt x="564" y="66"/>
                  </a:lnTo>
                  <a:lnTo>
                    <a:pt x="564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70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564" y="108"/>
                  </a:lnTo>
                  <a:lnTo>
                    <a:pt x="564" y="114"/>
                  </a:lnTo>
                  <a:lnTo>
                    <a:pt x="570" y="114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70" y="132"/>
                  </a:lnTo>
                  <a:lnTo>
                    <a:pt x="570" y="138"/>
                  </a:lnTo>
                  <a:lnTo>
                    <a:pt x="576" y="138"/>
                  </a:lnTo>
                  <a:lnTo>
                    <a:pt x="576" y="14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8" y="162"/>
                  </a:lnTo>
                  <a:lnTo>
                    <a:pt x="600" y="168"/>
                  </a:lnTo>
                  <a:lnTo>
                    <a:pt x="600" y="174"/>
                  </a:lnTo>
                  <a:lnTo>
                    <a:pt x="594" y="174"/>
                  </a:lnTo>
                  <a:lnTo>
                    <a:pt x="588" y="180"/>
                  </a:lnTo>
                  <a:lnTo>
                    <a:pt x="588" y="186"/>
                  </a:lnTo>
                  <a:lnTo>
                    <a:pt x="594" y="186"/>
                  </a:lnTo>
                  <a:lnTo>
                    <a:pt x="594" y="192"/>
                  </a:lnTo>
                  <a:lnTo>
                    <a:pt x="588" y="192"/>
                  </a:lnTo>
                  <a:lnTo>
                    <a:pt x="582" y="192"/>
                  </a:lnTo>
                  <a:lnTo>
                    <a:pt x="582" y="186"/>
                  </a:lnTo>
                  <a:lnTo>
                    <a:pt x="576" y="192"/>
                  </a:lnTo>
                  <a:lnTo>
                    <a:pt x="576" y="186"/>
                  </a:lnTo>
                  <a:lnTo>
                    <a:pt x="570" y="192"/>
                  </a:lnTo>
                  <a:lnTo>
                    <a:pt x="564" y="186"/>
                  </a:lnTo>
                  <a:lnTo>
                    <a:pt x="558" y="186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6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10" y="192"/>
                  </a:lnTo>
                  <a:lnTo>
                    <a:pt x="504" y="192"/>
                  </a:lnTo>
                  <a:lnTo>
                    <a:pt x="504" y="198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0" y="210"/>
                  </a:lnTo>
                  <a:lnTo>
                    <a:pt x="504" y="210"/>
                  </a:lnTo>
                  <a:lnTo>
                    <a:pt x="498" y="210"/>
                  </a:lnTo>
                  <a:lnTo>
                    <a:pt x="492" y="210"/>
                  </a:lnTo>
                  <a:lnTo>
                    <a:pt x="486" y="210"/>
                  </a:lnTo>
                  <a:lnTo>
                    <a:pt x="474" y="216"/>
                  </a:lnTo>
                  <a:lnTo>
                    <a:pt x="468" y="216"/>
                  </a:lnTo>
                  <a:lnTo>
                    <a:pt x="468" y="222"/>
                  </a:lnTo>
                  <a:lnTo>
                    <a:pt x="468" y="228"/>
                  </a:lnTo>
                  <a:lnTo>
                    <a:pt x="462" y="228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8" y="240"/>
                  </a:lnTo>
                  <a:lnTo>
                    <a:pt x="474" y="240"/>
                  </a:lnTo>
                  <a:lnTo>
                    <a:pt x="474" y="246"/>
                  </a:lnTo>
                  <a:lnTo>
                    <a:pt x="474" y="252"/>
                  </a:lnTo>
                  <a:lnTo>
                    <a:pt x="468" y="252"/>
                  </a:lnTo>
                  <a:lnTo>
                    <a:pt x="462" y="252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44" y="258"/>
                  </a:lnTo>
                  <a:lnTo>
                    <a:pt x="438" y="258"/>
                  </a:lnTo>
                  <a:lnTo>
                    <a:pt x="432" y="258"/>
                  </a:lnTo>
                  <a:lnTo>
                    <a:pt x="426" y="258"/>
                  </a:lnTo>
                  <a:lnTo>
                    <a:pt x="420" y="258"/>
                  </a:lnTo>
                  <a:lnTo>
                    <a:pt x="420" y="264"/>
                  </a:lnTo>
                  <a:lnTo>
                    <a:pt x="414" y="264"/>
                  </a:lnTo>
                  <a:lnTo>
                    <a:pt x="408" y="264"/>
                  </a:lnTo>
                  <a:lnTo>
                    <a:pt x="408" y="270"/>
                  </a:lnTo>
                  <a:lnTo>
                    <a:pt x="408" y="276"/>
                  </a:lnTo>
                  <a:lnTo>
                    <a:pt x="408" y="282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402" y="294"/>
                  </a:lnTo>
                  <a:lnTo>
                    <a:pt x="396" y="294"/>
                  </a:lnTo>
                  <a:lnTo>
                    <a:pt x="390" y="294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78" y="300"/>
                  </a:lnTo>
                  <a:lnTo>
                    <a:pt x="372" y="306"/>
                  </a:lnTo>
                  <a:lnTo>
                    <a:pt x="366" y="306"/>
                  </a:lnTo>
                  <a:lnTo>
                    <a:pt x="360" y="306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42" y="312"/>
                  </a:lnTo>
                  <a:lnTo>
                    <a:pt x="336" y="312"/>
                  </a:lnTo>
                  <a:lnTo>
                    <a:pt x="330" y="312"/>
                  </a:lnTo>
                  <a:lnTo>
                    <a:pt x="330" y="318"/>
                  </a:lnTo>
                  <a:lnTo>
                    <a:pt x="324" y="318"/>
                  </a:lnTo>
                  <a:lnTo>
                    <a:pt x="318" y="318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0" y="312"/>
                  </a:lnTo>
                  <a:lnTo>
                    <a:pt x="294" y="312"/>
                  </a:lnTo>
                  <a:lnTo>
                    <a:pt x="294" y="318"/>
                  </a:lnTo>
                  <a:lnTo>
                    <a:pt x="288" y="318"/>
                  </a:lnTo>
                  <a:lnTo>
                    <a:pt x="288" y="324"/>
                  </a:lnTo>
                  <a:lnTo>
                    <a:pt x="282" y="324"/>
                  </a:lnTo>
                  <a:lnTo>
                    <a:pt x="276" y="324"/>
                  </a:lnTo>
                  <a:lnTo>
                    <a:pt x="270" y="324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64" y="336"/>
                  </a:lnTo>
                  <a:lnTo>
                    <a:pt x="258" y="336"/>
                  </a:lnTo>
                  <a:lnTo>
                    <a:pt x="252" y="342"/>
                  </a:lnTo>
                  <a:lnTo>
                    <a:pt x="246" y="342"/>
                  </a:lnTo>
                  <a:lnTo>
                    <a:pt x="240" y="348"/>
                  </a:lnTo>
                  <a:lnTo>
                    <a:pt x="234" y="348"/>
                  </a:lnTo>
                  <a:lnTo>
                    <a:pt x="234" y="354"/>
                  </a:lnTo>
                  <a:lnTo>
                    <a:pt x="228" y="354"/>
                  </a:lnTo>
                  <a:lnTo>
                    <a:pt x="222" y="360"/>
                  </a:lnTo>
                  <a:lnTo>
                    <a:pt x="222" y="414"/>
                  </a:lnTo>
                  <a:lnTo>
                    <a:pt x="150" y="408"/>
                  </a:lnTo>
                  <a:lnTo>
                    <a:pt x="78" y="408"/>
                  </a:lnTo>
                  <a:lnTo>
                    <a:pt x="66" y="408"/>
                  </a:lnTo>
                  <a:lnTo>
                    <a:pt x="0" y="40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0" name="Freeform 23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336" y="1213"/>
              <a:ext cx="520" cy="531"/>
            </a:xfrm>
            <a:custGeom>
              <a:avLst/>
              <a:gdLst>
                <a:gd name="T0" fmla="*/ 291 w 612"/>
                <a:gd name="T1" fmla="*/ 41 h 624"/>
                <a:gd name="T2" fmla="*/ 272 w 612"/>
                <a:gd name="T3" fmla="*/ 60 h 624"/>
                <a:gd name="T4" fmla="*/ 279 w 612"/>
                <a:gd name="T5" fmla="*/ 100 h 624"/>
                <a:gd name="T6" fmla="*/ 281 w 612"/>
                <a:gd name="T7" fmla="*/ 119 h 624"/>
                <a:gd name="T8" fmla="*/ 287 w 612"/>
                <a:gd name="T9" fmla="*/ 186 h 624"/>
                <a:gd name="T10" fmla="*/ 291 w 612"/>
                <a:gd name="T11" fmla="*/ 208 h 624"/>
                <a:gd name="T12" fmla="*/ 297 w 612"/>
                <a:gd name="T13" fmla="*/ 267 h 624"/>
                <a:gd name="T14" fmla="*/ 297 w 612"/>
                <a:gd name="T15" fmla="*/ 305 h 624"/>
                <a:gd name="T16" fmla="*/ 257 w 612"/>
                <a:gd name="T17" fmla="*/ 305 h 624"/>
                <a:gd name="T18" fmla="*/ 225 w 612"/>
                <a:gd name="T19" fmla="*/ 305 h 624"/>
                <a:gd name="T20" fmla="*/ 200 w 612"/>
                <a:gd name="T21" fmla="*/ 302 h 624"/>
                <a:gd name="T22" fmla="*/ 188 w 612"/>
                <a:gd name="T23" fmla="*/ 308 h 624"/>
                <a:gd name="T24" fmla="*/ 175 w 612"/>
                <a:gd name="T25" fmla="*/ 308 h 624"/>
                <a:gd name="T26" fmla="*/ 166 w 612"/>
                <a:gd name="T27" fmla="*/ 311 h 624"/>
                <a:gd name="T28" fmla="*/ 160 w 612"/>
                <a:gd name="T29" fmla="*/ 318 h 624"/>
                <a:gd name="T30" fmla="*/ 153 w 612"/>
                <a:gd name="T31" fmla="*/ 308 h 624"/>
                <a:gd name="T32" fmla="*/ 144 w 612"/>
                <a:gd name="T33" fmla="*/ 302 h 624"/>
                <a:gd name="T34" fmla="*/ 137 w 612"/>
                <a:gd name="T35" fmla="*/ 308 h 624"/>
                <a:gd name="T36" fmla="*/ 137 w 612"/>
                <a:gd name="T37" fmla="*/ 321 h 624"/>
                <a:gd name="T38" fmla="*/ 128 w 612"/>
                <a:gd name="T39" fmla="*/ 324 h 624"/>
                <a:gd name="T40" fmla="*/ 119 w 612"/>
                <a:gd name="T41" fmla="*/ 321 h 624"/>
                <a:gd name="T42" fmla="*/ 109 w 612"/>
                <a:gd name="T43" fmla="*/ 315 h 624"/>
                <a:gd name="T44" fmla="*/ 106 w 612"/>
                <a:gd name="T45" fmla="*/ 308 h 624"/>
                <a:gd name="T46" fmla="*/ 99 w 612"/>
                <a:gd name="T47" fmla="*/ 302 h 624"/>
                <a:gd name="T48" fmla="*/ 93 w 612"/>
                <a:gd name="T49" fmla="*/ 289 h 624"/>
                <a:gd name="T50" fmla="*/ 84 w 612"/>
                <a:gd name="T51" fmla="*/ 287 h 624"/>
                <a:gd name="T52" fmla="*/ 78 w 612"/>
                <a:gd name="T53" fmla="*/ 279 h 624"/>
                <a:gd name="T54" fmla="*/ 69 w 612"/>
                <a:gd name="T55" fmla="*/ 277 h 624"/>
                <a:gd name="T56" fmla="*/ 56 w 612"/>
                <a:gd name="T57" fmla="*/ 277 h 624"/>
                <a:gd name="T58" fmla="*/ 54 w 612"/>
                <a:gd name="T59" fmla="*/ 274 h 624"/>
                <a:gd name="T60" fmla="*/ 50 w 612"/>
                <a:gd name="T61" fmla="*/ 277 h 624"/>
                <a:gd name="T62" fmla="*/ 43 w 612"/>
                <a:gd name="T63" fmla="*/ 277 h 624"/>
                <a:gd name="T64" fmla="*/ 35 w 612"/>
                <a:gd name="T65" fmla="*/ 279 h 624"/>
                <a:gd name="T66" fmla="*/ 25 w 612"/>
                <a:gd name="T67" fmla="*/ 277 h 624"/>
                <a:gd name="T68" fmla="*/ 19 w 612"/>
                <a:gd name="T69" fmla="*/ 283 h 624"/>
                <a:gd name="T70" fmla="*/ 15 w 612"/>
                <a:gd name="T71" fmla="*/ 289 h 624"/>
                <a:gd name="T72" fmla="*/ 15 w 612"/>
                <a:gd name="T73" fmla="*/ 283 h 624"/>
                <a:gd name="T74" fmla="*/ 19 w 612"/>
                <a:gd name="T75" fmla="*/ 271 h 624"/>
                <a:gd name="T76" fmla="*/ 28 w 612"/>
                <a:gd name="T77" fmla="*/ 248 h 624"/>
                <a:gd name="T78" fmla="*/ 28 w 612"/>
                <a:gd name="T79" fmla="*/ 236 h 624"/>
                <a:gd name="T80" fmla="*/ 25 w 612"/>
                <a:gd name="T81" fmla="*/ 224 h 624"/>
                <a:gd name="T82" fmla="*/ 19 w 612"/>
                <a:gd name="T83" fmla="*/ 211 h 624"/>
                <a:gd name="T84" fmla="*/ 19 w 612"/>
                <a:gd name="T85" fmla="*/ 205 h 624"/>
                <a:gd name="T86" fmla="*/ 19 w 612"/>
                <a:gd name="T87" fmla="*/ 205 h 624"/>
                <a:gd name="T88" fmla="*/ 19 w 612"/>
                <a:gd name="T89" fmla="*/ 198 h 624"/>
                <a:gd name="T90" fmla="*/ 22 w 612"/>
                <a:gd name="T91" fmla="*/ 188 h 624"/>
                <a:gd name="T92" fmla="*/ 22 w 612"/>
                <a:gd name="T93" fmla="*/ 180 h 624"/>
                <a:gd name="T94" fmla="*/ 15 w 612"/>
                <a:gd name="T95" fmla="*/ 173 h 624"/>
                <a:gd name="T96" fmla="*/ 12 w 612"/>
                <a:gd name="T97" fmla="*/ 170 h 624"/>
                <a:gd name="T98" fmla="*/ 6 w 612"/>
                <a:gd name="T99" fmla="*/ 163 h 624"/>
                <a:gd name="T100" fmla="*/ 6 w 612"/>
                <a:gd name="T101" fmla="*/ 160 h 624"/>
                <a:gd name="T102" fmla="*/ 6 w 612"/>
                <a:gd name="T103" fmla="*/ 160 h 624"/>
                <a:gd name="T104" fmla="*/ 6 w 612"/>
                <a:gd name="T105" fmla="*/ 154 h 624"/>
                <a:gd name="T106" fmla="*/ 3 w 612"/>
                <a:gd name="T107" fmla="*/ 163 h 624"/>
                <a:gd name="T108" fmla="*/ 0 w 612"/>
                <a:gd name="T109" fmla="*/ 170 h 624"/>
                <a:gd name="T110" fmla="*/ 3 w 612"/>
                <a:gd name="T111" fmla="*/ 160 h 624"/>
                <a:gd name="T112" fmla="*/ 56 w 612"/>
                <a:gd name="T113" fmla="*/ 154 h 624"/>
                <a:gd name="T114" fmla="*/ 104 w 612"/>
                <a:gd name="T115" fmla="*/ 139 h 624"/>
                <a:gd name="T116" fmla="*/ 106 w 612"/>
                <a:gd name="T117" fmla="*/ 107 h 624"/>
                <a:gd name="T118" fmla="*/ 113 w 612"/>
                <a:gd name="T119" fmla="*/ 100 h 624"/>
                <a:gd name="T120" fmla="*/ 132 w 612"/>
                <a:gd name="T121" fmla="*/ 31 h 6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612" h="624">
                  <a:moveTo>
                    <a:pt x="420" y="0"/>
                  </a:moveTo>
                  <a:lnTo>
                    <a:pt x="474" y="30"/>
                  </a:lnTo>
                  <a:lnTo>
                    <a:pt x="504" y="42"/>
                  </a:lnTo>
                  <a:lnTo>
                    <a:pt x="558" y="78"/>
                  </a:lnTo>
                  <a:lnTo>
                    <a:pt x="582" y="96"/>
                  </a:lnTo>
                  <a:lnTo>
                    <a:pt x="612" y="114"/>
                  </a:lnTo>
                  <a:lnTo>
                    <a:pt x="60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8" y="162"/>
                  </a:lnTo>
                  <a:lnTo>
                    <a:pt x="534" y="180"/>
                  </a:lnTo>
                  <a:lnTo>
                    <a:pt x="534" y="192"/>
                  </a:lnTo>
                  <a:lnTo>
                    <a:pt x="534" y="198"/>
                  </a:lnTo>
                  <a:lnTo>
                    <a:pt x="534" y="204"/>
                  </a:lnTo>
                  <a:lnTo>
                    <a:pt x="534" y="210"/>
                  </a:lnTo>
                  <a:lnTo>
                    <a:pt x="540" y="228"/>
                  </a:lnTo>
                  <a:lnTo>
                    <a:pt x="540" y="252"/>
                  </a:lnTo>
                  <a:lnTo>
                    <a:pt x="546" y="306"/>
                  </a:lnTo>
                  <a:lnTo>
                    <a:pt x="552" y="342"/>
                  </a:lnTo>
                  <a:lnTo>
                    <a:pt x="552" y="354"/>
                  </a:lnTo>
                  <a:lnTo>
                    <a:pt x="552" y="360"/>
                  </a:lnTo>
                  <a:lnTo>
                    <a:pt x="552" y="366"/>
                  </a:lnTo>
                  <a:lnTo>
                    <a:pt x="552" y="384"/>
                  </a:lnTo>
                  <a:lnTo>
                    <a:pt x="558" y="396"/>
                  </a:lnTo>
                  <a:lnTo>
                    <a:pt x="564" y="462"/>
                  </a:lnTo>
                  <a:lnTo>
                    <a:pt x="564" y="468"/>
                  </a:lnTo>
                  <a:lnTo>
                    <a:pt x="564" y="486"/>
                  </a:lnTo>
                  <a:lnTo>
                    <a:pt x="570" y="510"/>
                  </a:lnTo>
                  <a:lnTo>
                    <a:pt x="570" y="534"/>
                  </a:lnTo>
                  <a:lnTo>
                    <a:pt x="588" y="540"/>
                  </a:lnTo>
                  <a:lnTo>
                    <a:pt x="576" y="582"/>
                  </a:lnTo>
                  <a:lnTo>
                    <a:pt x="570" y="582"/>
                  </a:lnTo>
                  <a:lnTo>
                    <a:pt x="552" y="582"/>
                  </a:lnTo>
                  <a:lnTo>
                    <a:pt x="516" y="582"/>
                  </a:lnTo>
                  <a:lnTo>
                    <a:pt x="498" y="582"/>
                  </a:lnTo>
                  <a:lnTo>
                    <a:pt x="492" y="582"/>
                  </a:lnTo>
                  <a:lnTo>
                    <a:pt x="468" y="582"/>
                  </a:lnTo>
                  <a:lnTo>
                    <a:pt x="456" y="582"/>
                  </a:lnTo>
                  <a:lnTo>
                    <a:pt x="438" y="582"/>
                  </a:lnTo>
                  <a:lnTo>
                    <a:pt x="432" y="582"/>
                  </a:lnTo>
                  <a:lnTo>
                    <a:pt x="420" y="582"/>
                  </a:lnTo>
                  <a:lnTo>
                    <a:pt x="384" y="582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78" y="576"/>
                  </a:lnTo>
                  <a:lnTo>
                    <a:pt x="384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18" y="588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600"/>
                  </a:lnTo>
                  <a:lnTo>
                    <a:pt x="306" y="600"/>
                  </a:lnTo>
                  <a:lnTo>
                    <a:pt x="306" y="606"/>
                  </a:lnTo>
                  <a:lnTo>
                    <a:pt x="306" y="600"/>
                  </a:lnTo>
                  <a:lnTo>
                    <a:pt x="306" y="594"/>
                  </a:lnTo>
                  <a:lnTo>
                    <a:pt x="300" y="594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82"/>
                  </a:lnTo>
                  <a:lnTo>
                    <a:pt x="270" y="582"/>
                  </a:lnTo>
                  <a:lnTo>
                    <a:pt x="264" y="582"/>
                  </a:lnTo>
                  <a:lnTo>
                    <a:pt x="264" y="588"/>
                  </a:lnTo>
                  <a:lnTo>
                    <a:pt x="264" y="594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64" y="612"/>
                  </a:lnTo>
                  <a:lnTo>
                    <a:pt x="258" y="618"/>
                  </a:lnTo>
                  <a:lnTo>
                    <a:pt x="252" y="618"/>
                  </a:lnTo>
                  <a:lnTo>
                    <a:pt x="252" y="624"/>
                  </a:lnTo>
                  <a:lnTo>
                    <a:pt x="246" y="618"/>
                  </a:lnTo>
                  <a:lnTo>
                    <a:pt x="240" y="618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28" y="612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0"/>
                  </a:lnTo>
                  <a:lnTo>
                    <a:pt x="210" y="600"/>
                  </a:lnTo>
                  <a:lnTo>
                    <a:pt x="210" y="594"/>
                  </a:lnTo>
                  <a:lnTo>
                    <a:pt x="204" y="588"/>
                  </a:lnTo>
                  <a:lnTo>
                    <a:pt x="210" y="588"/>
                  </a:lnTo>
                  <a:lnTo>
                    <a:pt x="204" y="588"/>
                  </a:lnTo>
                  <a:lnTo>
                    <a:pt x="204" y="582"/>
                  </a:lnTo>
                  <a:lnTo>
                    <a:pt x="198" y="582"/>
                  </a:lnTo>
                  <a:lnTo>
                    <a:pt x="198" y="576"/>
                  </a:lnTo>
                  <a:lnTo>
                    <a:pt x="192" y="576"/>
                  </a:lnTo>
                  <a:lnTo>
                    <a:pt x="192" y="570"/>
                  </a:lnTo>
                  <a:lnTo>
                    <a:pt x="186" y="564"/>
                  </a:lnTo>
                  <a:lnTo>
                    <a:pt x="186" y="558"/>
                  </a:lnTo>
                  <a:lnTo>
                    <a:pt x="180" y="552"/>
                  </a:lnTo>
                  <a:lnTo>
                    <a:pt x="174" y="552"/>
                  </a:lnTo>
                  <a:lnTo>
                    <a:pt x="168" y="552"/>
                  </a:lnTo>
                  <a:lnTo>
                    <a:pt x="162" y="552"/>
                  </a:lnTo>
                  <a:lnTo>
                    <a:pt x="162" y="546"/>
                  </a:lnTo>
                  <a:lnTo>
                    <a:pt x="156" y="546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28"/>
                  </a:lnTo>
                  <a:lnTo>
                    <a:pt x="138" y="528"/>
                  </a:lnTo>
                  <a:lnTo>
                    <a:pt x="132" y="528"/>
                  </a:lnTo>
                  <a:lnTo>
                    <a:pt x="126" y="528"/>
                  </a:lnTo>
                  <a:lnTo>
                    <a:pt x="120" y="528"/>
                  </a:lnTo>
                  <a:lnTo>
                    <a:pt x="114" y="528"/>
                  </a:lnTo>
                  <a:lnTo>
                    <a:pt x="108" y="528"/>
                  </a:lnTo>
                  <a:lnTo>
                    <a:pt x="108" y="522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102" y="528"/>
                  </a:lnTo>
                  <a:lnTo>
                    <a:pt x="96" y="528"/>
                  </a:lnTo>
                  <a:lnTo>
                    <a:pt x="90" y="528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84" y="528"/>
                  </a:lnTo>
                  <a:lnTo>
                    <a:pt x="78" y="528"/>
                  </a:lnTo>
                  <a:lnTo>
                    <a:pt x="78" y="534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48" y="534"/>
                  </a:lnTo>
                  <a:lnTo>
                    <a:pt x="48" y="528"/>
                  </a:lnTo>
                  <a:lnTo>
                    <a:pt x="48" y="534"/>
                  </a:lnTo>
                  <a:lnTo>
                    <a:pt x="42" y="534"/>
                  </a:lnTo>
                  <a:lnTo>
                    <a:pt x="42" y="540"/>
                  </a:lnTo>
                  <a:lnTo>
                    <a:pt x="36" y="540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36" y="552"/>
                  </a:lnTo>
                  <a:lnTo>
                    <a:pt x="30" y="552"/>
                  </a:lnTo>
                  <a:lnTo>
                    <a:pt x="30" y="558"/>
                  </a:lnTo>
                  <a:lnTo>
                    <a:pt x="30" y="552"/>
                  </a:lnTo>
                  <a:lnTo>
                    <a:pt x="30" y="546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6" y="528"/>
                  </a:lnTo>
                  <a:lnTo>
                    <a:pt x="36" y="522"/>
                  </a:lnTo>
                  <a:lnTo>
                    <a:pt x="36" y="516"/>
                  </a:lnTo>
                  <a:lnTo>
                    <a:pt x="48" y="498"/>
                  </a:lnTo>
                  <a:lnTo>
                    <a:pt x="48" y="486"/>
                  </a:lnTo>
                  <a:lnTo>
                    <a:pt x="54" y="480"/>
                  </a:lnTo>
                  <a:lnTo>
                    <a:pt x="54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54" y="444"/>
                  </a:lnTo>
                  <a:lnTo>
                    <a:pt x="54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08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0" y="396"/>
                  </a:lnTo>
                  <a:lnTo>
                    <a:pt x="30" y="390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42" y="384"/>
                  </a:lnTo>
                  <a:lnTo>
                    <a:pt x="36" y="384"/>
                  </a:lnTo>
                  <a:lnTo>
                    <a:pt x="36" y="390"/>
                  </a:lnTo>
                  <a:lnTo>
                    <a:pt x="30" y="390"/>
                  </a:lnTo>
                  <a:lnTo>
                    <a:pt x="30" y="384"/>
                  </a:lnTo>
                  <a:lnTo>
                    <a:pt x="36" y="384"/>
                  </a:lnTo>
                  <a:lnTo>
                    <a:pt x="36" y="378"/>
                  </a:lnTo>
                  <a:lnTo>
                    <a:pt x="42" y="378"/>
                  </a:lnTo>
                  <a:lnTo>
                    <a:pt x="42" y="372"/>
                  </a:lnTo>
                  <a:lnTo>
                    <a:pt x="42" y="366"/>
                  </a:lnTo>
                  <a:lnTo>
                    <a:pt x="42" y="360"/>
                  </a:lnTo>
                  <a:lnTo>
                    <a:pt x="42" y="354"/>
                  </a:lnTo>
                  <a:lnTo>
                    <a:pt x="48" y="348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6" y="330"/>
                  </a:lnTo>
                  <a:lnTo>
                    <a:pt x="30" y="330"/>
                  </a:lnTo>
                  <a:lnTo>
                    <a:pt x="30" y="324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8" y="312"/>
                  </a:lnTo>
                  <a:lnTo>
                    <a:pt x="12" y="312"/>
                  </a:lnTo>
                  <a:lnTo>
                    <a:pt x="12" y="306"/>
                  </a:lnTo>
                  <a:lnTo>
                    <a:pt x="18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306"/>
                  </a:lnTo>
                  <a:lnTo>
                    <a:pt x="6" y="312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294"/>
                  </a:lnTo>
                  <a:lnTo>
                    <a:pt x="12" y="294"/>
                  </a:lnTo>
                  <a:lnTo>
                    <a:pt x="60" y="294"/>
                  </a:lnTo>
                  <a:lnTo>
                    <a:pt x="108" y="294"/>
                  </a:lnTo>
                  <a:lnTo>
                    <a:pt x="162" y="294"/>
                  </a:lnTo>
                  <a:lnTo>
                    <a:pt x="204" y="294"/>
                  </a:lnTo>
                  <a:lnTo>
                    <a:pt x="204" y="276"/>
                  </a:lnTo>
                  <a:lnTo>
                    <a:pt x="198" y="264"/>
                  </a:lnTo>
                  <a:lnTo>
                    <a:pt x="198" y="222"/>
                  </a:lnTo>
                  <a:lnTo>
                    <a:pt x="198" y="210"/>
                  </a:lnTo>
                  <a:lnTo>
                    <a:pt x="204" y="210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210" y="198"/>
                  </a:lnTo>
                  <a:lnTo>
                    <a:pt x="210" y="192"/>
                  </a:lnTo>
                  <a:lnTo>
                    <a:pt x="216" y="192"/>
                  </a:lnTo>
                  <a:lnTo>
                    <a:pt x="246" y="186"/>
                  </a:lnTo>
                  <a:lnTo>
                    <a:pt x="252" y="186"/>
                  </a:lnTo>
                  <a:lnTo>
                    <a:pt x="252" y="120"/>
                  </a:lnTo>
                  <a:lnTo>
                    <a:pt x="252" y="60"/>
                  </a:lnTo>
                  <a:lnTo>
                    <a:pt x="420" y="60"/>
                  </a:lnTo>
                  <a:lnTo>
                    <a:pt x="420" y="6"/>
                  </a:lnTo>
                  <a:lnTo>
                    <a:pt x="420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1" name="Freeform 24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336" y="1193"/>
              <a:ext cx="357" cy="296"/>
            </a:xfrm>
            <a:custGeom>
              <a:avLst/>
              <a:gdLst>
                <a:gd name="T0" fmla="*/ 138 w 420"/>
                <a:gd name="T1" fmla="*/ 0 h 348"/>
                <a:gd name="T2" fmla="*/ 182 w 420"/>
                <a:gd name="T3" fmla="*/ 0 h 348"/>
                <a:gd name="T4" fmla="*/ 219 w 420"/>
                <a:gd name="T5" fmla="*/ 12 h 348"/>
                <a:gd name="T6" fmla="*/ 219 w 420"/>
                <a:gd name="T7" fmla="*/ 43 h 348"/>
                <a:gd name="T8" fmla="*/ 132 w 420"/>
                <a:gd name="T9" fmla="*/ 75 h 348"/>
                <a:gd name="T10" fmla="*/ 128 w 420"/>
                <a:gd name="T11" fmla="*/ 110 h 348"/>
                <a:gd name="T12" fmla="*/ 110 w 420"/>
                <a:gd name="T13" fmla="*/ 114 h 348"/>
                <a:gd name="T14" fmla="*/ 106 w 420"/>
                <a:gd name="T15" fmla="*/ 117 h 348"/>
                <a:gd name="T16" fmla="*/ 106 w 420"/>
                <a:gd name="T17" fmla="*/ 122 h 348"/>
                <a:gd name="T18" fmla="*/ 104 w 420"/>
                <a:gd name="T19" fmla="*/ 128 h 348"/>
                <a:gd name="T20" fmla="*/ 106 w 420"/>
                <a:gd name="T21" fmla="*/ 157 h 348"/>
                <a:gd name="T22" fmla="*/ 84 w 420"/>
                <a:gd name="T23" fmla="*/ 167 h 348"/>
                <a:gd name="T24" fmla="*/ 31 w 420"/>
                <a:gd name="T25" fmla="*/ 167 h 348"/>
                <a:gd name="T26" fmla="*/ 3 w 420"/>
                <a:gd name="T27" fmla="*/ 167 h 348"/>
                <a:gd name="T28" fmla="*/ 3 w 420"/>
                <a:gd name="T29" fmla="*/ 176 h 348"/>
                <a:gd name="T30" fmla="*/ 0 w 420"/>
                <a:gd name="T31" fmla="*/ 179 h 348"/>
                <a:gd name="T32" fmla="*/ 0 w 420"/>
                <a:gd name="T33" fmla="*/ 179 h 348"/>
                <a:gd name="T34" fmla="*/ 0 w 420"/>
                <a:gd name="T35" fmla="*/ 173 h 348"/>
                <a:gd name="T36" fmla="*/ 3 w 420"/>
                <a:gd name="T37" fmla="*/ 167 h 348"/>
                <a:gd name="T38" fmla="*/ 3 w 420"/>
                <a:gd name="T39" fmla="*/ 160 h 348"/>
                <a:gd name="T40" fmla="*/ 3 w 420"/>
                <a:gd name="T41" fmla="*/ 154 h 348"/>
                <a:gd name="T42" fmla="*/ 7 w 420"/>
                <a:gd name="T43" fmla="*/ 148 h 348"/>
                <a:gd name="T44" fmla="*/ 9 w 420"/>
                <a:gd name="T45" fmla="*/ 145 h 348"/>
                <a:gd name="T46" fmla="*/ 12 w 420"/>
                <a:gd name="T47" fmla="*/ 142 h 348"/>
                <a:gd name="T48" fmla="*/ 16 w 420"/>
                <a:gd name="T49" fmla="*/ 138 h 348"/>
                <a:gd name="T50" fmla="*/ 19 w 420"/>
                <a:gd name="T51" fmla="*/ 132 h 348"/>
                <a:gd name="T52" fmla="*/ 22 w 420"/>
                <a:gd name="T53" fmla="*/ 128 h 348"/>
                <a:gd name="T54" fmla="*/ 26 w 420"/>
                <a:gd name="T55" fmla="*/ 126 h 348"/>
                <a:gd name="T56" fmla="*/ 26 w 420"/>
                <a:gd name="T57" fmla="*/ 119 h 348"/>
                <a:gd name="T58" fmla="*/ 26 w 420"/>
                <a:gd name="T59" fmla="*/ 119 h 348"/>
                <a:gd name="T60" fmla="*/ 28 w 420"/>
                <a:gd name="T61" fmla="*/ 117 h 348"/>
                <a:gd name="T62" fmla="*/ 31 w 420"/>
                <a:gd name="T63" fmla="*/ 110 h 348"/>
                <a:gd name="T64" fmla="*/ 31 w 420"/>
                <a:gd name="T65" fmla="*/ 110 h 348"/>
                <a:gd name="T66" fmla="*/ 35 w 420"/>
                <a:gd name="T67" fmla="*/ 104 h 348"/>
                <a:gd name="T68" fmla="*/ 37 w 420"/>
                <a:gd name="T69" fmla="*/ 100 h 348"/>
                <a:gd name="T70" fmla="*/ 37 w 420"/>
                <a:gd name="T71" fmla="*/ 100 h 348"/>
                <a:gd name="T72" fmla="*/ 31 w 420"/>
                <a:gd name="T73" fmla="*/ 100 h 348"/>
                <a:gd name="T74" fmla="*/ 31 w 420"/>
                <a:gd name="T75" fmla="*/ 107 h 348"/>
                <a:gd name="T76" fmla="*/ 28 w 420"/>
                <a:gd name="T77" fmla="*/ 104 h 348"/>
                <a:gd name="T78" fmla="*/ 31 w 420"/>
                <a:gd name="T79" fmla="*/ 100 h 348"/>
                <a:gd name="T80" fmla="*/ 37 w 420"/>
                <a:gd name="T81" fmla="*/ 97 h 348"/>
                <a:gd name="T82" fmla="*/ 41 w 420"/>
                <a:gd name="T83" fmla="*/ 94 h 348"/>
                <a:gd name="T84" fmla="*/ 43 w 420"/>
                <a:gd name="T85" fmla="*/ 91 h 348"/>
                <a:gd name="T86" fmla="*/ 47 w 420"/>
                <a:gd name="T87" fmla="*/ 85 h 348"/>
                <a:gd name="T88" fmla="*/ 54 w 420"/>
                <a:gd name="T89" fmla="*/ 82 h 348"/>
                <a:gd name="T90" fmla="*/ 56 w 420"/>
                <a:gd name="T91" fmla="*/ 79 h 348"/>
                <a:gd name="T92" fmla="*/ 60 w 420"/>
                <a:gd name="T93" fmla="*/ 72 h 348"/>
                <a:gd name="T94" fmla="*/ 60 w 420"/>
                <a:gd name="T95" fmla="*/ 65 h 348"/>
                <a:gd name="T96" fmla="*/ 60 w 420"/>
                <a:gd name="T97" fmla="*/ 60 h 348"/>
                <a:gd name="T98" fmla="*/ 63 w 420"/>
                <a:gd name="T99" fmla="*/ 54 h 348"/>
                <a:gd name="T100" fmla="*/ 65 w 420"/>
                <a:gd name="T101" fmla="*/ 51 h 348"/>
                <a:gd name="T102" fmla="*/ 69 w 420"/>
                <a:gd name="T103" fmla="*/ 43 h 348"/>
                <a:gd name="T104" fmla="*/ 69 w 420"/>
                <a:gd name="T105" fmla="*/ 37 h 348"/>
                <a:gd name="T106" fmla="*/ 75 w 420"/>
                <a:gd name="T107" fmla="*/ 35 h 348"/>
                <a:gd name="T108" fmla="*/ 82 w 420"/>
                <a:gd name="T109" fmla="*/ 31 h 348"/>
                <a:gd name="T110" fmla="*/ 91 w 420"/>
                <a:gd name="T111" fmla="*/ 28 h 348"/>
                <a:gd name="T112" fmla="*/ 94 w 420"/>
                <a:gd name="T113" fmla="*/ 26 h 348"/>
                <a:gd name="T114" fmla="*/ 94 w 420"/>
                <a:gd name="T115" fmla="*/ 16 h 348"/>
                <a:gd name="T116" fmla="*/ 97 w 420"/>
                <a:gd name="T117" fmla="*/ 12 h 348"/>
                <a:gd name="T118" fmla="*/ 100 w 420"/>
                <a:gd name="T119" fmla="*/ 9 h 348"/>
                <a:gd name="T120" fmla="*/ 100 w 420"/>
                <a:gd name="T121" fmla="*/ 9 h 348"/>
                <a:gd name="T122" fmla="*/ 100 w 420"/>
                <a:gd name="T123" fmla="*/ 3 h 348"/>
                <a:gd name="T124" fmla="*/ 104 w 420"/>
                <a:gd name="T125" fmla="*/ 0 h 34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0" h="348">
                  <a:moveTo>
                    <a:pt x="198" y="0"/>
                  </a:moveTo>
                  <a:lnTo>
                    <a:pt x="264" y="0"/>
                  </a:lnTo>
                  <a:lnTo>
                    <a:pt x="276" y="0"/>
                  </a:lnTo>
                  <a:lnTo>
                    <a:pt x="348" y="0"/>
                  </a:lnTo>
                  <a:lnTo>
                    <a:pt x="420" y="6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84"/>
                  </a:lnTo>
                  <a:lnTo>
                    <a:pt x="252" y="84"/>
                  </a:lnTo>
                  <a:lnTo>
                    <a:pt x="252" y="144"/>
                  </a:lnTo>
                  <a:lnTo>
                    <a:pt x="252" y="210"/>
                  </a:lnTo>
                  <a:lnTo>
                    <a:pt x="246" y="210"/>
                  </a:lnTo>
                  <a:lnTo>
                    <a:pt x="216" y="216"/>
                  </a:lnTo>
                  <a:lnTo>
                    <a:pt x="210" y="216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04" y="234"/>
                  </a:lnTo>
                  <a:lnTo>
                    <a:pt x="198" y="234"/>
                  </a:lnTo>
                  <a:lnTo>
                    <a:pt x="198" y="246"/>
                  </a:lnTo>
                  <a:lnTo>
                    <a:pt x="198" y="288"/>
                  </a:lnTo>
                  <a:lnTo>
                    <a:pt x="204" y="300"/>
                  </a:lnTo>
                  <a:lnTo>
                    <a:pt x="204" y="318"/>
                  </a:lnTo>
                  <a:lnTo>
                    <a:pt x="162" y="318"/>
                  </a:lnTo>
                  <a:lnTo>
                    <a:pt x="108" y="318"/>
                  </a:lnTo>
                  <a:lnTo>
                    <a:pt x="60" y="318"/>
                  </a:lnTo>
                  <a:lnTo>
                    <a:pt x="12" y="318"/>
                  </a:lnTo>
                  <a:lnTo>
                    <a:pt x="6" y="318"/>
                  </a:lnTo>
                  <a:lnTo>
                    <a:pt x="6" y="330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0" y="330"/>
                  </a:lnTo>
                  <a:lnTo>
                    <a:pt x="6" y="324"/>
                  </a:lnTo>
                  <a:lnTo>
                    <a:pt x="6" y="318"/>
                  </a:lnTo>
                  <a:lnTo>
                    <a:pt x="6" y="312"/>
                  </a:lnTo>
                  <a:lnTo>
                    <a:pt x="6" y="306"/>
                  </a:lnTo>
                  <a:lnTo>
                    <a:pt x="6" y="300"/>
                  </a:lnTo>
                  <a:lnTo>
                    <a:pt x="6" y="294"/>
                  </a:lnTo>
                  <a:lnTo>
                    <a:pt x="12" y="288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24" y="270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36" y="258"/>
                  </a:lnTo>
                  <a:lnTo>
                    <a:pt x="36" y="252"/>
                  </a:lnTo>
                  <a:lnTo>
                    <a:pt x="36" y="246"/>
                  </a:lnTo>
                  <a:lnTo>
                    <a:pt x="42" y="246"/>
                  </a:lnTo>
                  <a:lnTo>
                    <a:pt x="42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8" y="228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16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72" y="192"/>
                  </a:lnTo>
                  <a:lnTo>
                    <a:pt x="66" y="192"/>
                  </a:lnTo>
                  <a:lnTo>
                    <a:pt x="60" y="192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60" y="198"/>
                  </a:lnTo>
                  <a:lnTo>
                    <a:pt x="60" y="192"/>
                  </a:lnTo>
                  <a:lnTo>
                    <a:pt x="66" y="186"/>
                  </a:lnTo>
                  <a:lnTo>
                    <a:pt x="72" y="186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96" y="162"/>
                  </a:lnTo>
                  <a:lnTo>
                    <a:pt x="102" y="156"/>
                  </a:lnTo>
                  <a:lnTo>
                    <a:pt x="108" y="156"/>
                  </a:lnTo>
                  <a:lnTo>
                    <a:pt x="108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14" y="132"/>
                  </a:lnTo>
                  <a:lnTo>
                    <a:pt x="114" y="126"/>
                  </a:lnTo>
                  <a:lnTo>
                    <a:pt x="114" y="120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0" y="102"/>
                  </a:lnTo>
                  <a:lnTo>
                    <a:pt x="120" y="96"/>
                  </a:lnTo>
                  <a:lnTo>
                    <a:pt x="126" y="96"/>
                  </a:lnTo>
                  <a:lnTo>
                    <a:pt x="126" y="90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38" y="72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6" y="60"/>
                  </a:lnTo>
                  <a:lnTo>
                    <a:pt x="168" y="54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80" y="48"/>
                  </a:lnTo>
                  <a:lnTo>
                    <a:pt x="180" y="42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92" y="18"/>
                  </a:lnTo>
                  <a:lnTo>
                    <a:pt x="192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2" name="Freeform 25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1693" y="795"/>
              <a:ext cx="872" cy="770"/>
            </a:xfrm>
            <a:custGeom>
              <a:avLst/>
              <a:gdLst>
                <a:gd name="T0" fmla="*/ 9 w 1026"/>
                <a:gd name="T1" fmla="*/ 213 h 906"/>
                <a:gd name="T2" fmla="*/ 25 w 1026"/>
                <a:gd name="T3" fmla="*/ 200 h 906"/>
                <a:gd name="T4" fmla="*/ 41 w 1026"/>
                <a:gd name="T5" fmla="*/ 195 h 906"/>
                <a:gd name="T6" fmla="*/ 59 w 1026"/>
                <a:gd name="T7" fmla="*/ 195 h 906"/>
                <a:gd name="T8" fmla="*/ 82 w 1026"/>
                <a:gd name="T9" fmla="*/ 188 h 906"/>
                <a:gd name="T10" fmla="*/ 93 w 1026"/>
                <a:gd name="T11" fmla="*/ 178 h 906"/>
                <a:gd name="T12" fmla="*/ 104 w 1026"/>
                <a:gd name="T13" fmla="*/ 166 h 906"/>
                <a:gd name="T14" fmla="*/ 125 w 1026"/>
                <a:gd name="T15" fmla="*/ 162 h 906"/>
                <a:gd name="T16" fmla="*/ 125 w 1026"/>
                <a:gd name="T17" fmla="*/ 153 h 906"/>
                <a:gd name="T18" fmla="*/ 141 w 1026"/>
                <a:gd name="T19" fmla="*/ 141 h 906"/>
                <a:gd name="T20" fmla="*/ 147 w 1026"/>
                <a:gd name="T21" fmla="*/ 132 h 906"/>
                <a:gd name="T22" fmla="*/ 172 w 1026"/>
                <a:gd name="T23" fmla="*/ 128 h 906"/>
                <a:gd name="T24" fmla="*/ 188 w 1026"/>
                <a:gd name="T25" fmla="*/ 132 h 906"/>
                <a:gd name="T26" fmla="*/ 197 w 1026"/>
                <a:gd name="T27" fmla="*/ 122 h 906"/>
                <a:gd name="T28" fmla="*/ 182 w 1026"/>
                <a:gd name="T29" fmla="*/ 104 h 906"/>
                <a:gd name="T30" fmla="*/ 182 w 1026"/>
                <a:gd name="T31" fmla="*/ 88 h 906"/>
                <a:gd name="T32" fmla="*/ 178 w 1026"/>
                <a:gd name="T33" fmla="*/ 65 h 906"/>
                <a:gd name="T34" fmla="*/ 169 w 1026"/>
                <a:gd name="T35" fmla="*/ 54 h 906"/>
                <a:gd name="T36" fmla="*/ 185 w 1026"/>
                <a:gd name="T37" fmla="*/ 50 h 906"/>
                <a:gd name="T38" fmla="*/ 197 w 1026"/>
                <a:gd name="T39" fmla="*/ 37 h 906"/>
                <a:gd name="T40" fmla="*/ 210 w 1026"/>
                <a:gd name="T41" fmla="*/ 35 h 906"/>
                <a:gd name="T42" fmla="*/ 225 w 1026"/>
                <a:gd name="T43" fmla="*/ 35 h 906"/>
                <a:gd name="T44" fmla="*/ 238 w 1026"/>
                <a:gd name="T45" fmla="*/ 22 h 906"/>
                <a:gd name="T46" fmla="*/ 257 w 1026"/>
                <a:gd name="T47" fmla="*/ 15 h 906"/>
                <a:gd name="T48" fmla="*/ 279 w 1026"/>
                <a:gd name="T49" fmla="*/ 15 h 906"/>
                <a:gd name="T50" fmla="*/ 294 w 1026"/>
                <a:gd name="T51" fmla="*/ 12 h 906"/>
                <a:gd name="T52" fmla="*/ 313 w 1026"/>
                <a:gd name="T53" fmla="*/ 9 h 906"/>
                <a:gd name="T54" fmla="*/ 332 w 1026"/>
                <a:gd name="T55" fmla="*/ 6 h 906"/>
                <a:gd name="T56" fmla="*/ 354 w 1026"/>
                <a:gd name="T57" fmla="*/ 9 h 906"/>
                <a:gd name="T58" fmla="*/ 370 w 1026"/>
                <a:gd name="T59" fmla="*/ 9 h 906"/>
                <a:gd name="T60" fmla="*/ 388 w 1026"/>
                <a:gd name="T61" fmla="*/ 3 h 906"/>
                <a:gd name="T62" fmla="*/ 398 w 1026"/>
                <a:gd name="T63" fmla="*/ 3 h 906"/>
                <a:gd name="T64" fmla="*/ 411 w 1026"/>
                <a:gd name="T65" fmla="*/ 6 h 906"/>
                <a:gd name="T66" fmla="*/ 416 w 1026"/>
                <a:gd name="T67" fmla="*/ 3 h 906"/>
                <a:gd name="T68" fmla="*/ 429 w 1026"/>
                <a:gd name="T69" fmla="*/ 6 h 906"/>
                <a:gd name="T70" fmla="*/ 444 w 1026"/>
                <a:gd name="T71" fmla="*/ 9 h 906"/>
                <a:gd name="T72" fmla="*/ 435 w 1026"/>
                <a:gd name="T73" fmla="*/ 15 h 906"/>
                <a:gd name="T74" fmla="*/ 441 w 1026"/>
                <a:gd name="T75" fmla="*/ 25 h 906"/>
                <a:gd name="T76" fmla="*/ 441 w 1026"/>
                <a:gd name="T77" fmla="*/ 41 h 906"/>
                <a:gd name="T78" fmla="*/ 441 w 1026"/>
                <a:gd name="T79" fmla="*/ 54 h 906"/>
                <a:gd name="T80" fmla="*/ 435 w 1026"/>
                <a:gd name="T81" fmla="*/ 69 h 906"/>
                <a:gd name="T82" fmla="*/ 419 w 1026"/>
                <a:gd name="T83" fmla="*/ 82 h 906"/>
                <a:gd name="T84" fmla="*/ 426 w 1026"/>
                <a:gd name="T85" fmla="*/ 104 h 906"/>
                <a:gd name="T86" fmla="*/ 460 w 1026"/>
                <a:gd name="T87" fmla="*/ 132 h 906"/>
                <a:gd name="T88" fmla="*/ 469 w 1026"/>
                <a:gd name="T89" fmla="*/ 178 h 906"/>
                <a:gd name="T90" fmla="*/ 478 w 1026"/>
                <a:gd name="T91" fmla="*/ 213 h 906"/>
                <a:gd name="T92" fmla="*/ 478 w 1026"/>
                <a:gd name="T93" fmla="*/ 235 h 906"/>
                <a:gd name="T94" fmla="*/ 478 w 1026"/>
                <a:gd name="T95" fmla="*/ 257 h 906"/>
                <a:gd name="T96" fmla="*/ 478 w 1026"/>
                <a:gd name="T97" fmla="*/ 276 h 906"/>
                <a:gd name="T98" fmla="*/ 478 w 1026"/>
                <a:gd name="T99" fmla="*/ 297 h 906"/>
                <a:gd name="T100" fmla="*/ 498 w 1026"/>
                <a:gd name="T101" fmla="*/ 325 h 906"/>
                <a:gd name="T102" fmla="*/ 526 w 1026"/>
                <a:gd name="T103" fmla="*/ 335 h 906"/>
                <a:gd name="T104" fmla="*/ 411 w 1026"/>
                <a:gd name="T105" fmla="*/ 429 h 906"/>
                <a:gd name="T106" fmla="*/ 310 w 1026"/>
                <a:gd name="T107" fmla="*/ 469 h 906"/>
                <a:gd name="T108" fmla="*/ 307 w 1026"/>
                <a:gd name="T109" fmla="*/ 457 h 906"/>
                <a:gd name="T110" fmla="*/ 301 w 1026"/>
                <a:gd name="T111" fmla="*/ 444 h 906"/>
                <a:gd name="T112" fmla="*/ 285 w 1026"/>
                <a:gd name="T113" fmla="*/ 441 h 906"/>
                <a:gd name="T114" fmla="*/ 272 w 1026"/>
                <a:gd name="T115" fmla="*/ 439 h 906"/>
                <a:gd name="T116" fmla="*/ 260 w 1026"/>
                <a:gd name="T117" fmla="*/ 426 h 906"/>
                <a:gd name="T118" fmla="*/ 219 w 1026"/>
                <a:gd name="T119" fmla="*/ 391 h 906"/>
                <a:gd name="T120" fmla="*/ 84 w 1026"/>
                <a:gd name="T121" fmla="*/ 307 h 90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26" h="906">
                  <a:moveTo>
                    <a:pt x="0" y="492"/>
                  </a:moveTo>
                  <a:lnTo>
                    <a:pt x="0" y="474"/>
                  </a:lnTo>
                  <a:lnTo>
                    <a:pt x="0" y="420"/>
                  </a:lnTo>
                  <a:lnTo>
                    <a:pt x="6" y="414"/>
                  </a:lnTo>
                  <a:lnTo>
                    <a:pt x="12" y="414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24" y="402"/>
                  </a:lnTo>
                  <a:lnTo>
                    <a:pt x="30" y="402"/>
                  </a:lnTo>
                  <a:lnTo>
                    <a:pt x="36" y="396"/>
                  </a:lnTo>
                  <a:lnTo>
                    <a:pt x="42" y="396"/>
                  </a:lnTo>
                  <a:lnTo>
                    <a:pt x="42" y="390"/>
                  </a:lnTo>
                  <a:lnTo>
                    <a:pt x="48" y="390"/>
                  </a:lnTo>
                  <a:lnTo>
                    <a:pt x="48" y="384"/>
                  </a:lnTo>
                  <a:lnTo>
                    <a:pt x="54" y="384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72" y="378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90" y="372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8" y="378"/>
                  </a:lnTo>
                  <a:lnTo>
                    <a:pt x="108" y="372"/>
                  </a:lnTo>
                  <a:lnTo>
                    <a:pt x="114" y="372"/>
                  </a:lnTo>
                  <a:lnTo>
                    <a:pt x="120" y="372"/>
                  </a:lnTo>
                  <a:lnTo>
                    <a:pt x="126" y="372"/>
                  </a:lnTo>
                  <a:lnTo>
                    <a:pt x="132" y="366"/>
                  </a:lnTo>
                  <a:lnTo>
                    <a:pt x="138" y="366"/>
                  </a:lnTo>
                  <a:lnTo>
                    <a:pt x="144" y="366"/>
                  </a:lnTo>
                  <a:lnTo>
                    <a:pt x="150" y="366"/>
                  </a:lnTo>
                  <a:lnTo>
                    <a:pt x="156" y="360"/>
                  </a:lnTo>
                  <a:lnTo>
                    <a:pt x="162" y="360"/>
                  </a:lnTo>
                  <a:lnTo>
                    <a:pt x="168" y="360"/>
                  </a:lnTo>
                  <a:lnTo>
                    <a:pt x="168" y="354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80" y="348"/>
                  </a:lnTo>
                  <a:lnTo>
                    <a:pt x="180" y="342"/>
                  </a:lnTo>
                  <a:lnTo>
                    <a:pt x="186" y="342"/>
                  </a:lnTo>
                  <a:lnTo>
                    <a:pt x="186" y="336"/>
                  </a:lnTo>
                  <a:lnTo>
                    <a:pt x="186" y="330"/>
                  </a:lnTo>
                  <a:lnTo>
                    <a:pt x="186" y="324"/>
                  </a:lnTo>
                  <a:lnTo>
                    <a:pt x="192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204" y="318"/>
                  </a:lnTo>
                  <a:lnTo>
                    <a:pt x="210" y="318"/>
                  </a:lnTo>
                  <a:lnTo>
                    <a:pt x="216" y="318"/>
                  </a:lnTo>
                  <a:lnTo>
                    <a:pt x="222" y="318"/>
                  </a:lnTo>
                  <a:lnTo>
                    <a:pt x="228" y="312"/>
                  </a:lnTo>
                  <a:lnTo>
                    <a:pt x="234" y="312"/>
                  </a:lnTo>
                  <a:lnTo>
                    <a:pt x="240" y="312"/>
                  </a:lnTo>
                  <a:lnTo>
                    <a:pt x="246" y="312"/>
                  </a:lnTo>
                  <a:lnTo>
                    <a:pt x="252" y="312"/>
                  </a:lnTo>
                  <a:lnTo>
                    <a:pt x="252" y="306"/>
                  </a:lnTo>
                  <a:lnTo>
                    <a:pt x="252" y="300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8"/>
                  </a:lnTo>
                  <a:lnTo>
                    <a:pt x="246" y="282"/>
                  </a:lnTo>
                  <a:lnTo>
                    <a:pt x="246" y="276"/>
                  </a:lnTo>
                  <a:lnTo>
                    <a:pt x="252" y="276"/>
                  </a:lnTo>
                  <a:lnTo>
                    <a:pt x="264" y="270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82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300" y="252"/>
                  </a:lnTo>
                  <a:lnTo>
                    <a:pt x="306" y="246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8" y="252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52"/>
                  </a:lnTo>
                  <a:lnTo>
                    <a:pt x="372" y="246"/>
                  </a:lnTo>
                  <a:lnTo>
                    <a:pt x="366" y="246"/>
                  </a:lnTo>
                  <a:lnTo>
                    <a:pt x="366" y="240"/>
                  </a:lnTo>
                  <a:lnTo>
                    <a:pt x="372" y="234"/>
                  </a:lnTo>
                  <a:lnTo>
                    <a:pt x="378" y="234"/>
                  </a:lnTo>
                  <a:lnTo>
                    <a:pt x="378" y="228"/>
                  </a:lnTo>
                  <a:lnTo>
                    <a:pt x="366" y="222"/>
                  </a:lnTo>
                  <a:lnTo>
                    <a:pt x="360" y="216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198"/>
                  </a:lnTo>
                  <a:lnTo>
                    <a:pt x="348" y="198"/>
                  </a:lnTo>
                  <a:lnTo>
                    <a:pt x="348" y="192"/>
                  </a:lnTo>
                  <a:lnTo>
                    <a:pt x="348" y="186"/>
                  </a:lnTo>
                  <a:lnTo>
                    <a:pt x="348" y="180"/>
                  </a:lnTo>
                  <a:lnTo>
                    <a:pt x="348" y="174"/>
                  </a:lnTo>
                  <a:lnTo>
                    <a:pt x="342" y="174"/>
                  </a:lnTo>
                  <a:lnTo>
                    <a:pt x="342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48" y="150"/>
                  </a:lnTo>
                  <a:lnTo>
                    <a:pt x="342" y="138"/>
                  </a:lnTo>
                  <a:lnTo>
                    <a:pt x="348" y="132"/>
                  </a:lnTo>
                  <a:lnTo>
                    <a:pt x="342" y="132"/>
                  </a:lnTo>
                  <a:lnTo>
                    <a:pt x="342" y="126"/>
                  </a:lnTo>
                  <a:lnTo>
                    <a:pt x="336" y="126"/>
                  </a:lnTo>
                  <a:lnTo>
                    <a:pt x="342" y="120"/>
                  </a:lnTo>
                  <a:lnTo>
                    <a:pt x="336" y="114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24" y="108"/>
                  </a:lnTo>
                  <a:lnTo>
                    <a:pt x="324" y="102"/>
                  </a:lnTo>
                  <a:lnTo>
                    <a:pt x="318" y="102"/>
                  </a:lnTo>
                  <a:lnTo>
                    <a:pt x="324" y="102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42" y="102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54" y="90"/>
                  </a:lnTo>
                  <a:lnTo>
                    <a:pt x="360" y="90"/>
                  </a:lnTo>
                  <a:lnTo>
                    <a:pt x="366" y="90"/>
                  </a:lnTo>
                  <a:lnTo>
                    <a:pt x="366" y="84"/>
                  </a:lnTo>
                  <a:lnTo>
                    <a:pt x="372" y="78"/>
                  </a:lnTo>
                  <a:lnTo>
                    <a:pt x="378" y="78"/>
                  </a:lnTo>
                  <a:lnTo>
                    <a:pt x="378" y="72"/>
                  </a:lnTo>
                  <a:lnTo>
                    <a:pt x="384" y="72"/>
                  </a:lnTo>
                  <a:lnTo>
                    <a:pt x="390" y="72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96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408" y="66"/>
                  </a:lnTo>
                  <a:lnTo>
                    <a:pt x="408" y="60"/>
                  </a:lnTo>
                  <a:lnTo>
                    <a:pt x="414" y="60"/>
                  </a:lnTo>
                  <a:lnTo>
                    <a:pt x="414" y="66"/>
                  </a:lnTo>
                  <a:lnTo>
                    <a:pt x="420" y="66"/>
                  </a:lnTo>
                  <a:lnTo>
                    <a:pt x="426" y="66"/>
                  </a:lnTo>
                  <a:lnTo>
                    <a:pt x="432" y="66"/>
                  </a:lnTo>
                  <a:lnTo>
                    <a:pt x="432" y="60"/>
                  </a:lnTo>
                  <a:lnTo>
                    <a:pt x="438" y="60"/>
                  </a:lnTo>
                  <a:lnTo>
                    <a:pt x="438" y="54"/>
                  </a:lnTo>
                  <a:lnTo>
                    <a:pt x="444" y="48"/>
                  </a:lnTo>
                  <a:lnTo>
                    <a:pt x="450" y="48"/>
                  </a:lnTo>
                  <a:lnTo>
                    <a:pt x="456" y="48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68" y="42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504" y="30"/>
                  </a:lnTo>
                  <a:lnTo>
                    <a:pt x="510" y="30"/>
                  </a:lnTo>
                  <a:lnTo>
                    <a:pt x="516" y="30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24"/>
                  </a:lnTo>
                  <a:lnTo>
                    <a:pt x="546" y="24"/>
                  </a:lnTo>
                  <a:lnTo>
                    <a:pt x="552" y="24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58" y="24"/>
                  </a:lnTo>
                  <a:lnTo>
                    <a:pt x="564" y="24"/>
                  </a:lnTo>
                  <a:lnTo>
                    <a:pt x="570" y="24"/>
                  </a:lnTo>
                  <a:lnTo>
                    <a:pt x="570" y="18"/>
                  </a:lnTo>
                  <a:lnTo>
                    <a:pt x="576" y="18"/>
                  </a:lnTo>
                  <a:lnTo>
                    <a:pt x="582" y="18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6" y="12"/>
                  </a:lnTo>
                  <a:lnTo>
                    <a:pt x="672" y="12"/>
                  </a:lnTo>
                  <a:lnTo>
                    <a:pt x="678" y="18"/>
                  </a:lnTo>
                  <a:lnTo>
                    <a:pt x="684" y="18"/>
                  </a:lnTo>
                  <a:lnTo>
                    <a:pt x="684" y="24"/>
                  </a:lnTo>
                  <a:lnTo>
                    <a:pt x="690" y="24"/>
                  </a:lnTo>
                  <a:lnTo>
                    <a:pt x="696" y="24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8" y="12"/>
                  </a:lnTo>
                  <a:lnTo>
                    <a:pt x="738" y="6"/>
                  </a:lnTo>
                  <a:lnTo>
                    <a:pt x="744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0" y="0"/>
                  </a:lnTo>
                  <a:lnTo>
                    <a:pt x="750" y="6"/>
                  </a:lnTo>
                  <a:lnTo>
                    <a:pt x="756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2" y="12"/>
                  </a:lnTo>
                  <a:lnTo>
                    <a:pt x="762" y="6"/>
                  </a:lnTo>
                  <a:lnTo>
                    <a:pt x="768" y="6"/>
                  </a:lnTo>
                  <a:lnTo>
                    <a:pt x="768" y="12"/>
                  </a:lnTo>
                  <a:lnTo>
                    <a:pt x="774" y="12"/>
                  </a:lnTo>
                  <a:lnTo>
                    <a:pt x="780" y="12"/>
                  </a:lnTo>
                  <a:lnTo>
                    <a:pt x="786" y="12"/>
                  </a:lnTo>
                  <a:lnTo>
                    <a:pt x="792" y="6"/>
                  </a:lnTo>
                  <a:lnTo>
                    <a:pt x="786" y="6"/>
                  </a:lnTo>
                  <a:lnTo>
                    <a:pt x="786" y="0"/>
                  </a:lnTo>
                  <a:lnTo>
                    <a:pt x="792" y="6"/>
                  </a:lnTo>
                  <a:lnTo>
                    <a:pt x="798" y="6"/>
                  </a:lnTo>
                  <a:lnTo>
                    <a:pt x="798" y="0"/>
                  </a:lnTo>
                  <a:lnTo>
                    <a:pt x="798" y="6"/>
                  </a:lnTo>
                  <a:lnTo>
                    <a:pt x="804" y="6"/>
                  </a:lnTo>
                  <a:lnTo>
                    <a:pt x="810" y="6"/>
                  </a:lnTo>
                  <a:lnTo>
                    <a:pt x="810" y="12"/>
                  </a:lnTo>
                  <a:lnTo>
                    <a:pt x="816" y="12"/>
                  </a:lnTo>
                  <a:lnTo>
                    <a:pt x="816" y="6"/>
                  </a:lnTo>
                  <a:lnTo>
                    <a:pt x="816" y="12"/>
                  </a:lnTo>
                  <a:lnTo>
                    <a:pt x="822" y="12"/>
                  </a:lnTo>
                  <a:lnTo>
                    <a:pt x="828" y="12"/>
                  </a:lnTo>
                  <a:lnTo>
                    <a:pt x="840" y="12"/>
                  </a:lnTo>
                  <a:lnTo>
                    <a:pt x="846" y="12"/>
                  </a:lnTo>
                  <a:lnTo>
                    <a:pt x="852" y="12"/>
                  </a:lnTo>
                  <a:lnTo>
                    <a:pt x="858" y="12"/>
                  </a:lnTo>
                  <a:lnTo>
                    <a:pt x="858" y="18"/>
                  </a:lnTo>
                  <a:lnTo>
                    <a:pt x="852" y="18"/>
                  </a:lnTo>
                  <a:lnTo>
                    <a:pt x="846" y="18"/>
                  </a:lnTo>
                  <a:lnTo>
                    <a:pt x="852" y="18"/>
                  </a:lnTo>
                  <a:lnTo>
                    <a:pt x="852" y="24"/>
                  </a:lnTo>
                  <a:lnTo>
                    <a:pt x="846" y="24"/>
                  </a:lnTo>
                  <a:lnTo>
                    <a:pt x="846" y="30"/>
                  </a:lnTo>
                  <a:lnTo>
                    <a:pt x="840" y="30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840" y="36"/>
                  </a:lnTo>
                  <a:lnTo>
                    <a:pt x="846" y="36"/>
                  </a:lnTo>
                  <a:lnTo>
                    <a:pt x="846" y="42"/>
                  </a:lnTo>
                  <a:lnTo>
                    <a:pt x="846" y="48"/>
                  </a:lnTo>
                  <a:lnTo>
                    <a:pt x="840" y="48"/>
                  </a:lnTo>
                  <a:lnTo>
                    <a:pt x="846" y="48"/>
                  </a:lnTo>
                  <a:lnTo>
                    <a:pt x="846" y="54"/>
                  </a:lnTo>
                  <a:lnTo>
                    <a:pt x="840" y="54"/>
                  </a:lnTo>
                  <a:lnTo>
                    <a:pt x="840" y="60"/>
                  </a:lnTo>
                  <a:lnTo>
                    <a:pt x="840" y="66"/>
                  </a:lnTo>
                  <a:lnTo>
                    <a:pt x="840" y="72"/>
                  </a:lnTo>
                  <a:lnTo>
                    <a:pt x="846" y="72"/>
                  </a:lnTo>
                  <a:lnTo>
                    <a:pt x="846" y="78"/>
                  </a:lnTo>
                  <a:lnTo>
                    <a:pt x="846" y="84"/>
                  </a:lnTo>
                  <a:lnTo>
                    <a:pt x="840" y="90"/>
                  </a:lnTo>
                  <a:lnTo>
                    <a:pt x="846" y="90"/>
                  </a:lnTo>
                  <a:lnTo>
                    <a:pt x="846" y="96"/>
                  </a:lnTo>
                  <a:lnTo>
                    <a:pt x="852" y="96"/>
                  </a:lnTo>
                  <a:lnTo>
                    <a:pt x="846" y="96"/>
                  </a:lnTo>
                  <a:lnTo>
                    <a:pt x="846" y="102"/>
                  </a:lnTo>
                  <a:lnTo>
                    <a:pt x="846" y="108"/>
                  </a:lnTo>
                  <a:lnTo>
                    <a:pt x="840" y="108"/>
                  </a:lnTo>
                  <a:lnTo>
                    <a:pt x="840" y="114"/>
                  </a:lnTo>
                  <a:lnTo>
                    <a:pt x="840" y="120"/>
                  </a:lnTo>
                  <a:lnTo>
                    <a:pt x="840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2"/>
                  </a:lnTo>
                  <a:lnTo>
                    <a:pt x="822" y="138"/>
                  </a:lnTo>
                  <a:lnTo>
                    <a:pt x="816" y="144"/>
                  </a:lnTo>
                  <a:lnTo>
                    <a:pt x="810" y="144"/>
                  </a:lnTo>
                  <a:lnTo>
                    <a:pt x="810" y="150"/>
                  </a:lnTo>
                  <a:lnTo>
                    <a:pt x="804" y="150"/>
                  </a:lnTo>
                  <a:lnTo>
                    <a:pt x="804" y="156"/>
                  </a:lnTo>
                  <a:lnTo>
                    <a:pt x="804" y="162"/>
                  </a:lnTo>
                  <a:lnTo>
                    <a:pt x="804" y="168"/>
                  </a:lnTo>
                  <a:lnTo>
                    <a:pt x="810" y="174"/>
                  </a:lnTo>
                  <a:lnTo>
                    <a:pt x="810" y="180"/>
                  </a:lnTo>
                  <a:lnTo>
                    <a:pt x="816" y="186"/>
                  </a:lnTo>
                  <a:lnTo>
                    <a:pt x="816" y="192"/>
                  </a:lnTo>
                  <a:lnTo>
                    <a:pt x="816" y="198"/>
                  </a:lnTo>
                  <a:lnTo>
                    <a:pt x="822" y="198"/>
                  </a:lnTo>
                  <a:lnTo>
                    <a:pt x="828" y="204"/>
                  </a:lnTo>
                  <a:lnTo>
                    <a:pt x="834" y="204"/>
                  </a:lnTo>
                  <a:lnTo>
                    <a:pt x="846" y="216"/>
                  </a:lnTo>
                  <a:lnTo>
                    <a:pt x="846" y="222"/>
                  </a:lnTo>
                  <a:lnTo>
                    <a:pt x="846" y="228"/>
                  </a:lnTo>
                  <a:lnTo>
                    <a:pt x="882" y="252"/>
                  </a:lnTo>
                  <a:lnTo>
                    <a:pt x="882" y="258"/>
                  </a:lnTo>
                  <a:lnTo>
                    <a:pt x="882" y="264"/>
                  </a:lnTo>
                  <a:lnTo>
                    <a:pt x="894" y="300"/>
                  </a:lnTo>
                  <a:lnTo>
                    <a:pt x="900" y="318"/>
                  </a:lnTo>
                  <a:lnTo>
                    <a:pt x="900" y="330"/>
                  </a:lnTo>
                  <a:lnTo>
                    <a:pt x="906" y="342"/>
                  </a:lnTo>
                  <a:lnTo>
                    <a:pt x="900" y="342"/>
                  </a:lnTo>
                  <a:lnTo>
                    <a:pt x="900" y="348"/>
                  </a:lnTo>
                  <a:lnTo>
                    <a:pt x="894" y="348"/>
                  </a:lnTo>
                  <a:lnTo>
                    <a:pt x="900" y="354"/>
                  </a:lnTo>
                  <a:lnTo>
                    <a:pt x="906" y="360"/>
                  </a:lnTo>
                  <a:lnTo>
                    <a:pt x="918" y="384"/>
                  </a:lnTo>
                  <a:lnTo>
                    <a:pt x="918" y="402"/>
                  </a:lnTo>
                  <a:lnTo>
                    <a:pt x="918" y="408"/>
                  </a:lnTo>
                  <a:lnTo>
                    <a:pt x="918" y="414"/>
                  </a:lnTo>
                  <a:lnTo>
                    <a:pt x="924" y="414"/>
                  </a:lnTo>
                  <a:lnTo>
                    <a:pt x="918" y="420"/>
                  </a:lnTo>
                  <a:lnTo>
                    <a:pt x="918" y="426"/>
                  </a:lnTo>
                  <a:lnTo>
                    <a:pt x="918" y="432"/>
                  </a:lnTo>
                  <a:lnTo>
                    <a:pt x="918" y="438"/>
                  </a:lnTo>
                  <a:lnTo>
                    <a:pt x="918" y="450"/>
                  </a:lnTo>
                  <a:lnTo>
                    <a:pt x="924" y="462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18" y="474"/>
                  </a:lnTo>
                  <a:lnTo>
                    <a:pt x="918" y="480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18" y="498"/>
                  </a:lnTo>
                  <a:lnTo>
                    <a:pt x="918" y="504"/>
                  </a:lnTo>
                  <a:lnTo>
                    <a:pt x="918" y="510"/>
                  </a:lnTo>
                  <a:lnTo>
                    <a:pt x="924" y="510"/>
                  </a:lnTo>
                  <a:lnTo>
                    <a:pt x="924" y="516"/>
                  </a:lnTo>
                  <a:lnTo>
                    <a:pt x="924" y="522"/>
                  </a:lnTo>
                  <a:lnTo>
                    <a:pt x="918" y="528"/>
                  </a:lnTo>
                  <a:lnTo>
                    <a:pt x="912" y="534"/>
                  </a:lnTo>
                  <a:lnTo>
                    <a:pt x="906" y="534"/>
                  </a:lnTo>
                  <a:lnTo>
                    <a:pt x="900" y="534"/>
                  </a:lnTo>
                  <a:lnTo>
                    <a:pt x="900" y="540"/>
                  </a:lnTo>
                  <a:lnTo>
                    <a:pt x="900" y="546"/>
                  </a:lnTo>
                  <a:lnTo>
                    <a:pt x="894" y="546"/>
                  </a:lnTo>
                  <a:lnTo>
                    <a:pt x="918" y="570"/>
                  </a:lnTo>
                  <a:lnTo>
                    <a:pt x="930" y="588"/>
                  </a:lnTo>
                  <a:lnTo>
                    <a:pt x="930" y="612"/>
                  </a:lnTo>
                  <a:lnTo>
                    <a:pt x="936" y="612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8" y="630"/>
                  </a:lnTo>
                  <a:lnTo>
                    <a:pt x="954" y="624"/>
                  </a:lnTo>
                  <a:lnTo>
                    <a:pt x="960" y="624"/>
                  </a:lnTo>
                  <a:lnTo>
                    <a:pt x="972" y="630"/>
                  </a:lnTo>
                  <a:lnTo>
                    <a:pt x="978" y="630"/>
                  </a:lnTo>
                  <a:lnTo>
                    <a:pt x="984" y="636"/>
                  </a:lnTo>
                  <a:lnTo>
                    <a:pt x="996" y="642"/>
                  </a:lnTo>
                  <a:lnTo>
                    <a:pt x="1002" y="642"/>
                  </a:lnTo>
                  <a:lnTo>
                    <a:pt x="1008" y="642"/>
                  </a:lnTo>
                  <a:lnTo>
                    <a:pt x="1014" y="654"/>
                  </a:lnTo>
                  <a:lnTo>
                    <a:pt x="1026" y="678"/>
                  </a:lnTo>
                  <a:lnTo>
                    <a:pt x="984" y="702"/>
                  </a:lnTo>
                  <a:lnTo>
                    <a:pt x="906" y="744"/>
                  </a:lnTo>
                  <a:lnTo>
                    <a:pt x="858" y="774"/>
                  </a:lnTo>
                  <a:lnTo>
                    <a:pt x="798" y="810"/>
                  </a:lnTo>
                  <a:lnTo>
                    <a:pt x="786" y="822"/>
                  </a:lnTo>
                  <a:lnTo>
                    <a:pt x="768" y="834"/>
                  </a:lnTo>
                  <a:lnTo>
                    <a:pt x="750" y="852"/>
                  </a:lnTo>
                  <a:lnTo>
                    <a:pt x="720" y="882"/>
                  </a:lnTo>
                  <a:lnTo>
                    <a:pt x="672" y="888"/>
                  </a:lnTo>
                  <a:lnTo>
                    <a:pt x="642" y="894"/>
                  </a:lnTo>
                  <a:lnTo>
                    <a:pt x="594" y="906"/>
                  </a:lnTo>
                  <a:lnTo>
                    <a:pt x="594" y="900"/>
                  </a:lnTo>
                  <a:lnTo>
                    <a:pt x="588" y="900"/>
                  </a:lnTo>
                  <a:lnTo>
                    <a:pt x="582" y="894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88" y="882"/>
                  </a:lnTo>
                  <a:lnTo>
                    <a:pt x="594" y="882"/>
                  </a:lnTo>
                  <a:lnTo>
                    <a:pt x="588" y="876"/>
                  </a:lnTo>
                  <a:lnTo>
                    <a:pt x="594" y="876"/>
                  </a:lnTo>
                  <a:lnTo>
                    <a:pt x="588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88" y="858"/>
                  </a:lnTo>
                  <a:lnTo>
                    <a:pt x="582" y="858"/>
                  </a:lnTo>
                  <a:lnTo>
                    <a:pt x="576" y="852"/>
                  </a:lnTo>
                  <a:lnTo>
                    <a:pt x="570" y="852"/>
                  </a:lnTo>
                  <a:lnTo>
                    <a:pt x="564" y="852"/>
                  </a:lnTo>
                  <a:lnTo>
                    <a:pt x="558" y="852"/>
                  </a:lnTo>
                  <a:lnTo>
                    <a:pt x="552" y="852"/>
                  </a:lnTo>
                  <a:lnTo>
                    <a:pt x="552" y="846"/>
                  </a:lnTo>
                  <a:lnTo>
                    <a:pt x="552" y="852"/>
                  </a:lnTo>
                  <a:lnTo>
                    <a:pt x="546" y="846"/>
                  </a:lnTo>
                  <a:lnTo>
                    <a:pt x="546" y="840"/>
                  </a:lnTo>
                  <a:lnTo>
                    <a:pt x="540" y="840"/>
                  </a:lnTo>
                  <a:lnTo>
                    <a:pt x="534" y="840"/>
                  </a:lnTo>
                  <a:lnTo>
                    <a:pt x="528" y="840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22" y="840"/>
                  </a:lnTo>
                  <a:lnTo>
                    <a:pt x="522" y="834"/>
                  </a:lnTo>
                  <a:lnTo>
                    <a:pt x="516" y="834"/>
                  </a:lnTo>
                  <a:lnTo>
                    <a:pt x="510" y="834"/>
                  </a:lnTo>
                  <a:lnTo>
                    <a:pt x="510" y="828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86" y="816"/>
                  </a:lnTo>
                  <a:lnTo>
                    <a:pt x="486" y="804"/>
                  </a:lnTo>
                  <a:lnTo>
                    <a:pt x="486" y="798"/>
                  </a:lnTo>
                  <a:lnTo>
                    <a:pt x="432" y="762"/>
                  </a:lnTo>
                  <a:lnTo>
                    <a:pt x="432" y="756"/>
                  </a:lnTo>
                  <a:lnTo>
                    <a:pt x="420" y="750"/>
                  </a:lnTo>
                  <a:lnTo>
                    <a:pt x="348" y="702"/>
                  </a:lnTo>
                  <a:lnTo>
                    <a:pt x="282" y="660"/>
                  </a:lnTo>
                  <a:lnTo>
                    <a:pt x="264" y="654"/>
                  </a:lnTo>
                  <a:lnTo>
                    <a:pt x="258" y="642"/>
                  </a:lnTo>
                  <a:lnTo>
                    <a:pt x="234" y="630"/>
                  </a:lnTo>
                  <a:lnTo>
                    <a:pt x="192" y="606"/>
                  </a:lnTo>
                  <a:lnTo>
                    <a:pt x="162" y="588"/>
                  </a:lnTo>
                  <a:lnTo>
                    <a:pt x="138" y="570"/>
                  </a:lnTo>
                  <a:lnTo>
                    <a:pt x="84" y="534"/>
                  </a:lnTo>
                  <a:lnTo>
                    <a:pt x="54" y="522"/>
                  </a:lnTo>
                  <a:lnTo>
                    <a:pt x="0" y="49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3" name="Freeform 26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2065" y="1372"/>
              <a:ext cx="668" cy="499"/>
            </a:xfrm>
            <a:custGeom>
              <a:avLst/>
              <a:gdLst>
                <a:gd name="T0" fmla="*/ 9 w 786"/>
                <a:gd name="T1" fmla="*/ 221 h 588"/>
                <a:gd name="T2" fmla="*/ 28 w 786"/>
                <a:gd name="T3" fmla="*/ 212 h 588"/>
                <a:gd name="T4" fmla="*/ 75 w 786"/>
                <a:gd name="T5" fmla="*/ 212 h 588"/>
                <a:gd name="T6" fmla="*/ 91 w 786"/>
                <a:gd name="T7" fmla="*/ 205 h 588"/>
                <a:gd name="T8" fmla="*/ 97 w 786"/>
                <a:gd name="T9" fmla="*/ 199 h 588"/>
                <a:gd name="T10" fmla="*/ 100 w 786"/>
                <a:gd name="T11" fmla="*/ 177 h 588"/>
                <a:gd name="T12" fmla="*/ 122 w 786"/>
                <a:gd name="T13" fmla="*/ 109 h 588"/>
                <a:gd name="T14" fmla="*/ 182 w 786"/>
                <a:gd name="T15" fmla="*/ 75 h 588"/>
                <a:gd name="T16" fmla="*/ 285 w 786"/>
                <a:gd name="T17" fmla="*/ 12 h 588"/>
                <a:gd name="T18" fmla="*/ 325 w 786"/>
                <a:gd name="T19" fmla="*/ 3 h 588"/>
                <a:gd name="T20" fmla="*/ 344 w 786"/>
                <a:gd name="T21" fmla="*/ 6 h 588"/>
                <a:gd name="T22" fmla="*/ 363 w 786"/>
                <a:gd name="T23" fmla="*/ 22 h 588"/>
                <a:gd name="T24" fmla="*/ 388 w 786"/>
                <a:gd name="T25" fmla="*/ 50 h 588"/>
                <a:gd name="T26" fmla="*/ 398 w 786"/>
                <a:gd name="T27" fmla="*/ 65 h 588"/>
                <a:gd name="T28" fmla="*/ 404 w 786"/>
                <a:gd name="T29" fmla="*/ 75 h 588"/>
                <a:gd name="T30" fmla="*/ 404 w 786"/>
                <a:gd name="T31" fmla="*/ 97 h 588"/>
                <a:gd name="T32" fmla="*/ 401 w 786"/>
                <a:gd name="T33" fmla="*/ 112 h 588"/>
                <a:gd name="T34" fmla="*/ 382 w 786"/>
                <a:gd name="T35" fmla="*/ 183 h 588"/>
                <a:gd name="T36" fmla="*/ 366 w 786"/>
                <a:gd name="T37" fmla="*/ 202 h 588"/>
                <a:gd name="T38" fmla="*/ 354 w 786"/>
                <a:gd name="T39" fmla="*/ 221 h 588"/>
                <a:gd name="T40" fmla="*/ 350 w 786"/>
                <a:gd name="T41" fmla="*/ 231 h 588"/>
                <a:gd name="T42" fmla="*/ 348 w 786"/>
                <a:gd name="T43" fmla="*/ 252 h 588"/>
                <a:gd name="T44" fmla="*/ 338 w 786"/>
                <a:gd name="T45" fmla="*/ 255 h 588"/>
                <a:gd name="T46" fmla="*/ 335 w 786"/>
                <a:gd name="T47" fmla="*/ 259 h 588"/>
                <a:gd name="T48" fmla="*/ 335 w 786"/>
                <a:gd name="T49" fmla="*/ 259 h 588"/>
                <a:gd name="T50" fmla="*/ 329 w 786"/>
                <a:gd name="T51" fmla="*/ 259 h 588"/>
                <a:gd name="T52" fmla="*/ 322 w 786"/>
                <a:gd name="T53" fmla="*/ 264 h 588"/>
                <a:gd name="T54" fmla="*/ 322 w 786"/>
                <a:gd name="T55" fmla="*/ 264 h 588"/>
                <a:gd name="T56" fmla="*/ 313 w 786"/>
                <a:gd name="T57" fmla="*/ 268 h 588"/>
                <a:gd name="T58" fmla="*/ 307 w 786"/>
                <a:gd name="T59" fmla="*/ 268 h 588"/>
                <a:gd name="T60" fmla="*/ 297 w 786"/>
                <a:gd name="T61" fmla="*/ 261 h 588"/>
                <a:gd name="T62" fmla="*/ 281 w 786"/>
                <a:gd name="T63" fmla="*/ 261 h 588"/>
                <a:gd name="T64" fmla="*/ 257 w 786"/>
                <a:gd name="T65" fmla="*/ 264 h 588"/>
                <a:gd name="T66" fmla="*/ 247 w 786"/>
                <a:gd name="T67" fmla="*/ 277 h 588"/>
                <a:gd name="T68" fmla="*/ 231 w 786"/>
                <a:gd name="T69" fmla="*/ 273 h 588"/>
                <a:gd name="T70" fmla="*/ 219 w 786"/>
                <a:gd name="T71" fmla="*/ 271 h 588"/>
                <a:gd name="T72" fmla="*/ 210 w 786"/>
                <a:gd name="T73" fmla="*/ 264 h 588"/>
                <a:gd name="T74" fmla="*/ 195 w 786"/>
                <a:gd name="T75" fmla="*/ 264 h 588"/>
                <a:gd name="T76" fmla="*/ 178 w 786"/>
                <a:gd name="T77" fmla="*/ 271 h 588"/>
                <a:gd name="T78" fmla="*/ 162 w 786"/>
                <a:gd name="T79" fmla="*/ 255 h 588"/>
                <a:gd name="T80" fmla="*/ 153 w 786"/>
                <a:gd name="T81" fmla="*/ 252 h 588"/>
                <a:gd name="T82" fmla="*/ 132 w 786"/>
                <a:gd name="T83" fmla="*/ 252 h 588"/>
                <a:gd name="T84" fmla="*/ 122 w 786"/>
                <a:gd name="T85" fmla="*/ 249 h 588"/>
                <a:gd name="T86" fmla="*/ 104 w 786"/>
                <a:gd name="T87" fmla="*/ 271 h 588"/>
                <a:gd name="T88" fmla="*/ 91 w 786"/>
                <a:gd name="T89" fmla="*/ 283 h 588"/>
                <a:gd name="T90" fmla="*/ 91 w 786"/>
                <a:gd name="T91" fmla="*/ 299 h 588"/>
                <a:gd name="T92" fmla="*/ 84 w 786"/>
                <a:gd name="T93" fmla="*/ 299 h 588"/>
                <a:gd name="T94" fmla="*/ 78 w 786"/>
                <a:gd name="T95" fmla="*/ 293 h 588"/>
                <a:gd name="T96" fmla="*/ 69 w 786"/>
                <a:gd name="T97" fmla="*/ 286 h 588"/>
                <a:gd name="T98" fmla="*/ 59 w 786"/>
                <a:gd name="T99" fmla="*/ 289 h 588"/>
                <a:gd name="T100" fmla="*/ 59 w 786"/>
                <a:gd name="T101" fmla="*/ 296 h 588"/>
                <a:gd name="T102" fmla="*/ 50 w 786"/>
                <a:gd name="T103" fmla="*/ 289 h 588"/>
                <a:gd name="T104" fmla="*/ 54 w 786"/>
                <a:gd name="T105" fmla="*/ 280 h 588"/>
                <a:gd name="T106" fmla="*/ 43 w 786"/>
                <a:gd name="T107" fmla="*/ 280 h 588"/>
                <a:gd name="T108" fmla="*/ 22 w 786"/>
                <a:gd name="T109" fmla="*/ 261 h 588"/>
                <a:gd name="T110" fmla="*/ 25 w 786"/>
                <a:gd name="T111" fmla="*/ 259 h 588"/>
                <a:gd name="T112" fmla="*/ 15 w 786"/>
                <a:gd name="T113" fmla="*/ 255 h 588"/>
                <a:gd name="T114" fmla="*/ 9 w 786"/>
                <a:gd name="T115" fmla="*/ 249 h 588"/>
                <a:gd name="T116" fmla="*/ 6 w 786"/>
                <a:gd name="T117" fmla="*/ 240 h 588"/>
                <a:gd name="T118" fmla="*/ 0 w 786"/>
                <a:gd name="T119" fmla="*/ 231 h 588"/>
                <a:gd name="T120" fmla="*/ 3 w 786"/>
                <a:gd name="T121" fmla="*/ 217 h 5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786" h="588">
                  <a:moveTo>
                    <a:pt x="6" y="420"/>
                  </a:moveTo>
                  <a:lnTo>
                    <a:pt x="12" y="426"/>
                  </a:lnTo>
                  <a:lnTo>
                    <a:pt x="18" y="420"/>
                  </a:lnTo>
                  <a:lnTo>
                    <a:pt x="18" y="426"/>
                  </a:lnTo>
                  <a:lnTo>
                    <a:pt x="24" y="426"/>
                  </a:lnTo>
                  <a:lnTo>
                    <a:pt x="30" y="426"/>
                  </a:lnTo>
                  <a:lnTo>
                    <a:pt x="42" y="426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84" y="408"/>
                  </a:lnTo>
                  <a:lnTo>
                    <a:pt x="120" y="402"/>
                  </a:lnTo>
                  <a:lnTo>
                    <a:pt x="144" y="408"/>
                  </a:lnTo>
                  <a:lnTo>
                    <a:pt x="168" y="408"/>
                  </a:lnTo>
                  <a:lnTo>
                    <a:pt x="168" y="402"/>
                  </a:lnTo>
                  <a:lnTo>
                    <a:pt x="168" y="396"/>
                  </a:lnTo>
                  <a:lnTo>
                    <a:pt x="174" y="396"/>
                  </a:lnTo>
                  <a:lnTo>
                    <a:pt x="174" y="390"/>
                  </a:lnTo>
                  <a:lnTo>
                    <a:pt x="180" y="390"/>
                  </a:lnTo>
                  <a:lnTo>
                    <a:pt x="186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92" y="372"/>
                  </a:lnTo>
                  <a:lnTo>
                    <a:pt x="192" y="354"/>
                  </a:lnTo>
                  <a:lnTo>
                    <a:pt x="192" y="342"/>
                  </a:lnTo>
                  <a:lnTo>
                    <a:pt x="192" y="330"/>
                  </a:lnTo>
                  <a:lnTo>
                    <a:pt x="204" y="324"/>
                  </a:lnTo>
                  <a:lnTo>
                    <a:pt x="204" y="216"/>
                  </a:lnTo>
                  <a:lnTo>
                    <a:pt x="234" y="210"/>
                  </a:lnTo>
                  <a:lnTo>
                    <a:pt x="282" y="204"/>
                  </a:lnTo>
                  <a:lnTo>
                    <a:pt x="312" y="174"/>
                  </a:lnTo>
                  <a:lnTo>
                    <a:pt x="330" y="156"/>
                  </a:lnTo>
                  <a:lnTo>
                    <a:pt x="348" y="144"/>
                  </a:lnTo>
                  <a:lnTo>
                    <a:pt x="360" y="132"/>
                  </a:lnTo>
                  <a:lnTo>
                    <a:pt x="420" y="96"/>
                  </a:lnTo>
                  <a:lnTo>
                    <a:pt x="468" y="66"/>
                  </a:lnTo>
                  <a:lnTo>
                    <a:pt x="546" y="24"/>
                  </a:lnTo>
                  <a:lnTo>
                    <a:pt x="588" y="0"/>
                  </a:lnTo>
                  <a:lnTo>
                    <a:pt x="594" y="0"/>
                  </a:lnTo>
                  <a:lnTo>
                    <a:pt x="606" y="6"/>
                  </a:lnTo>
                  <a:lnTo>
                    <a:pt x="624" y="6"/>
                  </a:lnTo>
                  <a:lnTo>
                    <a:pt x="630" y="6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60" y="12"/>
                  </a:lnTo>
                  <a:lnTo>
                    <a:pt x="660" y="18"/>
                  </a:lnTo>
                  <a:lnTo>
                    <a:pt x="666" y="18"/>
                  </a:lnTo>
                  <a:lnTo>
                    <a:pt x="672" y="24"/>
                  </a:lnTo>
                  <a:lnTo>
                    <a:pt x="696" y="42"/>
                  </a:lnTo>
                  <a:lnTo>
                    <a:pt x="738" y="24"/>
                  </a:lnTo>
                  <a:lnTo>
                    <a:pt x="744" y="54"/>
                  </a:lnTo>
                  <a:lnTo>
                    <a:pt x="744" y="72"/>
                  </a:lnTo>
                  <a:lnTo>
                    <a:pt x="744" y="96"/>
                  </a:lnTo>
                  <a:lnTo>
                    <a:pt x="744" y="102"/>
                  </a:lnTo>
                  <a:lnTo>
                    <a:pt x="750" y="102"/>
                  </a:lnTo>
                  <a:lnTo>
                    <a:pt x="768" y="126"/>
                  </a:lnTo>
                  <a:lnTo>
                    <a:pt x="762" y="126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80" y="150"/>
                  </a:lnTo>
                  <a:lnTo>
                    <a:pt x="786" y="156"/>
                  </a:lnTo>
                  <a:lnTo>
                    <a:pt x="774" y="174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68" y="210"/>
                  </a:lnTo>
                  <a:lnTo>
                    <a:pt x="768" y="216"/>
                  </a:lnTo>
                  <a:lnTo>
                    <a:pt x="768" y="222"/>
                  </a:lnTo>
                  <a:lnTo>
                    <a:pt x="768" y="234"/>
                  </a:lnTo>
                  <a:lnTo>
                    <a:pt x="762" y="330"/>
                  </a:lnTo>
                  <a:lnTo>
                    <a:pt x="732" y="354"/>
                  </a:lnTo>
                  <a:lnTo>
                    <a:pt x="726" y="366"/>
                  </a:lnTo>
                  <a:lnTo>
                    <a:pt x="720" y="372"/>
                  </a:lnTo>
                  <a:lnTo>
                    <a:pt x="708" y="384"/>
                  </a:lnTo>
                  <a:lnTo>
                    <a:pt x="702" y="390"/>
                  </a:lnTo>
                  <a:lnTo>
                    <a:pt x="696" y="396"/>
                  </a:lnTo>
                  <a:lnTo>
                    <a:pt x="684" y="414"/>
                  </a:lnTo>
                  <a:lnTo>
                    <a:pt x="678" y="420"/>
                  </a:lnTo>
                  <a:lnTo>
                    <a:pt x="678" y="426"/>
                  </a:lnTo>
                  <a:lnTo>
                    <a:pt x="678" y="432"/>
                  </a:lnTo>
                  <a:lnTo>
                    <a:pt x="678" y="438"/>
                  </a:lnTo>
                  <a:lnTo>
                    <a:pt x="672" y="438"/>
                  </a:lnTo>
                  <a:lnTo>
                    <a:pt x="672" y="444"/>
                  </a:lnTo>
                  <a:lnTo>
                    <a:pt x="666" y="444"/>
                  </a:lnTo>
                  <a:lnTo>
                    <a:pt x="660" y="450"/>
                  </a:lnTo>
                  <a:lnTo>
                    <a:pt x="660" y="456"/>
                  </a:lnTo>
                  <a:lnTo>
                    <a:pt x="666" y="486"/>
                  </a:lnTo>
                  <a:lnTo>
                    <a:pt x="660" y="486"/>
                  </a:lnTo>
                  <a:lnTo>
                    <a:pt x="654" y="486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54" y="492"/>
                  </a:lnTo>
                  <a:lnTo>
                    <a:pt x="648" y="492"/>
                  </a:lnTo>
                  <a:lnTo>
                    <a:pt x="648" y="498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42" y="492"/>
                  </a:lnTo>
                  <a:lnTo>
                    <a:pt x="642" y="498"/>
                  </a:lnTo>
                  <a:lnTo>
                    <a:pt x="636" y="498"/>
                  </a:lnTo>
                  <a:lnTo>
                    <a:pt x="630" y="498"/>
                  </a:lnTo>
                  <a:lnTo>
                    <a:pt x="630" y="504"/>
                  </a:lnTo>
                  <a:lnTo>
                    <a:pt x="624" y="504"/>
                  </a:lnTo>
                  <a:lnTo>
                    <a:pt x="624" y="510"/>
                  </a:lnTo>
                  <a:lnTo>
                    <a:pt x="618" y="510"/>
                  </a:lnTo>
                  <a:lnTo>
                    <a:pt x="618" y="504"/>
                  </a:lnTo>
                  <a:lnTo>
                    <a:pt x="618" y="510"/>
                  </a:lnTo>
                  <a:lnTo>
                    <a:pt x="612" y="510"/>
                  </a:lnTo>
                  <a:lnTo>
                    <a:pt x="618" y="510"/>
                  </a:lnTo>
                  <a:lnTo>
                    <a:pt x="618" y="516"/>
                  </a:lnTo>
                  <a:lnTo>
                    <a:pt x="612" y="516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600" y="516"/>
                  </a:lnTo>
                  <a:lnTo>
                    <a:pt x="594" y="516"/>
                  </a:lnTo>
                  <a:lnTo>
                    <a:pt x="588" y="516"/>
                  </a:lnTo>
                  <a:lnTo>
                    <a:pt x="588" y="510"/>
                  </a:lnTo>
                  <a:lnTo>
                    <a:pt x="582" y="510"/>
                  </a:lnTo>
                  <a:lnTo>
                    <a:pt x="570" y="510"/>
                  </a:lnTo>
                  <a:lnTo>
                    <a:pt x="570" y="504"/>
                  </a:lnTo>
                  <a:lnTo>
                    <a:pt x="564" y="504"/>
                  </a:lnTo>
                  <a:lnTo>
                    <a:pt x="558" y="504"/>
                  </a:lnTo>
                  <a:lnTo>
                    <a:pt x="546" y="504"/>
                  </a:lnTo>
                  <a:lnTo>
                    <a:pt x="540" y="504"/>
                  </a:lnTo>
                  <a:lnTo>
                    <a:pt x="522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2" y="510"/>
                  </a:lnTo>
                  <a:lnTo>
                    <a:pt x="486" y="516"/>
                  </a:lnTo>
                  <a:lnTo>
                    <a:pt x="480" y="522"/>
                  </a:lnTo>
                  <a:lnTo>
                    <a:pt x="474" y="528"/>
                  </a:lnTo>
                  <a:lnTo>
                    <a:pt x="474" y="534"/>
                  </a:lnTo>
                  <a:lnTo>
                    <a:pt x="462" y="528"/>
                  </a:lnTo>
                  <a:lnTo>
                    <a:pt x="456" y="528"/>
                  </a:lnTo>
                  <a:lnTo>
                    <a:pt x="450" y="528"/>
                  </a:lnTo>
                  <a:lnTo>
                    <a:pt x="444" y="528"/>
                  </a:lnTo>
                  <a:lnTo>
                    <a:pt x="438" y="528"/>
                  </a:lnTo>
                  <a:lnTo>
                    <a:pt x="432" y="528"/>
                  </a:lnTo>
                  <a:lnTo>
                    <a:pt x="426" y="528"/>
                  </a:lnTo>
                  <a:lnTo>
                    <a:pt x="420" y="522"/>
                  </a:lnTo>
                  <a:lnTo>
                    <a:pt x="414" y="516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402" y="510"/>
                  </a:lnTo>
                  <a:lnTo>
                    <a:pt x="396" y="510"/>
                  </a:lnTo>
                  <a:lnTo>
                    <a:pt x="390" y="504"/>
                  </a:lnTo>
                  <a:lnTo>
                    <a:pt x="378" y="504"/>
                  </a:lnTo>
                  <a:lnTo>
                    <a:pt x="372" y="510"/>
                  </a:lnTo>
                  <a:lnTo>
                    <a:pt x="360" y="516"/>
                  </a:lnTo>
                  <a:lnTo>
                    <a:pt x="348" y="516"/>
                  </a:lnTo>
                  <a:lnTo>
                    <a:pt x="348" y="522"/>
                  </a:lnTo>
                  <a:lnTo>
                    <a:pt x="342" y="522"/>
                  </a:lnTo>
                  <a:lnTo>
                    <a:pt x="336" y="522"/>
                  </a:lnTo>
                  <a:lnTo>
                    <a:pt x="330" y="516"/>
                  </a:lnTo>
                  <a:lnTo>
                    <a:pt x="324" y="504"/>
                  </a:lnTo>
                  <a:lnTo>
                    <a:pt x="312" y="492"/>
                  </a:lnTo>
                  <a:lnTo>
                    <a:pt x="306" y="486"/>
                  </a:lnTo>
                  <a:lnTo>
                    <a:pt x="300" y="486"/>
                  </a:lnTo>
                  <a:lnTo>
                    <a:pt x="300" y="492"/>
                  </a:lnTo>
                  <a:lnTo>
                    <a:pt x="294" y="486"/>
                  </a:lnTo>
                  <a:lnTo>
                    <a:pt x="276" y="480"/>
                  </a:lnTo>
                  <a:lnTo>
                    <a:pt x="264" y="480"/>
                  </a:lnTo>
                  <a:lnTo>
                    <a:pt x="258" y="480"/>
                  </a:lnTo>
                  <a:lnTo>
                    <a:pt x="252" y="486"/>
                  </a:lnTo>
                  <a:lnTo>
                    <a:pt x="246" y="486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34" y="480"/>
                  </a:lnTo>
                  <a:lnTo>
                    <a:pt x="216" y="486"/>
                  </a:lnTo>
                  <a:lnTo>
                    <a:pt x="198" y="498"/>
                  </a:lnTo>
                  <a:lnTo>
                    <a:pt x="198" y="516"/>
                  </a:lnTo>
                  <a:lnTo>
                    <a:pt x="198" y="522"/>
                  </a:lnTo>
                  <a:lnTo>
                    <a:pt x="192" y="528"/>
                  </a:lnTo>
                  <a:lnTo>
                    <a:pt x="186" y="534"/>
                  </a:lnTo>
                  <a:lnTo>
                    <a:pt x="180" y="540"/>
                  </a:lnTo>
                  <a:lnTo>
                    <a:pt x="174" y="546"/>
                  </a:lnTo>
                  <a:lnTo>
                    <a:pt x="174" y="558"/>
                  </a:lnTo>
                  <a:lnTo>
                    <a:pt x="174" y="564"/>
                  </a:lnTo>
                  <a:lnTo>
                    <a:pt x="174" y="570"/>
                  </a:lnTo>
                  <a:lnTo>
                    <a:pt x="174" y="576"/>
                  </a:lnTo>
                  <a:lnTo>
                    <a:pt x="174" y="582"/>
                  </a:lnTo>
                  <a:lnTo>
                    <a:pt x="168" y="588"/>
                  </a:lnTo>
                  <a:lnTo>
                    <a:pt x="168" y="582"/>
                  </a:lnTo>
                  <a:lnTo>
                    <a:pt x="162" y="576"/>
                  </a:lnTo>
                  <a:lnTo>
                    <a:pt x="156" y="576"/>
                  </a:lnTo>
                  <a:lnTo>
                    <a:pt x="156" y="570"/>
                  </a:lnTo>
                  <a:lnTo>
                    <a:pt x="150" y="570"/>
                  </a:lnTo>
                  <a:lnTo>
                    <a:pt x="150" y="564"/>
                  </a:lnTo>
                  <a:lnTo>
                    <a:pt x="144" y="564"/>
                  </a:lnTo>
                  <a:lnTo>
                    <a:pt x="144" y="558"/>
                  </a:lnTo>
                  <a:lnTo>
                    <a:pt x="138" y="558"/>
                  </a:lnTo>
                  <a:lnTo>
                    <a:pt x="132" y="552"/>
                  </a:lnTo>
                  <a:lnTo>
                    <a:pt x="126" y="552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8" y="564"/>
                  </a:lnTo>
                  <a:lnTo>
                    <a:pt x="114" y="564"/>
                  </a:lnTo>
                  <a:lnTo>
                    <a:pt x="114" y="570"/>
                  </a:lnTo>
                  <a:lnTo>
                    <a:pt x="114" y="576"/>
                  </a:lnTo>
                  <a:lnTo>
                    <a:pt x="108" y="576"/>
                  </a:lnTo>
                  <a:lnTo>
                    <a:pt x="114" y="576"/>
                  </a:lnTo>
                  <a:lnTo>
                    <a:pt x="96" y="558"/>
                  </a:lnTo>
                  <a:lnTo>
                    <a:pt x="96" y="552"/>
                  </a:lnTo>
                  <a:lnTo>
                    <a:pt x="102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40"/>
                  </a:lnTo>
                  <a:lnTo>
                    <a:pt x="96" y="534"/>
                  </a:lnTo>
                  <a:lnTo>
                    <a:pt x="90" y="534"/>
                  </a:lnTo>
                  <a:lnTo>
                    <a:pt x="84" y="540"/>
                  </a:lnTo>
                  <a:lnTo>
                    <a:pt x="72" y="540"/>
                  </a:lnTo>
                  <a:lnTo>
                    <a:pt x="42" y="522"/>
                  </a:lnTo>
                  <a:lnTo>
                    <a:pt x="42" y="516"/>
                  </a:lnTo>
                  <a:lnTo>
                    <a:pt x="42" y="504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48" y="504"/>
                  </a:lnTo>
                  <a:lnTo>
                    <a:pt x="48" y="498"/>
                  </a:lnTo>
                  <a:lnTo>
                    <a:pt x="42" y="498"/>
                  </a:lnTo>
                  <a:lnTo>
                    <a:pt x="42" y="492"/>
                  </a:lnTo>
                  <a:lnTo>
                    <a:pt x="36" y="492"/>
                  </a:lnTo>
                  <a:lnTo>
                    <a:pt x="30" y="492"/>
                  </a:lnTo>
                  <a:lnTo>
                    <a:pt x="30" y="486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2" y="468"/>
                  </a:lnTo>
                  <a:lnTo>
                    <a:pt x="12" y="462"/>
                  </a:lnTo>
                  <a:lnTo>
                    <a:pt x="12" y="456"/>
                  </a:lnTo>
                  <a:lnTo>
                    <a:pt x="6" y="456"/>
                  </a:lnTo>
                  <a:lnTo>
                    <a:pt x="0" y="450"/>
                  </a:lnTo>
                  <a:lnTo>
                    <a:pt x="0" y="444"/>
                  </a:lnTo>
                  <a:lnTo>
                    <a:pt x="0" y="438"/>
                  </a:lnTo>
                  <a:lnTo>
                    <a:pt x="0" y="432"/>
                  </a:lnTo>
                  <a:lnTo>
                    <a:pt x="6" y="426"/>
                  </a:lnTo>
                  <a:lnTo>
                    <a:pt x="6" y="42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4" name="Freeform 27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2453" y="964"/>
              <a:ext cx="668" cy="576"/>
            </a:xfrm>
            <a:custGeom>
              <a:avLst/>
              <a:gdLst>
                <a:gd name="T0" fmla="*/ 15 w 786"/>
                <a:gd name="T1" fmla="*/ 69 h 678"/>
                <a:gd name="T2" fmla="*/ 25 w 786"/>
                <a:gd name="T3" fmla="*/ 59 h 678"/>
                <a:gd name="T4" fmla="*/ 22 w 786"/>
                <a:gd name="T5" fmla="*/ 43 h 678"/>
                <a:gd name="T6" fmla="*/ 31 w 786"/>
                <a:gd name="T7" fmla="*/ 35 h 678"/>
                <a:gd name="T8" fmla="*/ 41 w 786"/>
                <a:gd name="T9" fmla="*/ 28 h 678"/>
                <a:gd name="T10" fmla="*/ 56 w 786"/>
                <a:gd name="T11" fmla="*/ 22 h 678"/>
                <a:gd name="T12" fmla="*/ 56 w 786"/>
                <a:gd name="T13" fmla="*/ 9 h 678"/>
                <a:gd name="T14" fmla="*/ 63 w 786"/>
                <a:gd name="T15" fmla="*/ 3 h 678"/>
                <a:gd name="T16" fmla="*/ 71 w 786"/>
                <a:gd name="T17" fmla="*/ 6 h 678"/>
                <a:gd name="T18" fmla="*/ 88 w 786"/>
                <a:gd name="T19" fmla="*/ 9 h 678"/>
                <a:gd name="T20" fmla="*/ 104 w 786"/>
                <a:gd name="T21" fmla="*/ 6 h 678"/>
                <a:gd name="T22" fmla="*/ 116 w 786"/>
                <a:gd name="T23" fmla="*/ 9 h 678"/>
                <a:gd name="T24" fmla="*/ 132 w 786"/>
                <a:gd name="T25" fmla="*/ 15 h 678"/>
                <a:gd name="T26" fmla="*/ 144 w 786"/>
                <a:gd name="T27" fmla="*/ 19 h 678"/>
                <a:gd name="T28" fmla="*/ 156 w 786"/>
                <a:gd name="T29" fmla="*/ 25 h 678"/>
                <a:gd name="T30" fmla="*/ 160 w 786"/>
                <a:gd name="T31" fmla="*/ 37 h 678"/>
                <a:gd name="T32" fmla="*/ 172 w 786"/>
                <a:gd name="T33" fmla="*/ 47 h 678"/>
                <a:gd name="T34" fmla="*/ 185 w 786"/>
                <a:gd name="T35" fmla="*/ 50 h 678"/>
                <a:gd name="T36" fmla="*/ 203 w 786"/>
                <a:gd name="T37" fmla="*/ 54 h 678"/>
                <a:gd name="T38" fmla="*/ 216 w 786"/>
                <a:gd name="T39" fmla="*/ 56 h 678"/>
                <a:gd name="T40" fmla="*/ 225 w 786"/>
                <a:gd name="T41" fmla="*/ 59 h 678"/>
                <a:gd name="T42" fmla="*/ 238 w 786"/>
                <a:gd name="T43" fmla="*/ 69 h 678"/>
                <a:gd name="T44" fmla="*/ 251 w 786"/>
                <a:gd name="T45" fmla="*/ 75 h 678"/>
                <a:gd name="T46" fmla="*/ 266 w 786"/>
                <a:gd name="T47" fmla="*/ 71 h 678"/>
                <a:gd name="T48" fmla="*/ 279 w 786"/>
                <a:gd name="T49" fmla="*/ 56 h 678"/>
                <a:gd name="T50" fmla="*/ 276 w 786"/>
                <a:gd name="T51" fmla="*/ 47 h 678"/>
                <a:gd name="T52" fmla="*/ 276 w 786"/>
                <a:gd name="T53" fmla="*/ 31 h 678"/>
                <a:gd name="T54" fmla="*/ 279 w 786"/>
                <a:gd name="T55" fmla="*/ 25 h 678"/>
                <a:gd name="T56" fmla="*/ 288 w 786"/>
                <a:gd name="T57" fmla="*/ 15 h 678"/>
                <a:gd name="T58" fmla="*/ 310 w 786"/>
                <a:gd name="T59" fmla="*/ 9 h 678"/>
                <a:gd name="T60" fmla="*/ 322 w 786"/>
                <a:gd name="T61" fmla="*/ 6 h 678"/>
                <a:gd name="T62" fmla="*/ 338 w 786"/>
                <a:gd name="T63" fmla="*/ 6 h 678"/>
                <a:gd name="T64" fmla="*/ 350 w 786"/>
                <a:gd name="T65" fmla="*/ 12 h 678"/>
                <a:gd name="T66" fmla="*/ 357 w 786"/>
                <a:gd name="T67" fmla="*/ 22 h 678"/>
                <a:gd name="T68" fmla="*/ 370 w 786"/>
                <a:gd name="T69" fmla="*/ 25 h 678"/>
                <a:gd name="T70" fmla="*/ 382 w 786"/>
                <a:gd name="T71" fmla="*/ 28 h 678"/>
                <a:gd name="T72" fmla="*/ 398 w 786"/>
                <a:gd name="T73" fmla="*/ 28 h 678"/>
                <a:gd name="T74" fmla="*/ 406 w 786"/>
                <a:gd name="T75" fmla="*/ 35 h 678"/>
                <a:gd name="T76" fmla="*/ 410 w 786"/>
                <a:gd name="T77" fmla="*/ 41 h 678"/>
                <a:gd name="T78" fmla="*/ 404 w 786"/>
                <a:gd name="T79" fmla="*/ 50 h 678"/>
                <a:gd name="T80" fmla="*/ 406 w 786"/>
                <a:gd name="T81" fmla="*/ 63 h 678"/>
                <a:gd name="T82" fmla="*/ 398 w 786"/>
                <a:gd name="T83" fmla="*/ 78 h 678"/>
                <a:gd name="T84" fmla="*/ 404 w 786"/>
                <a:gd name="T85" fmla="*/ 93 h 678"/>
                <a:gd name="T86" fmla="*/ 406 w 786"/>
                <a:gd name="T87" fmla="*/ 99 h 678"/>
                <a:gd name="T88" fmla="*/ 359 w 786"/>
                <a:gd name="T89" fmla="*/ 344 h 678"/>
                <a:gd name="T90" fmla="*/ 304 w 786"/>
                <a:gd name="T91" fmla="*/ 316 h 678"/>
                <a:gd name="T92" fmla="*/ 225 w 786"/>
                <a:gd name="T93" fmla="*/ 279 h 678"/>
                <a:gd name="T94" fmla="*/ 162 w 786"/>
                <a:gd name="T95" fmla="*/ 257 h 678"/>
                <a:gd name="T96" fmla="*/ 106 w 786"/>
                <a:gd name="T97" fmla="*/ 259 h 678"/>
                <a:gd name="T98" fmla="*/ 88 w 786"/>
                <a:gd name="T99" fmla="*/ 253 h 678"/>
                <a:gd name="T100" fmla="*/ 59 w 786"/>
                <a:gd name="T101" fmla="*/ 231 h 678"/>
                <a:gd name="T102" fmla="*/ 41 w 786"/>
                <a:gd name="T103" fmla="*/ 225 h 678"/>
                <a:gd name="T104" fmla="*/ 22 w 786"/>
                <a:gd name="T105" fmla="*/ 218 h 678"/>
                <a:gd name="T106" fmla="*/ 0 w 786"/>
                <a:gd name="T107" fmla="*/ 181 h 678"/>
                <a:gd name="T108" fmla="*/ 9 w 786"/>
                <a:gd name="T109" fmla="*/ 175 h 678"/>
                <a:gd name="T110" fmla="*/ 12 w 786"/>
                <a:gd name="T111" fmla="*/ 162 h 678"/>
                <a:gd name="T112" fmla="*/ 12 w 786"/>
                <a:gd name="T113" fmla="*/ 147 h 678"/>
                <a:gd name="T114" fmla="*/ 12 w 786"/>
                <a:gd name="T115" fmla="*/ 132 h 678"/>
                <a:gd name="T116" fmla="*/ 15 w 786"/>
                <a:gd name="T117" fmla="*/ 113 h 678"/>
                <a:gd name="T118" fmla="*/ 6 w 786"/>
                <a:gd name="T119" fmla="*/ 84 h 678"/>
                <a:gd name="T120" fmla="*/ 6 w 786"/>
                <a:gd name="T121" fmla="*/ 75 h 6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786" h="678">
                  <a:moveTo>
                    <a:pt x="12" y="144"/>
                  </a:moveTo>
                  <a:lnTo>
                    <a:pt x="18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2"/>
                  </a:lnTo>
                  <a:lnTo>
                    <a:pt x="54" y="72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90" y="42"/>
                  </a:lnTo>
                  <a:lnTo>
                    <a:pt x="102" y="42"/>
                  </a:lnTo>
                  <a:lnTo>
                    <a:pt x="108" y="42"/>
                  </a:lnTo>
                  <a:lnTo>
                    <a:pt x="108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126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12"/>
                  </a:lnTo>
                  <a:lnTo>
                    <a:pt x="198" y="12"/>
                  </a:lnTo>
                  <a:lnTo>
                    <a:pt x="204" y="12"/>
                  </a:lnTo>
                  <a:lnTo>
                    <a:pt x="204" y="18"/>
                  </a:lnTo>
                  <a:lnTo>
                    <a:pt x="210" y="18"/>
                  </a:lnTo>
                  <a:lnTo>
                    <a:pt x="216" y="18"/>
                  </a:lnTo>
                  <a:lnTo>
                    <a:pt x="222" y="18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70" y="36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72"/>
                  </a:lnTo>
                  <a:lnTo>
                    <a:pt x="306" y="78"/>
                  </a:lnTo>
                  <a:lnTo>
                    <a:pt x="312" y="84"/>
                  </a:lnTo>
                  <a:lnTo>
                    <a:pt x="318" y="90"/>
                  </a:lnTo>
                  <a:lnTo>
                    <a:pt x="324" y="90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6" y="96"/>
                  </a:lnTo>
                  <a:lnTo>
                    <a:pt x="342" y="96"/>
                  </a:lnTo>
                  <a:lnTo>
                    <a:pt x="348" y="96"/>
                  </a:lnTo>
                  <a:lnTo>
                    <a:pt x="354" y="96"/>
                  </a:lnTo>
                  <a:lnTo>
                    <a:pt x="360" y="96"/>
                  </a:lnTo>
                  <a:lnTo>
                    <a:pt x="366" y="96"/>
                  </a:lnTo>
                  <a:lnTo>
                    <a:pt x="372" y="96"/>
                  </a:lnTo>
                  <a:lnTo>
                    <a:pt x="378" y="96"/>
                  </a:lnTo>
                  <a:lnTo>
                    <a:pt x="390" y="102"/>
                  </a:lnTo>
                  <a:lnTo>
                    <a:pt x="396" y="102"/>
                  </a:lnTo>
                  <a:lnTo>
                    <a:pt x="402" y="102"/>
                  </a:lnTo>
                  <a:lnTo>
                    <a:pt x="402" y="108"/>
                  </a:lnTo>
                  <a:lnTo>
                    <a:pt x="408" y="108"/>
                  </a:lnTo>
                  <a:lnTo>
                    <a:pt x="414" y="108"/>
                  </a:lnTo>
                  <a:lnTo>
                    <a:pt x="420" y="108"/>
                  </a:lnTo>
                  <a:lnTo>
                    <a:pt x="420" y="114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32" y="114"/>
                  </a:lnTo>
                  <a:lnTo>
                    <a:pt x="438" y="120"/>
                  </a:lnTo>
                  <a:lnTo>
                    <a:pt x="444" y="120"/>
                  </a:lnTo>
                  <a:lnTo>
                    <a:pt x="444" y="126"/>
                  </a:lnTo>
                  <a:lnTo>
                    <a:pt x="450" y="126"/>
                  </a:lnTo>
                  <a:lnTo>
                    <a:pt x="456" y="132"/>
                  </a:lnTo>
                  <a:lnTo>
                    <a:pt x="462" y="138"/>
                  </a:lnTo>
                  <a:lnTo>
                    <a:pt x="468" y="138"/>
                  </a:lnTo>
                  <a:lnTo>
                    <a:pt x="474" y="138"/>
                  </a:lnTo>
                  <a:lnTo>
                    <a:pt x="474" y="144"/>
                  </a:lnTo>
                  <a:lnTo>
                    <a:pt x="480" y="144"/>
                  </a:lnTo>
                  <a:lnTo>
                    <a:pt x="486" y="144"/>
                  </a:lnTo>
                  <a:lnTo>
                    <a:pt x="492" y="144"/>
                  </a:lnTo>
                  <a:lnTo>
                    <a:pt x="498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6" y="132"/>
                  </a:lnTo>
                  <a:lnTo>
                    <a:pt x="522" y="126"/>
                  </a:lnTo>
                  <a:lnTo>
                    <a:pt x="528" y="120"/>
                  </a:lnTo>
                  <a:lnTo>
                    <a:pt x="534" y="114"/>
                  </a:lnTo>
                  <a:lnTo>
                    <a:pt x="534" y="108"/>
                  </a:lnTo>
                  <a:lnTo>
                    <a:pt x="540" y="102"/>
                  </a:lnTo>
                  <a:lnTo>
                    <a:pt x="540" y="96"/>
                  </a:lnTo>
                  <a:lnTo>
                    <a:pt x="534" y="96"/>
                  </a:lnTo>
                  <a:lnTo>
                    <a:pt x="534" y="90"/>
                  </a:lnTo>
                  <a:lnTo>
                    <a:pt x="528" y="90"/>
                  </a:lnTo>
                  <a:lnTo>
                    <a:pt x="528" y="84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28" y="60"/>
                  </a:lnTo>
                  <a:lnTo>
                    <a:pt x="528" y="54"/>
                  </a:lnTo>
                  <a:lnTo>
                    <a:pt x="534" y="54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34" y="48"/>
                  </a:lnTo>
                  <a:lnTo>
                    <a:pt x="540" y="48"/>
                  </a:lnTo>
                  <a:lnTo>
                    <a:pt x="540" y="42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30"/>
                  </a:lnTo>
                  <a:lnTo>
                    <a:pt x="558" y="30"/>
                  </a:lnTo>
                  <a:lnTo>
                    <a:pt x="576" y="24"/>
                  </a:lnTo>
                  <a:lnTo>
                    <a:pt x="582" y="24"/>
                  </a:lnTo>
                  <a:lnTo>
                    <a:pt x="582" y="18"/>
                  </a:lnTo>
                  <a:lnTo>
                    <a:pt x="594" y="18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8" y="12"/>
                  </a:lnTo>
                  <a:lnTo>
                    <a:pt x="624" y="12"/>
                  </a:lnTo>
                  <a:lnTo>
                    <a:pt x="630" y="12"/>
                  </a:lnTo>
                  <a:lnTo>
                    <a:pt x="636" y="12"/>
                  </a:lnTo>
                  <a:lnTo>
                    <a:pt x="642" y="12"/>
                  </a:lnTo>
                  <a:lnTo>
                    <a:pt x="648" y="12"/>
                  </a:lnTo>
                  <a:lnTo>
                    <a:pt x="648" y="18"/>
                  </a:lnTo>
                  <a:lnTo>
                    <a:pt x="654" y="18"/>
                  </a:lnTo>
                  <a:lnTo>
                    <a:pt x="660" y="18"/>
                  </a:lnTo>
                  <a:lnTo>
                    <a:pt x="666" y="24"/>
                  </a:lnTo>
                  <a:lnTo>
                    <a:pt x="672" y="24"/>
                  </a:lnTo>
                  <a:lnTo>
                    <a:pt x="678" y="24"/>
                  </a:lnTo>
                  <a:lnTo>
                    <a:pt x="684" y="24"/>
                  </a:lnTo>
                  <a:lnTo>
                    <a:pt x="684" y="30"/>
                  </a:lnTo>
                  <a:lnTo>
                    <a:pt x="684" y="36"/>
                  </a:lnTo>
                  <a:lnTo>
                    <a:pt x="684" y="42"/>
                  </a:lnTo>
                  <a:lnTo>
                    <a:pt x="690" y="42"/>
                  </a:lnTo>
                  <a:lnTo>
                    <a:pt x="690" y="48"/>
                  </a:lnTo>
                  <a:lnTo>
                    <a:pt x="696" y="48"/>
                  </a:lnTo>
                  <a:lnTo>
                    <a:pt x="702" y="48"/>
                  </a:lnTo>
                  <a:lnTo>
                    <a:pt x="708" y="48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0" y="54"/>
                  </a:lnTo>
                  <a:lnTo>
                    <a:pt x="726" y="54"/>
                  </a:lnTo>
                  <a:lnTo>
                    <a:pt x="732" y="54"/>
                  </a:lnTo>
                  <a:lnTo>
                    <a:pt x="738" y="60"/>
                  </a:lnTo>
                  <a:lnTo>
                    <a:pt x="744" y="60"/>
                  </a:lnTo>
                  <a:lnTo>
                    <a:pt x="750" y="60"/>
                  </a:lnTo>
                  <a:lnTo>
                    <a:pt x="756" y="60"/>
                  </a:lnTo>
                  <a:lnTo>
                    <a:pt x="762" y="54"/>
                  </a:lnTo>
                  <a:lnTo>
                    <a:pt x="768" y="54"/>
                  </a:lnTo>
                  <a:lnTo>
                    <a:pt x="768" y="60"/>
                  </a:lnTo>
                  <a:lnTo>
                    <a:pt x="774" y="60"/>
                  </a:lnTo>
                  <a:lnTo>
                    <a:pt x="780" y="60"/>
                  </a:lnTo>
                  <a:lnTo>
                    <a:pt x="780" y="66"/>
                  </a:lnTo>
                  <a:lnTo>
                    <a:pt x="780" y="72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6" y="72"/>
                  </a:lnTo>
                  <a:lnTo>
                    <a:pt x="786" y="78"/>
                  </a:lnTo>
                  <a:lnTo>
                    <a:pt x="780" y="78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74" y="90"/>
                  </a:lnTo>
                  <a:lnTo>
                    <a:pt x="774" y="96"/>
                  </a:lnTo>
                  <a:lnTo>
                    <a:pt x="774" y="102"/>
                  </a:lnTo>
                  <a:lnTo>
                    <a:pt x="774" y="108"/>
                  </a:lnTo>
                  <a:lnTo>
                    <a:pt x="774" y="114"/>
                  </a:lnTo>
                  <a:lnTo>
                    <a:pt x="780" y="114"/>
                  </a:lnTo>
                  <a:lnTo>
                    <a:pt x="780" y="120"/>
                  </a:lnTo>
                  <a:lnTo>
                    <a:pt x="774" y="126"/>
                  </a:lnTo>
                  <a:lnTo>
                    <a:pt x="774" y="132"/>
                  </a:lnTo>
                  <a:lnTo>
                    <a:pt x="768" y="138"/>
                  </a:lnTo>
                  <a:lnTo>
                    <a:pt x="768" y="144"/>
                  </a:lnTo>
                  <a:lnTo>
                    <a:pt x="762" y="150"/>
                  </a:lnTo>
                  <a:lnTo>
                    <a:pt x="768" y="150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74"/>
                  </a:lnTo>
                  <a:lnTo>
                    <a:pt x="774" y="180"/>
                  </a:lnTo>
                  <a:lnTo>
                    <a:pt x="768" y="180"/>
                  </a:lnTo>
                  <a:lnTo>
                    <a:pt x="774" y="180"/>
                  </a:lnTo>
                  <a:lnTo>
                    <a:pt x="774" y="186"/>
                  </a:lnTo>
                  <a:lnTo>
                    <a:pt x="774" y="192"/>
                  </a:lnTo>
                  <a:lnTo>
                    <a:pt x="780" y="192"/>
                  </a:lnTo>
                  <a:lnTo>
                    <a:pt x="780" y="552"/>
                  </a:lnTo>
                  <a:lnTo>
                    <a:pt x="780" y="654"/>
                  </a:lnTo>
                  <a:lnTo>
                    <a:pt x="726" y="654"/>
                  </a:lnTo>
                  <a:lnTo>
                    <a:pt x="726" y="678"/>
                  </a:lnTo>
                  <a:lnTo>
                    <a:pt x="690" y="660"/>
                  </a:lnTo>
                  <a:lnTo>
                    <a:pt x="654" y="642"/>
                  </a:lnTo>
                  <a:lnTo>
                    <a:pt x="618" y="624"/>
                  </a:lnTo>
                  <a:lnTo>
                    <a:pt x="606" y="612"/>
                  </a:lnTo>
                  <a:lnTo>
                    <a:pt x="600" y="612"/>
                  </a:lnTo>
                  <a:lnTo>
                    <a:pt x="582" y="606"/>
                  </a:lnTo>
                  <a:lnTo>
                    <a:pt x="564" y="594"/>
                  </a:lnTo>
                  <a:lnTo>
                    <a:pt x="546" y="588"/>
                  </a:lnTo>
                  <a:lnTo>
                    <a:pt x="468" y="546"/>
                  </a:lnTo>
                  <a:lnTo>
                    <a:pt x="444" y="534"/>
                  </a:lnTo>
                  <a:lnTo>
                    <a:pt x="432" y="534"/>
                  </a:lnTo>
                  <a:lnTo>
                    <a:pt x="372" y="504"/>
                  </a:lnTo>
                  <a:lnTo>
                    <a:pt x="330" y="480"/>
                  </a:lnTo>
                  <a:lnTo>
                    <a:pt x="324" y="486"/>
                  </a:lnTo>
                  <a:lnTo>
                    <a:pt x="318" y="486"/>
                  </a:lnTo>
                  <a:lnTo>
                    <a:pt x="312" y="492"/>
                  </a:lnTo>
                  <a:lnTo>
                    <a:pt x="282" y="504"/>
                  </a:lnTo>
                  <a:lnTo>
                    <a:pt x="240" y="522"/>
                  </a:lnTo>
                  <a:lnTo>
                    <a:pt x="216" y="504"/>
                  </a:lnTo>
                  <a:lnTo>
                    <a:pt x="210" y="498"/>
                  </a:lnTo>
                  <a:lnTo>
                    <a:pt x="204" y="498"/>
                  </a:lnTo>
                  <a:lnTo>
                    <a:pt x="204" y="492"/>
                  </a:lnTo>
                  <a:lnTo>
                    <a:pt x="198" y="492"/>
                  </a:lnTo>
                  <a:lnTo>
                    <a:pt x="192" y="492"/>
                  </a:lnTo>
                  <a:lnTo>
                    <a:pt x="174" y="486"/>
                  </a:lnTo>
                  <a:lnTo>
                    <a:pt x="168" y="486"/>
                  </a:lnTo>
                  <a:lnTo>
                    <a:pt x="150" y="486"/>
                  </a:lnTo>
                  <a:lnTo>
                    <a:pt x="138" y="480"/>
                  </a:lnTo>
                  <a:lnTo>
                    <a:pt x="132" y="480"/>
                  </a:lnTo>
                  <a:lnTo>
                    <a:pt x="120" y="456"/>
                  </a:lnTo>
                  <a:lnTo>
                    <a:pt x="114" y="444"/>
                  </a:lnTo>
                  <a:lnTo>
                    <a:pt x="108" y="444"/>
                  </a:lnTo>
                  <a:lnTo>
                    <a:pt x="102" y="444"/>
                  </a:lnTo>
                  <a:lnTo>
                    <a:pt x="90" y="438"/>
                  </a:lnTo>
                  <a:lnTo>
                    <a:pt x="84" y="432"/>
                  </a:lnTo>
                  <a:lnTo>
                    <a:pt x="78" y="432"/>
                  </a:lnTo>
                  <a:lnTo>
                    <a:pt x="66" y="426"/>
                  </a:lnTo>
                  <a:lnTo>
                    <a:pt x="60" y="426"/>
                  </a:lnTo>
                  <a:lnTo>
                    <a:pt x="54" y="432"/>
                  </a:lnTo>
                  <a:lnTo>
                    <a:pt x="42" y="426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36" y="414"/>
                  </a:lnTo>
                  <a:lnTo>
                    <a:pt x="36" y="390"/>
                  </a:lnTo>
                  <a:lnTo>
                    <a:pt x="24" y="372"/>
                  </a:lnTo>
                  <a:lnTo>
                    <a:pt x="0" y="348"/>
                  </a:lnTo>
                  <a:lnTo>
                    <a:pt x="6" y="348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12" y="336"/>
                  </a:lnTo>
                  <a:lnTo>
                    <a:pt x="18" y="336"/>
                  </a:lnTo>
                  <a:lnTo>
                    <a:pt x="24" y="330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12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30" y="276"/>
                  </a:lnTo>
                  <a:lnTo>
                    <a:pt x="30" y="270"/>
                  </a:lnTo>
                  <a:lnTo>
                    <a:pt x="30" y="264"/>
                  </a:lnTo>
                  <a:lnTo>
                    <a:pt x="24" y="252"/>
                  </a:lnTo>
                  <a:lnTo>
                    <a:pt x="24" y="240"/>
                  </a:lnTo>
                  <a:lnTo>
                    <a:pt x="24" y="234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86"/>
                  </a:lnTo>
                  <a:lnTo>
                    <a:pt x="12" y="162"/>
                  </a:lnTo>
                  <a:lnTo>
                    <a:pt x="6" y="156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6" y="144"/>
                  </a:lnTo>
                  <a:lnTo>
                    <a:pt x="12" y="14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5" name="Freeform 28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2376" y="785"/>
              <a:ext cx="174" cy="301"/>
            </a:xfrm>
            <a:custGeom>
              <a:avLst/>
              <a:gdLst>
                <a:gd name="T0" fmla="*/ 35 w 204"/>
                <a:gd name="T1" fmla="*/ 9 h 354"/>
                <a:gd name="T2" fmla="*/ 44 w 204"/>
                <a:gd name="T3" fmla="*/ 3 h 354"/>
                <a:gd name="T4" fmla="*/ 57 w 204"/>
                <a:gd name="T5" fmla="*/ 0 h 354"/>
                <a:gd name="T6" fmla="*/ 61 w 204"/>
                <a:gd name="T7" fmla="*/ 3 h 354"/>
                <a:gd name="T8" fmla="*/ 61 w 204"/>
                <a:gd name="T9" fmla="*/ 3 h 354"/>
                <a:gd name="T10" fmla="*/ 70 w 204"/>
                <a:gd name="T11" fmla="*/ 7 h 354"/>
                <a:gd name="T12" fmla="*/ 73 w 204"/>
                <a:gd name="T13" fmla="*/ 12 h 354"/>
                <a:gd name="T14" fmla="*/ 79 w 204"/>
                <a:gd name="T15" fmla="*/ 16 h 354"/>
                <a:gd name="T16" fmla="*/ 89 w 204"/>
                <a:gd name="T17" fmla="*/ 9 h 354"/>
                <a:gd name="T18" fmla="*/ 96 w 204"/>
                <a:gd name="T19" fmla="*/ 12 h 354"/>
                <a:gd name="T20" fmla="*/ 89 w 204"/>
                <a:gd name="T21" fmla="*/ 22 h 354"/>
                <a:gd name="T22" fmla="*/ 79 w 204"/>
                <a:gd name="T23" fmla="*/ 26 h 354"/>
                <a:gd name="T24" fmla="*/ 77 w 204"/>
                <a:gd name="T25" fmla="*/ 35 h 354"/>
                <a:gd name="T26" fmla="*/ 86 w 204"/>
                <a:gd name="T27" fmla="*/ 41 h 354"/>
                <a:gd name="T28" fmla="*/ 91 w 204"/>
                <a:gd name="T29" fmla="*/ 47 h 354"/>
                <a:gd name="T30" fmla="*/ 91 w 204"/>
                <a:gd name="T31" fmla="*/ 56 h 354"/>
                <a:gd name="T32" fmla="*/ 89 w 204"/>
                <a:gd name="T33" fmla="*/ 65 h 354"/>
                <a:gd name="T34" fmla="*/ 79 w 204"/>
                <a:gd name="T35" fmla="*/ 71 h 354"/>
                <a:gd name="T36" fmla="*/ 73 w 204"/>
                <a:gd name="T37" fmla="*/ 75 h 354"/>
                <a:gd name="T38" fmla="*/ 67 w 204"/>
                <a:gd name="T39" fmla="*/ 82 h 354"/>
                <a:gd name="T40" fmla="*/ 70 w 204"/>
                <a:gd name="T41" fmla="*/ 91 h 354"/>
                <a:gd name="T42" fmla="*/ 73 w 204"/>
                <a:gd name="T43" fmla="*/ 94 h 354"/>
                <a:gd name="T44" fmla="*/ 82 w 204"/>
                <a:gd name="T45" fmla="*/ 94 h 354"/>
                <a:gd name="T46" fmla="*/ 86 w 204"/>
                <a:gd name="T47" fmla="*/ 97 h 354"/>
                <a:gd name="T48" fmla="*/ 89 w 204"/>
                <a:gd name="T49" fmla="*/ 100 h 354"/>
                <a:gd name="T50" fmla="*/ 96 w 204"/>
                <a:gd name="T51" fmla="*/ 104 h 354"/>
                <a:gd name="T52" fmla="*/ 96 w 204"/>
                <a:gd name="T53" fmla="*/ 110 h 354"/>
                <a:gd name="T54" fmla="*/ 99 w 204"/>
                <a:gd name="T55" fmla="*/ 106 h 354"/>
                <a:gd name="T56" fmla="*/ 105 w 204"/>
                <a:gd name="T57" fmla="*/ 113 h 354"/>
                <a:gd name="T58" fmla="*/ 105 w 204"/>
                <a:gd name="T59" fmla="*/ 125 h 354"/>
                <a:gd name="T60" fmla="*/ 102 w 204"/>
                <a:gd name="T61" fmla="*/ 132 h 354"/>
                <a:gd name="T62" fmla="*/ 89 w 204"/>
                <a:gd name="T63" fmla="*/ 138 h 354"/>
                <a:gd name="T64" fmla="*/ 82 w 204"/>
                <a:gd name="T65" fmla="*/ 145 h 354"/>
                <a:gd name="T66" fmla="*/ 73 w 204"/>
                <a:gd name="T67" fmla="*/ 147 h 354"/>
                <a:gd name="T68" fmla="*/ 70 w 204"/>
                <a:gd name="T69" fmla="*/ 160 h 354"/>
                <a:gd name="T70" fmla="*/ 70 w 204"/>
                <a:gd name="T71" fmla="*/ 173 h 354"/>
                <a:gd name="T72" fmla="*/ 63 w 204"/>
                <a:gd name="T73" fmla="*/ 179 h 354"/>
                <a:gd name="T74" fmla="*/ 54 w 204"/>
                <a:gd name="T75" fmla="*/ 185 h 354"/>
                <a:gd name="T76" fmla="*/ 42 w 204"/>
                <a:gd name="T77" fmla="*/ 145 h 354"/>
                <a:gd name="T78" fmla="*/ 22 w 204"/>
                <a:gd name="T79" fmla="*/ 122 h 354"/>
                <a:gd name="T80" fmla="*/ 9 w 204"/>
                <a:gd name="T81" fmla="*/ 110 h 354"/>
                <a:gd name="T82" fmla="*/ 3 w 204"/>
                <a:gd name="T83" fmla="*/ 100 h 354"/>
                <a:gd name="T84" fmla="*/ 0 w 204"/>
                <a:gd name="T85" fmla="*/ 88 h 354"/>
                <a:gd name="T86" fmla="*/ 7 w 204"/>
                <a:gd name="T87" fmla="*/ 82 h 354"/>
                <a:gd name="T88" fmla="*/ 16 w 204"/>
                <a:gd name="T89" fmla="*/ 71 h 354"/>
                <a:gd name="T90" fmla="*/ 19 w 204"/>
                <a:gd name="T91" fmla="*/ 63 h 354"/>
                <a:gd name="T92" fmla="*/ 26 w 204"/>
                <a:gd name="T93" fmla="*/ 56 h 354"/>
                <a:gd name="T94" fmla="*/ 22 w 204"/>
                <a:gd name="T95" fmla="*/ 51 h 354"/>
                <a:gd name="T96" fmla="*/ 19 w 204"/>
                <a:gd name="T97" fmla="*/ 41 h 354"/>
                <a:gd name="T98" fmla="*/ 22 w 204"/>
                <a:gd name="T99" fmla="*/ 31 h 354"/>
                <a:gd name="T100" fmla="*/ 22 w 204"/>
                <a:gd name="T101" fmla="*/ 26 h 354"/>
                <a:gd name="T102" fmla="*/ 19 w 204"/>
                <a:gd name="T103" fmla="*/ 22 h 354"/>
                <a:gd name="T104" fmla="*/ 26 w 204"/>
                <a:gd name="T105" fmla="*/ 16 h 354"/>
                <a:gd name="T106" fmla="*/ 28 w 204"/>
                <a:gd name="T107" fmla="*/ 12 h 3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4" h="354">
                  <a:moveTo>
                    <a:pt x="54" y="24"/>
                  </a:moveTo>
                  <a:lnTo>
                    <a:pt x="60" y="18"/>
                  </a:lnTo>
                  <a:lnTo>
                    <a:pt x="60" y="2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6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32" y="12"/>
                  </a:lnTo>
                  <a:lnTo>
                    <a:pt x="132" y="18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44" y="36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24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68" y="36"/>
                  </a:lnTo>
                  <a:lnTo>
                    <a:pt x="168" y="42"/>
                  </a:lnTo>
                  <a:lnTo>
                    <a:pt x="162" y="42"/>
                  </a:lnTo>
                  <a:lnTo>
                    <a:pt x="162" y="48"/>
                  </a:lnTo>
                  <a:lnTo>
                    <a:pt x="156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44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8"/>
                  </a:lnTo>
                  <a:lnTo>
                    <a:pt x="162" y="78"/>
                  </a:lnTo>
                  <a:lnTo>
                    <a:pt x="162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96"/>
                  </a:lnTo>
                  <a:lnTo>
                    <a:pt x="174" y="102"/>
                  </a:lnTo>
                  <a:lnTo>
                    <a:pt x="180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20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56" y="138"/>
                  </a:lnTo>
                  <a:lnTo>
                    <a:pt x="150" y="138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38" y="150"/>
                  </a:lnTo>
                  <a:lnTo>
                    <a:pt x="132" y="150"/>
                  </a:lnTo>
                  <a:lnTo>
                    <a:pt x="126" y="150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32" y="174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32" y="180"/>
                  </a:lnTo>
                  <a:lnTo>
                    <a:pt x="138" y="180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56" y="186"/>
                  </a:lnTo>
                  <a:lnTo>
                    <a:pt x="156" y="180"/>
                  </a:lnTo>
                  <a:lnTo>
                    <a:pt x="162" y="180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56" y="186"/>
                  </a:lnTo>
                  <a:lnTo>
                    <a:pt x="156" y="192"/>
                  </a:lnTo>
                  <a:lnTo>
                    <a:pt x="162" y="192"/>
                  </a:lnTo>
                  <a:lnTo>
                    <a:pt x="168" y="192"/>
                  </a:lnTo>
                  <a:lnTo>
                    <a:pt x="168" y="186"/>
                  </a:lnTo>
                  <a:lnTo>
                    <a:pt x="174" y="186"/>
                  </a:lnTo>
                  <a:lnTo>
                    <a:pt x="180" y="192"/>
                  </a:lnTo>
                  <a:lnTo>
                    <a:pt x="180" y="198"/>
                  </a:lnTo>
                  <a:lnTo>
                    <a:pt x="180" y="204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80" y="210"/>
                  </a:lnTo>
                  <a:lnTo>
                    <a:pt x="186" y="210"/>
                  </a:lnTo>
                  <a:lnTo>
                    <a:pt x="192" y="210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98" y="210"/>
                  </a:lnTo>
                  <a:lnTo>
                    <a:pt x="198" y="216"/>
                  </a:lnTo>
                  <a:lnTo>
                    <a:pt x="198" y="222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198" y="246"/>
                  </a:lnTo>
                  <a:lnTo>
                    <a:pt x="198" y="252"/>
                  </a:lnTo>
                  <a:lnTo>
                    <a:pt x="192" y="252"/>
                  </a:lnTo>
                  <a:lnTo>
                    <a:pt x="180" y="252"/>
                  </a:lnTo>
                  <a:lnTo>
                    <a:pt x="180" y="258"/>
                  </a:lnTo>
                  <a:lnTo>
                    <a:pt x="174" y="258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56" y="270"/>
                  </a:lnTo>
                  <a:lnTo>
                    <a:pt x="156" y="276"/>
                  </a:lnTo>
                  <a:lnTo>
                    <a:pt x="150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2" y="306"/>
                  </a:lnTo>
                  <a:lnTo>
                    <a:pt x="138" y="312"/>
                  </a:lnTo>
                  <a:lnTo>
                    <a:pt x="138" y="318"/>
                  </a:lnTo>
                  <a:lnTo>
                    <a:pt x="138" y="324"/>
                  </a:lnTo>
                  <a:lnTo>
                    <a:pt x="132" y="330"/>
                  </a:lnTo>
                  <a:lnTo>
                    <a:pt x="132" y="336"/>
                  </a:lnTo>
                  <a:lnTo>
                    <a:pt x="126" y="336"/>
                  </a:lnTo>
                  <a:lnTo>
                    <a:pt x="126" y="342"/>
                  </a:lnTo>
                  <a:lnTo>
                    <a:pt x="120" y="342"/>
                  </a:lnTo>
                  <a:lnTo>
                    <a:pt x="120" y="348"/>
                  </a:lnTo>
                  <a:lnTo>
                    <a:pt x="114" y="348"/>
                  </a:lnTo>
                  <a:lnTo>
                    <a:pt x="108" y="354"/>
                  </a:lnTo>
                  <a:lnTo>
                    <a:pt x="102" y="354"/>
                  </a:lnTo>
                  <a:lnTo>
                    <a:pt x="96" y="342"/>
                  </a:lnTo>
                  <a:lnTo>
                    <a:pt x="96" y="330"/>
                  </a:lnTo>
                  <a:lnTo>
                    <a:pt x="90" y="312"/>
                  </a:lnTo>
                  <a:lnTo>
                    <a:pt x="78" y="276"/>
                  </a:lnTo>
                  <a:lnTo>
                    <a:pt x="78" y="270"/>
                  </a:lnTo>
                  <a:lnTo>
                    <a:pt x="78" y="264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0" y="216"/>
                  </a:lnTo>
                  <a:lnTo>
                    <a:pt x="24" y="216"/>
                  </a:lnTo>
                  <a:lnTo>
                    <a:pt x="18" y="210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6" y="192"/>
                  </a:lnTo>
                  <a:lnTo>
                    <a:pt x="6" y="186"/>
                  </a:lnTo>
                  <a:lnTo>
                    <a:pt x="0" y="180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0" y="162"/>
                  </a:lnTo>
                  <a:lnTo>
                    <a:pt x="6" y="162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8" y="150"/>
                  </a:lnTo>
                  <a:lnTo>
                    <a:pt x="24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42" y="96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42" y="60"/>
                  </a:lnTo>
                  <a:lnTo>
                    <a:pt x="42" y="54"/>
                  </a:lnTo>
                  <a:lnTo>
                    <a:pt x="42" y="48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48" y="36"/>
                  </a:lnTo>
                  <a:lnTo>
                    <a:pt x="48" y="30"/>
                  </a:lnTo>
                  <a:lnTo>
                    <a:pt x="42" y="30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54" y="2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6" name="Freeform 29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316" y="1657"/>
              <a:ext cx="265" cy="189"/>
            </a:xfrm>
            <a:custGeom>
              <a:avLst/>
              <a:gdLst>
                <a:gd name="T0" fmla="*/ 28 w 312"/>
                <a:gd name="T1" fmla="*/ 16 h 222"/>
                <a:gd name="T2" fmla="*/ 35 w 312"/>
                <a:gd name="T3" fmla="*/ 7 h 222"/>
                <a:gd name="T4" fmla="*/ 41 w 312"/>
                <a:gd name="T5" fmla="*/ 7 h 222"/>
                <a:gd name="T6" fmla="*/ 54 w 312"/>
                <a:gd name="T7" fmla="*/ 7 h 222"/>
                <a:gd name="T8" fmla="*/ 56 w 312"/>
                <a:gd name="T9" fmla="*/ 3 h 222"/>
                <a:gd name="T10" fmla="*/ 63 w 312"/>
                <a:gd name="T11" fmla="*/ 3 h 222"/>
                <a:gd name="T12" fmla="*/ 65 w 312"/>
                <a:gd name="T13" fmla="*/ 0 h 222"/>
                <a:gd name="T14" fmla="*/ 75 w 312"/>
                <a:gd name="T15" fmla="*/ 3 h 222"/>
                <a:gd name="T16" fmla="*/ 87 w 312"/>
                <a:gd name="T17" fmla="*/ 3 h 222"/>
                <a:gd name="T18" fmla="*/ 93 w 312"/>
                <a:gd name="T19" fmla="*/ 9 h 222"/>
                <a:gd name="T20" fmla="*/ 99 w 312"/>
                <a:gd name="T21" fmla="*/ 16 h 222"/>
                <a:gd name="T22" fmla="*/ 109 w 312"/>
                <a:gd name="T23" fmla="*/ 22 h 222"/>
                <a:gd name="T24" fmla="*/ 116 w 312"/>
                <a:gd name="T25" fmla="*/ 32 h 222"/>
                <a:gd name="T26" fmla="*/ 119 w 312"/>
                <a:gd name="T27" fmla="*/ 35 h 222"/>
                <a:gd name="T28" fmla="*/ 128 w 312"/>
                <a:gd name="T29" fmla="*/ 44 h 222"/>
                <a:gd name="T30" fmla="*/ 134 w 312"/>
                <a:gd name="T31" fmla="*/ 51 h 222"/>
                <a:gd name="T32" fmla="*/ 141 w 312"/>
                <a:gd name="T33" fmla="*/ 56 h 222"/>
                <a:gd name="T34" fmla="*/ 141 w 312"/>
                <a:gd name="T35" fmla="*/ 63 h 222"/>
                <a:gd name="T36" fmla="*/ 144 w 312"/>
                <a:gd name="T37" fmla="*/ 72 h 222"/>
                <a:gd name="T38" fmla="*/ 144 w 312"/>
                <a:gd name="T39" fmla="*/ 82 h 222"/>
                <a:gd name="T40" fmla="*/ 153 w 312"/>
                <a:gd name="T41" fmla="*/ 89 h 222"/>
                <a:gd name="T42" fmla="*/ 160 w 312"/>
                <a:gd name="T43" fmla="*/ 95 h 222"/>
                <a:gd name="T44" fmla="*/ 160 w 312"/>
                <a:gd name="T45" fmla="*/ 105 h 222"/>
                <a:gd name="T46" fmla="*/ 160 w 312"/>
                <a:gd name="T47" fmla="*/ 114 h 222"/>
                <a:gd name="T48" fmla="*/ 147 w 312"/>
                <a:gd name="T49" fmla="*/ 114 h 222"/>
                <a:gd name="T50" fmla="*/ 137 w 312"/>
                <a:gd name="T51" fmla="*/ 117 h 222"/>
                <a:gd name="T52" fmla="*/ 128 w 312"/>
                <a:gd name="T53" fmla="*/ 114 h 222"/>
                <a:gd name="T54" fmla="*/ 119 w 312"/>
                <a:gd name="T55" fmla="*/ 110 h 222"/>
                <a:gd name="T56" fmla="*/ 112 w 312"/>
                <a:gd name="T57" fmla="*/ 107 h 222"/>
                <a:gd name="T58" fmla="*/ 71 w 312"/>
                <a:gd name="T59" fmla="*/ 107 h 222"/>
                <a:gd name="T60" fmla="*/ 56 w 312"/>
                <a:gd name="T61" fmla="*/ 110 h 222"/>
                <a:gd name="T62" fmla="*/ 41 w 312"/>
                <a:gd name="T63" fmla="*/ 110 h 222"/>
                <a:gd name="T64" fmla="*/ 28 w 312"/>
                <a:gd name="T65" fmla="*/ 114 h 222"/>
                <a:gd name="T66" fmla="*/ 25 w 312"/>
                <a:gd name="T67" fmla="*/ 110 h 222"/>
                <a:gd name="T68" fmla="*/ 31 w 312"/>
                <a:gd name="T69" fmla="*/ 107 h 222"/>
                <a:gd name="T70" fmla="*/ 22 w 312"/>
                <a:gd name="T71" fmla="*/ 110 h 222"/>
                <a:gd name="T72" fmla="*/ 22 w 312"/>
                <a:gd name="T73" fmla="*/ 105 h 222"/>
                <a:gd name="T74" fmla="*/ 31 w 312"/>
                <a:gd name="T75" fmla="*/ 95 h 222"/>
                <a:gd name="T76" fmla="*/ 50 w 312"/>
                <a:gd name="T77" fmla="*/ 89 h 222"/>
                <a:gd name="T78" fmla="*/ 63 w 312"/>
                <a:gd name="T79" fmla="*/ 89 h 222"/>
                <a:gd name="T80" fmla="*/ 65 w 312"/>
                <a:gd name="T81" fmla="*/ 85 h 222"/>
                <a:gd name="T82" fmla="*/ 75 w 312"/>
                <a:gd name="T83" fmla="*/ 89 h 222"/>
                <a:gd name="T84" fmla="*/ 84 w 312"/>
                <a:gd name="T85" fmla="*/ 91 h 222"/>
                <a:gd name="T86" fmla="*/ 93 w 312"/>
                <a:gd name="T87" fmla="*/ 89 h 222"/>
                <a:gd name="T88" fmla="*/ 91 w 312"/>
                <a:gd name="T89" fmla="*/ 82 h 222"/>
                <a:gd name="T90" fmla="*/ 82 w 312"/>
                <a:gd name="T91" fmla="*/ 82 h 222"/>
                <a:gd name="T92" fmla="*/ 71 w 312"/>
                <a:gd name="T93" fmla="*/ 79 h 222"/>
                <a:gd name="T94" fmla="*/ 63 w 312"/>
                <a:gd name="T95" fmla="*/ 79 h 222"/>
                <a:gd name="T96" fmla="*/ 56 w 312"/>
                <a:gd name="T97" fmla="*/ 79 h 222"/>
                <a:gd name="T98" fmla="*/ 25 w 312"/>
                <a:gd name="T99" fmla="*/ 82 h 222"/>
                <a:gd name="T100" fmla="*/ 25 w 312"/>
                <a:gd name="T101" fmla="*/ 76 h 222"/>
                <a:gd name="T102" fmla="*/ 22 w 312"/>
                <a:gd name="T103" fmla="*/ 72 h 222"/>
                <a:gd name="T104" fmla="*/ 19 w 312"/>
                <a:gd name="T105" fmla="*/ 69 h 222"/>
                <a:gd name="T106" fmla="*/ 15 w 312"/>
                <a:gd name="T107" fmla="*/ 60 h 222"/>
                <a:gd name="T108" fmla="*/ 9 w 312"/>
                <a:gd name="T109" fmla="*/ 54 h 222"/>
                <a:gd name="T110" fmla="*/ 3 w 312"/>
                <a:gd name="T111" fmla="*/ 51 h 222"/>
                <a:gd name="T112" fmla="*/ 15 w 312"/>
                <a:gd name="T113" fmla="*/ 44 h 222"/>
                <a:gd name="T114" fmla="*/ 25 w 312"/>
                <a:gd name="T115" fmla="*/ 32 h 222"/>
                <a:gd name="T116" fmla="*/ 28 w 312"/>
                <a:gd name="T117" fmla="*/ 19 h 2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12" h="222">
                  <a:moveTo>
                    <a:pt x="54" y="36"/>
                  </a:moveTo>
                  <a:lnTo>
                    <a:pt x="54" y="30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60" y="24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72" y="1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80" y="18"/>
                  </a:lnTo>
                  <a:lnTo>
                    <a:pt x="180" y="24"/>
                  </a:lnTo>
                  <a:lnTo>
                    <a:pt x="186" y="24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10" y="36"/>
                  </a:lnTo>
                  <a:lnTo>
                    <a:pt x="210" y="42"/>
                  </a:lnTo>
                  <a:lnTo>
                    <a:pt x="216" y="48"/>
                  </a:lnTo>
                  <a:lnTo>
                    <a:pt x="216" y="54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28" y="60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28" y="66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40" y="78"/>
                  </a:lnTo>
                  <a:lnTo>
                    <a:pt x="246" y="84"/>
                  </a:lnTo>
                  <a:lnTo>
                    <a:pt x="252" y="84"/>
                  </a:lnTo>
                  <a:lnTo>
                    <a:pt x="252" y="90"/>
                  </a:lnTo>
                  <a:lnTo>
                    <a:pt x="258" y="90"/>
                  </a:lnTo>
                  <a:lnTo>
                    <a:pt x="258" y="96"/>
                  </a:lnTo>
                  <a:lnTo>
                    <a:pt x="264" y="96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64" y="108"/>
                  </a:lnTo>
                  <a:lnTo>
                    <a:pt x="264" y="114"/>
                  </a:lnTo>
                  <a:lnTo>
                    <a:pt x="270" y="114"/>
                  </a:lnTo>
                  <a:lnTo>
                    <a:pt x="270" y="120"/>
                  </a:lnTo>
                  <a:lnTo>
                    <a:pt x="276" y="120"/>
                  </a:lnTo>
                  <a:lnTo>
                    <a:pt x="276" y="126"/>
                  </a:lnTo>
                  <a:lnTo>
                    <a:pt x="276" y="132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76" y="150"/>
                  </a:lnTo>
                  <a:lnTo>
                    <a:pt x="276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68"/>
                  </a:lnTo>
                  <a:lnTo>
                    <a:pt x="294" y="168"/>
                  </a:lnTo>
                  <a:lnTo>
                    <a:pt x="300" y="168"/>
                  </a:lnTo>
                  <a:lnTo>
                    <a:pt x="300" y="174"/>
                  </a:lnTo>
                  <a:lnTo>
                    <a:pt x="300" y="180"/>
                  </a:lnTo>
                  <a:lnTo>
                    <a:pt x="306" y="180"/>
                  </a:lnTo>
                  <a:lnTo>
                    <a:pt x="306" y="186"/>
                  </a:lnTo>
                  <a:lnTo>
                    <a:pt x="312" y="186"/>
                  </a:lnTo>
                  <a:lnTo>
                    <a:pt x="306" y="192"/>
                  </a:lnTo>
                  <a:lnTo>
                    <a:pt x="306" y="198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0"/>
                  </a:lnTo>
                  <a:lnTo>
                    <a:pt x="306" y="216"/>
                  </a:lnTo>
                  <a:lnTo>
                    <a:pt x="300" y="216"/>
                  </a:lnTo>
                  <a:lnTo>
                    <a:pt x="294" y="216"/>
                  </a:lnTo>
                  <a:lnTo>
                    <a:pt x="288" y="216"/>
                  </a:lnTo>
                  <a:lnTo>
                    <a:pt x="282" y="216"/>
                  </a:lnTo>
                  <a:lnTo>
                    <a:pt x="276" y="216"/>
                  </a:lnTo>
                  <a:lnTo>
                    <a:pt x="270" y="216"/>
                  </a:lnTo>
                  <a:lnTo>
                    <a:pt x="264" y="216"/>
                  </a:lnTo>
                  <a:lnTo>
                    <a:pt x="264" y="222"/>
                  </a:lnTo>
                  <a:lnTo>
                    <a:pt x="258" y="222"/>
                  </a:lnTo>
                  <a:lnTo>
                    <a:pt x="258" y="216"/>
                  </a:lnTo>
                  <a:lnTo>
                    <a:pt x="252" y="216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10"/>
                  </a:lnTo>
                  <a:lnTo>
                    <a:pt x="228" y="210"/>
                  </a:lnTo>
                  <a:lnTo>
                    <a:pt x="222" y="210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198" y="204"/>
                  </a:lnTo>
                  <a:lnTo>
                    <a:pt x="192" y="204"/>
                  </a:lnTo>
                  <a:lnTo>
                    <a:pt x="138" y="204"/>
                  </a:lnTo>
                  <a:lnTo>
                    <a:pt x="126" y="204"/>
                  </a:lnTo>
                  <a:lnTo>
                    <a:pt x="120" y="204"/>
                  </a:lnTo>
                  <a:lnTo>
                    <a:pt x="114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96" y="216"/>
                  </a:lnTo>
                  <a:lnTo>
                    <a:pt x="84" y="216"/>
                  </a:lnTo>
                  <a:lnTo>
                    <a:pt x="78" y="210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16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48" y="210"/>
                  </a:lnTo>
                  <a:lnTo>
                    <a:pt x="48" y="204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48" y="204"/>
                  </a:lnTo>
                  <a:lnTo>
                    <a:pt x="42" y="204"/>
                  </a:lnTo>
                  <a:lnTo>
                    <a:pt x="42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60" y="180"/>
                  </a:lnTo>
                  <a:lnTo>
                    <a:pt x="78" y="180"/>
                  </a:lnTo>
                  <a:lnTo>
                    <a:pt x="90" y="180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8" y="168"/>
                  </a:lnTo>
                  <a:lnTo>
                    <a:pt x="114" y="168"/>
                  </a:lnTo>
                  <a:lnTo>
                    <a:pt x="120" y="168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26" y="162"/>
                  </a:lnTo>
                  <a:lnTo>
                    <a:pt x="132" y="162"/>
                  </a:lnTo>
                  <a:lnTo>
                    <a:pt x="138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0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0" y="156"/>
                  </a:lnTo>
                  <a:lnTo>
                    <a:pt x="174" y="156"/>
                  </a:lnTo>
                  <a:lnTo>
                    <a:pt x="168" y="162"/>
                  </a:lnTo>
                  <a:lnTo>
                    <a:pt x="162" y="162"/>
                  </a:lnTo>
                  <a:lnTo>
                    <a:pt x="156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44" y="156"/>
                  </a:lnTo>
                  <a:lnTo>
                    <a:pt x="138" y="156"/>
                  </a:lnTo>
                  <a:lnTo>
                    <a:pt x="138" y="150"/>
                  </a:lnTo>
                  <a:lnTo>
                    <a:pt x="132" y="144"/>
                  </a:lnTo>
                  <a:lnTo>
                    <a:pt x="126" y="144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50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0" y="156"/>
                  </a:lnTo>
                  <a:lnTo>
                    <a:pt x="54" y="156"/>
                  </a:lnTo>
                  <a:lnTo>
                    <a:pt x="48" y="156"/>
                  </a:lnTo>
                  <a:lnTo>
                    <a:pt x="48" y="150"/>
                  </a:lnTo>
                  <a:lnTo>
                    <a:pt x="48" y="144"/>
                  </a:lnTo>
                  <a:lnTo>
                    <a:pt x="54" y="144"/>
                  </a:lnTo>
                  <a:lnTo>
                    <a:pt x="48" y="144"/>
                  </a:lnTo>
                  <a:lnTo>
                    <a:pt x="42" y="144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44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12" y="102"/>
                  </a:lnTo>
                  <a:lnTo>
                    <a:pt x="6" y="102"/>
                  </a:lnTo>
                  <a:lnTo>
                    <a:pt x="0" y="96"/>
                  </a:lnTo>
                  <a:lnTo>
                    <a:pt x="6" y="96"/>
                  </a:lnTo>
                  <a:lnTo>
                    <a:pt x="12" y="96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66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7" name="Freeform 30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428" y="1830"/>
              <a:ext cx="306" cy="230"/>
            </a:xfrm>
            <a:custGeom>
              <a:avLst/>
              <a:gdLst>
                <a:gd name="T0" fmla="*/ 9 w 360"/>
                <a:gd name="T1" fmla="*/ 28 h 270"/>
                <a:gd name="T2" fmla="*/ 28 w 360"/>
                <a:gd name="T3" fmla="*/ 22 h 270"/>
                <a:gd name="T4" fmla="*/ 28 w 360"/>
                <a:gd name="T5" fmla="*/ 16 h 270"/>
                <a:gd name="T6" fmla="*/ 35 w 360"/>
                <a:gd name="T7" fmla="*/ 9 h 270"/>
                <a:gd name="T8" fmla="*/ 41 w 360"/>
                <a:gd name="T9" fmla="*/ 0 h 270"/>
                <a:gd name="T10" fmla="*/ 54 w 360"/>
                <a:gd name="T11" fmla="*/ 3 h 270"/>
                <a:gd name="T12" fmla="*/ 65 w 360"/>
                <a:gd name="T13" fmla="*/ 9 h 270"/>
                <a:gd name="T14" fmla="*/ 82 w 360"/>
                <a:gd name="T15" fmla="*/ 7 h 270"/>
                <a:gd name="T16" fmla="*/ 88 w 360"/>
                <a:gd name="T17" fmla="*/ 12 h 270"/>
                <a:gd name="T18" fmla="*/ 100 w 360"/>
                <a:gd name="T19" fmla="*/ 9 h 270"/>
                <a:gd name="T20" fmla="*/ 110 w 360"/>
                <a:gd name="T21" fmla="*/ 16 h 270"/>
                <a:gd name="T22" fmla="*/ 119 w 360"/>
                <a:gd name="T23" fmla="*/ 12 h 270"/>
                <a:gd name="T24" fmla="*/ 128 w 360"/>
                <a:gd name="T25" fmla="*/ 12 h 270"/>
                <a:gd name="T26" fmla="*/ 138 w 360"/>
                <a:gd name="T27" fmla="*/ 12 h 270"/>
                <a:gd name="T28" fmla="*/ 145 w 360"/>
                <a:gd name="T29" fmla="*/ 7 h 270"/>
                <a:gd name="T30" fmla="*/ 150 w 360"/>
                <a:gd name="T31" fmla="*/ 7 h 270"/>
                <a:gd name="T32" fmla="*/ 160 w 360"/>
                <a:gd name="T33" fmla="*/ 16 h 270"/>
                <a:gd name="T34" fmla="*/ 162 w 360"/>
                <a:gd name="T35" fmla="*/ 28 h 270"/>
                <a:gd name="T36" fmla="*/ 167 w 360"/>
                <a:gd name="T37" fmla="*/ 37 h 270"/>
                <a:gd name="T38" fmla="*/ 169 w 360"/>
                <a:gd name="T39" fmla="*/ 41 h 270"/>
                <a:gd name="T40" fmla="*/ 173 w 360"/>
                <a:gd name="T41" fmla="*/ 56 h 270"/>
                <a:gd name="T42" fmla="*/ 179 w 360"/>
                <a:gd name="T43" fmla="*/ 66 h 270"/>
                <a:gd name="T44" fmla="*/ 176 w 360"/>
                <a:gd name="T45" fmla="*/ 73 h 270"/>
                <a:gd name="T46" fmla="*/ 176 w 360"/>
                <a:gd name="T47" fmla="*/ 79 h 270"/>
                <a:gd name="T48" fmla="*/ 185 w 360"/>
                <a:gd name="T49" fmla="*/ 82 h 270"/>
                <a:gd name="T50" fmla="*/ 188 w 360"/>
                <a:gd name="T51" fmla="*/ 91 h 270"/>
                <a:gd name="T52" fmla="*/ 185 w 360"/>
                <a:gd name="T53" fmla="*/ 101 h 270"/>
                <a:gd name="T54" fmla="*/ 185 w 360"/>
                <a:gd name="T55" fmla="*/ 110 h 270"/>
                <a:gd name="T56" fmla="*/ 176 w 360"/>
                <a:gd name="T57" fmla="*/ 107 h 270"/>
                <a:gd name="T58" fmla="*/ 176 w 360"/>
                <a:gd name="T59" fmla="*/ 114 h 270"/>
                <a:gd name="T60" fmla="*/ 182 w 360"/>
                <a:gd name="T61" fmla="*/ 120 h 270"/>
                <a:gd name="T62" fmla="*/ 179 w 360"/>
                <a:gd name="T63" fmla="*/ 129 h 270"/>
                <a:gd name="T64" fmla="*/ 167 w 360"/>
                <a:gd name="T65" fmla="*/ 129 h 270"/>
                <a:gd name="T66" fmla="*/ 160 w 360"/>
                <a:gd name="T67" fmla="*/ 140 h 270"/>
                <a:gd name="T68" fmla="*/ 150 w 360"/>
                <a:gd name="T69" fmla="*/ 142 h 270"/>
                <a:gd name="T70" fmla="*/ 142 w 360"/>
                <a:gd name="T71" fmla="*/ 140 h 270"/>
                <a:gd name="T72" fmla="*/ 145 w 360"/>
                <a:gd name="T73" fmla="*/ 124 h 270"/>
                <a:gd name="T74" fmla="*/ 138 w 360"/>
                <a:gd name="T75" fmla="*/ 110 h 270"/>
                <a:gd name="T76" fmla="*/ 134 w 360"/>
                <a:gd name="T77" fmla="*/ 107 h 270"/>
                <a:gd name="T78" fmla="*/ 122 w 360"/>
                <a:gd name="T79" fmla="*/ 107 h 270"/>
                <a:gd name="T80" fmla="*/ 110 w 360"/>
                <a:gd name="T81" fmla="*/ 114 h 270"/>
                <a:gd name="T82" fmla="*/ 116 w 360"/>
                <a:gd name="T83" fmla="*/ 101 h 270"/>
                <a:gd name="T84" fmla="*/ 110 w 360"/>
                <a:gd name="T85" fmla="*/ 89 h 270"/>
                <a:gd name="T86" fmla="*/ 104 w 360"/>
                <a:gd name="T87" fmla="*/ 76 h 270"/>
                <a:gd name="T88" fmla="*/ 71 w 360"/>
                <a:gd name="T89" fmla="*/ 69 h 270"/>
                <a:gd name="T90" fmla="*/ 63 w 360"/>
                <a:gd name="T91" fmla="*/ 79 h 270"/>
                <a:gd name="T92" fmla="*/ 54 w 360"/>
                <a:gd name="T93" fmla="*/ 89 h 270"/>
                <a:gd name="T94" fmla="*/ 43 w 360"/>
                <a:gd name="T95" fmla="*/ 91 h 270"/>
                <a:gd name="T96" fmla="*/ 41 w 360"/>
                <a:gd name="T97" fmla="*/ 91 h 270"/>
                <a:gd name="T98" fmla="*/ 37 w 360"/>
                <a:gd name="T99" fmla="*/ 86 h 270"/>
                <a:gd name="T100" fmla="*/ 31 w 360"/>
                <a:gd name="T101" fmla="*/ 79 h 270"/>
                <a:gd name="T102" fmla="*/ 31 w 360"/>
                <a:gd name="T103" fmla="*/ 73 h 270"/>
                <a:gd name="T104" fmla="*/ 22 w 360"/>
                <a:gd name="T105" fmla="*/ 66 h 270"/>
                <a:gd name="T106" fmla="*/ 16 w 360"/>
                <a:gd name="T107" fmla="*/ 63 h 270"/>
                <a:gd name="T108" fmla="*/ 7 w 360"/>
                <a:gd name="T109" fmla="*/ 54 h 270"/>
                <a:gd name="T110" fmla="*/ 7 w 360"/>
                <a:gd name="T111" fmla="*/ 54 h 270"/>
                <a:gd name="T112" fmla="*/ 3 w 360"/>
                <a:gd name="T113" fmla="*/ 44 h 270"/>
                <a:gd name="T114" fmla="*/ 0 w 360"/>
                <a:gd name="T115" fmla="*/ 41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60" h="270">
                  <a:moveTo>
                    <a:pt x="0" y="78"/>
                  </a:move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54" y="42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54" y="30"/>
                  </a:lnTo>
                  <a:lnTo>
                    <a:pt x="54" y="24"/>
                  </a:lnTo>
                  <a:lnTo>
                    <a:pt x="48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12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4" y="12"/>
                  </a:lnTo>
                  <a:lnTo>
                    <a:pt x="174" y="18"/>
                  </a:lnTo>
                  <a:lnTo>
                    <a:pt x="168" y="18"/>
                  </a:lnTo>
                  <a:lnTo>
                    <a:pt x="168" y="24"/>
                  </a:lnTo>
                  <a:lnTo>
                    <a:pt x="174" y="24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86" y="24"/>
                  </a:lnTo>
                  <a:lnTo>
                    <a:pt x="192" y="24"/>
                  </a:lnTo>
                  <a:lnTo>
                    <a:pt x="192" y="18"/>
                  </a:lnTo>
                  <a:lnTo>
                    <a:pt x="192" y="24"/>
                  </a:lnTo>
                  <a:lnTo>
                    <a:pt x="198" y="18"/>
                  </a:lnTo>
                  <a:lnTo>
                    <a:pt x="198" y="24"/>
                  </a:lnTo>
                  <a:lnTo>
                    <a:pt x="204" y="24"/>
                  </a:lnTo>
                  <a:lnTo>
                    <a:pt x="204" y="30"/>
                  </a:lnTo>
                  <a:lnTo>
                    <a:pt x="210" y="30"/>
                  </a:lnTo>
                  <a:lnTo>
                    <a:pt x="210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24"/>
                  </a:lnTo>
                  <a:lnTo>
                    <a:pt x="228" y="24"/>
                  </a:lnTo>
                  <a:lnTo>
                    <a:pt x="228" y="18"/>
                  </a:lnTo>
                  <a:lnTo>
                    <a:pt x="228" y="24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52" y="24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64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94" y="24"/>
                  </a:lnTo>
                  <a:lnTo>
                    <a:pt x="300" y="24"/>
                  </a:lnTo>
                  <a:lnTo>
                    <a:pt x="300" y="30"/>
                  </a:lnTo>
                  <a:lnTo>
                    <a:pt x="306" y="30"/>
                  </a:lnTo>
                  <a:lnTo>
                    <a:pt x="306" y="36"/>
                  </a:lnTo>
                  <a:lnTo>
                    <a:pt x="306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54"/>
                  </a:lnTo>
                  <a:lnTo>
                    <a:pt x="312" y="60"/>
                  </a:lnTo>
                  <a:lnTo>
                    <a:pt x="318" y="60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18" y="66"/>
                  </a:lnTo>
                  <a:lnTo>
                    <a:pt x="318" y="72"/>
                  </a:lnTo>
                  <a:lnTo>
                    <a:pt x="312" y="72"/>
                  </a:lnTo>
                  <a:lnTo>
                    <a:pt x="312" y="78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0" y="90"/>
                  </a:lnTo>
                  <a:lnTo>
                    <a:pt x="330" y="96"/>
                  </a:lnTo>
                  <a:lnTo>
                    <a:pt x="330" y="102"/>
                  </a:lnTo>
                  <a:lnTo>
                    <a:pt x="330" y="108"/>
                  </a:lnTo>
                  <a:lnTo>
                    <a:pt x="336" y="108"/>
                  </a:lnTo>
                  <a:lnTo>
                    <a:pt x="336" y="114"/>
                  </a:lnTo>
                  <a:lnTo>
                    <a:pt x="342" y="114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36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2" y="162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54" y="156"/>
                  </a:lnTo>
                  <a:lnTo>
                    <a:pt x="354" y="162"/>
                  </a:lnTo>
                  <a:lnTo>
                    <a:pt x="348" y="162"/>
                  </a:lnTo>
                  <a:lnTo>
                    <a:pt x="348" y="168"/>
                  </a:lnTo>
                  <a:lnTo>
                    <a:pt x="348" y="174"/>
                  </a:lnTo>
                  <a:lnTo>
                    <a:pt x="354" y="174"/>
                  </a:lnTo>
                  <a:lnTo>
                    <a:pt x="360" y="174"/>
                  </a:lnTo>
                  <a:lnTo>
                    <a:pt x="354" y="174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8" y="186"/>
                  </a:lnTo>
                  <a:lnTo>
                    <a:pt x="348" y="192"/>
                  </a:lnTo>
                  <a:lnTo>
                    <a:pt x="354" y="192"/>
                  </a:lnTo>
                  <a:lnTo>
                    <a:pt x="360" y="198"/>
                  </a:lnTo>
                  <a:lnTo>
                    <a:pt x="360" y="204"/>
                  </a:lnTo>
                  <a:lnTo>
                    <a:pt x="360" y="210"/>
                  </a:lnTo>
                  <a:lnTo>
                    <a:pt x="354" y="210"/>
                  </a:lnTo>
                  <a:lnTo>
                    <a:pt x="354" y="204"/>
                  </a:lnTo>
                  <a:lnTo>
                    <a:pt x="354" y="210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8" y="210"/>
                  </a:lnTo>
                  <a:lnTo>
                    <a:pt x="348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6" y="210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36" y="210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0" y="216"/>
                  </a:lnTo>
                  <a:lnTo>
                    <a:pt x="336" y="216"/>
                  </a:lnTo>
                  <a:lnTo>
                    <a:pt x="336" y="222"/>
                  </a:lnTo>
                  <a:lnTo>
                    <a:pt x="342" y="222"/>
                  </a:lnTo>
                  <a:lnTo>
                    <a:pt x="342" y="228"/>
                  </a:lnTo>
                  <a:lnTo>
                    <a:pt x="348" y="228"/>
                  </a:lnTo>
                  <a:lnTo>
                    <a:pt x="342" y="228"/>
                  </a:lnTo>
                  <a:lnTo>
                    <a:pt x="342" y="234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36" y="246"/>
                  </a:lnTo>
                  <a:lnTo>
                    <a:pt x="336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18" y="252"/>
                  </a:lnTo>
                  <a:lnTo>
                    <a:pt x="318" y="246"/>
                  </a:lnTo>
                  <a:lnTo>
                    <a:pt x="312" y="246"/>
                  </a:lnTo>
                  <a:lnTo>
                    <a:pt x="306" y="252"/>
                  </a:lnTo>
                  <a:lnTo>
                    <a:pt x="312" y="252"/>
                  </a:lnTo>
                  <a:lnTo>
                    <a:pt x="306" y="258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306" y="264"/>
                  </a:lnTo>
                  <a:lnTo>
                    <a:pt x="300" y="264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88" y="270"/>
                  </a:lnTo>
                  <a:lnTo>
                    <a:pt x="288" y="264"/>
                  </a:lnTo>
                  <a:lnTo>
                    <a:pt x="282" y="264"/>
                  </a:lnTo>
                  <a:lnTo>
                    <a:pt x="282" y="258"/>
                  </a:lnTo>
                  <a:lnTo>
                    <a:pt x="276" y="258"/>
                  </a:lnTo>
                  <a:lnTo>
                    <a:pt x="270" y="258"/>
                  </a:lnTo>
                  <a:lnTo>
                    <a:pt x="270" y="264"/>
                  </a:lnTo>
                  <a:lnTo>
                    <a:pt x="270" y="258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6" y="240"/>
                  </a:lnTo>
                  <a:lnTo>
                    <a:pt x="276" y="234"/>
                  </a:lnTo>
                  <a:lnTo>
                    <a:pt x="276" y="228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70" y="216"/>
                  </a:lnTo>
                  <a:lnTo>
                    <a:pt x="270" y="210"/>
                  </a:lnTo>
                  <a:lnTo>
                    <a:pt x="264" y="210"/>
                  </a:lnTo>
                  <a:lnTo>
                    <a:pt x="264" y="204"/>
                  </a:lnTo>
                  <a:lnTo>
                    <a:pt x="258" y="204"/>
                  </a:lnTo>
                  <a:lnTo>
                    <a:pt x="258" y="210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58" y="204"/>
                  </a:lnTo>
                  <a:lnTo>
                    <a:pt x="252" y="204"/>
                  </a:lnTo>
                  <a:lnTo>
                    <a:pt x="246" y="204"/>
                  </a:lnTo>
                  <a:lnTo>
                    <a:pt x="246" y="210"/>
                  </a:lnTo>
                  <a:lnTo>
                    <a:pt x="240" y="210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10"/>
                  </a:lnTo>
                  <a:lnTo>
                    <a:pt x="222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0" y="216"/>
                  </a:lnTo>
                  <a:lnTo>
                    <a:pt x="210" y="210"/>
                  </a:lnTo>
                  <a:lnTo>
                    <a:pt x="210" y="204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22" y="198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16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10" y="162"/>
                  </a:lnTo>
                  <a:lnTo>
                    <a:pt x="204" y="162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2" y="138"/>
                  </a:lnTo>
                  <a:lnTo>
                    <a:pt x="186" y="138"/>
                  </a:lnTo>
                  <a:lnTo>
                    <a:pt x="186" y="132"/>
                  </a:lnTo>
                  <a:lnTo>
                    <a:pt x="150" y="132"/>
                  </a:lnTo>
                  <a:lnTo>
                    <a:pt x="138" y="138"/>
                  </a:lnTo>
                  <a:lnTo>
                    <a:pt x="138" y="132"/>
                  </a:lnTo>
                  <a:lnTo>
                    <a:pt x="132" y="132"/>
                  </a:lnTo>
                  <a:lnTo>
                    <a:pt x="132" y="138"/>
                  </a:lnTo>
                  <a:lnTo>
                    <a:pt x="126" y="138"/>
                  </a:lnTo>
                  <a:lnTo>
                    <a:pt x="120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8" y="168"/>
                  </a:lnTo>
                  <a:lnTo>
                    <a:pt x="102" y="168"/>
                  </a:lnTo>
                  <a:lnTo>
                    <a:pt x="96" y="168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90" y="180"/>
                  </a:lnTo>
                  <a:lnTo>
                    <a:pt x="90" y="174"/>
                  </a:lnTo>
                  <a:lnTo>
                    <a:pt x="84" y="174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84" y="168"/>
                  </a:lnTo>
                  <a:lnTo>
                    <a:pt x="84" y="174"/>
                  </a:lnTo>
                  <a:lnTo>
                    <a:pt x="78" y="174"/>
                  </a:lnTo>
                  <a:lnTo>
                    <a:pt x="78" y="168"/>
                  </a:lnTo>
                  <a:lnTo>
                    <a:pt x="78" y="162"/>
                  </a:lnTo>
                  <a:lnTo>
                    <a:pt x="78" y="168"/>
                  </a:lnTo>
                  <a:lnTo>
                    <a:pt x="72" y="162"/>
                  </a:lnTo>
                  <a:lnTo>
                    <a:pt x="78" y="162"/>
                  </a:lnTo>
                  <a:lnTo>
                    <a:pt x="72" y="162"/>
                  </a:lnTo>
                  <a:lnTo>
                    <a:pt x="72" y="156"/>
                  </a:lnTo>
                  <a:lnTo>
                    <a:pt x="66" y="156"/>
                  </a:lnTo>
                  <a:lnTo>
                    <a:pt x="66" y="150"/>
                  </a:lnTo>
                  <a:lnTo>
                    <a:pt x="66" y="156"/>
                  </a:lnTo>
                  <a:lnTo>
                    <a:pt x="60" y="156"/>
                  </a:lnTo>
                  <a:lnTo>
                    <a:pt x="60" y="150"/>
                  </a:lnTo>
                  <a:lnTo>
                    <a:pt x="66" y="150"/>
                  </a:lnTo>
                  <a:lnTo>
                    <a:pt x="66" y="144"/>
                  </a:lnTo>
                  <a:lnTo>
                    <a:pt x="66" y="138"/>
                  </a:lnTo>
                  <a:lnTo>
                    <a:pt x="66" y="144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60" y="132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48" y="132"/>
                  </a:lnTo>
                  <a:lnTo>
                    <a:pt x="42" y="132"/>
                  </a:lnTo>
                  <a:lnTo>
                    <a:pt x="42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8" name="Freeform 3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494" y="1943"/>
              <a:ext cx="128" cy="127"/>
            </a:xfrm>
            <a:custGeom>
              <a:avLst/>
              <a:gdLst>
                <a:gd name="T0" fmla="*/ 7 w 150"/>
                <a:gd name="T1" fmla="*/ 21 h 150"/>
                <a:gd name="T2" fmla="*/ 9 w 150"/>
                <a:gd name="T3" fmla="*/ 21 h 150"/>
                <a:gd name="T4" fmla="*/ 16 w 150"/>
                <a:gd name="T5" fmla="*/ 18 h 150"/>
                <a:gd name="T6" fmla="*/ 19 w 150"/>
                <a:gd name="T7" fmla="*/ 12 h 150"/>
                <a:gd name="T8" fmla="*/ 22 w 150"/>
                <a:gd name="T9" fmla="*/ 6 h 150"/>
                <a:gd name="T10" fmla="*/ 28 w 150"/>
                <a:gd name="T11" fmla="*/ 3 h 150"/>
                <a:gd name="T12" fmla="*/ 32 w 150"/>
                <a:gd name="T13" fmla="*/ 3 h 150"/>
                <a:gd name="T14" fmla="*/ 57 w 150"/>
                <a:gd name="T15" fmla="*/ 3 h 150"/>
                <a:gd name="T16" fmla="*/ 63 w 150"/>
                <a:gd name="T17" fmla="*/ 9 h 150"/>
                <a:gd name="T18" fmla="*/ 67 w 150"/>
                <a:gd name="T19" fmla="*/ 15 h 150"/>
                <a:gd name="T20" fmla="*/ 70 w 150"/>
                <a:gd name="T21" fmla="*/ 21 h 150"/>
                <a:gd name="T22" fmla="*/ 73 w 150"/>
                <a:gd name="T23" fmla="*/ 28 h 150"/>
                <a:gd name="T24" fmla="*/ 77 w 150"/>
                <a:gd name="T25" fmla="*/ 34 h 150"/>
                <a:gd name="T26" fmla="*/ 70 w 150"/>
                <a:gd name="T27" fmla="*/ 37 h 150"/>
                <a:gd name="T28" fmla="*/ 70 w 150"/>
                <a:gd name="T29" fmla="*/ 40 h 150"/>
                <a:gd name="T30" fmla="*/ 77 w 150"/>
                <a:gd name="T31" fmla="*/ 40 h 150"/>
                <a:gd name="T32" fmla="*/ 79 w 150"/>
                <a:gd name="T33" fmla="*/ 43 h 150"/>
                <a:gd name="T34" fmla="*/ 73 w 150"/>
                <a:gd name="T35" fmla="*/ 49 h 150"/>
                <a:gd name="T36" fmla="*/ 70 w 150"/>
                <a:gd name="T37" fmla="*/ 58 h 150"/>
                <a:gd name="T38" fmla="*/ 63 w 150"/>
                <a:gd name="T39" fmla="*/ 62 h 150"/>
                <a:gd name="T40" fmla="*/ 57 w 150"/>
                <a:gd name="T41" fmla="*/ 68 h 150"/>
                <a:gd name="T42" fmla="*/ 54 w 150"/>
                <a:gd name="T43" fmla="*/ 74 h 150"/>
                <a:gd name="T44" fmla="*/ 44 w 150"/>
                <a:gd name="T45" fmla="*/ 74 h 150"/>
                <a:gd name="T46" fmla="*/ 28 w 150"/>
                <a:gd name="T47" fmla="*/ 68 h 150"/>
                <a:gd name="T48" fmla="*/ 26 w 150"/>
                <a:gd name="T49" fmla="*/ 65 h 150"/>
                <a:gd name="T50" fmla="*/ 22 w 150"/>
                <a:gd name="T51" fmla="*/ 65 h 150"/>
                <a:gd name="T52" fmla="*/ 26 w 150"/>
                <a:gd name="T53" fmla="*/ 62 h 150"/>
                <a:gd name="T54" fmla="*/ 26 w 150"/>
                <a:gd name="T55" fmla="*/ 58 h 150"/>
                <a:gd name="T56" fmla="*/ 22 w 150"/>
                <a:gd name="T57" fmla="*/ 58 h 150"/>
                <a:gd name="T58" fmla="*/ 16 w 150"/>
                <a:gd name="T59" fmla="*/ 58 h 150"/>
                <a:gd name="T60" fmla="*/ 13 w 150"/>
                <a:gd name="T61" fmla="*/ 52 h 150"/>
                <a:gd name="T62" fmla="*/ 16 w 150"/>
                <a:gd name="T63" fmla="*/ 52 h 150"/>
                <a:gd name="T64" fmla="*/ 13 w 150"/>
                <a:gd name="T65" fmla="*/ 46 h 150"/>
                <a:gd name="T66" fmla="*/ 7 w 150"/>
                <a:gd name="T67" fmla="*/ 43 h 150"/>
                <a:gd name="T68" fmla="*/ 3 w 150"/>
                <a:gd name="T69" fmla="*/ 43 h 150"/>
                <a:gd name="T70" fmla="*/ 7 w 150"/>
                <a:gd name="T71" fmla="*/ 37 h 150"/>
                <a:gd name="T72" fmla="*/ 7 w 150"/>
                <a:gd name="T73" fmla="*/ 40 h 150"/>
                <a:gd name="T74" fmla="*/ 13 w 150"/>
                <a:gd name="T75" fmla="*/ 37 h 150"/>
                <a:gd name="T76" fmla="*/ 7 w 150"/>
                <a:gd name="T77" fmla="*/ 37 h 150"/>
                <a:gd name="T78" fmla="*/ 3 w 150"/>
                <a:gd name="T79" fmla="*/ 37 h 150"/>
                <a:gd name="T80" fmla="*/ 3 w 150"/>
                <a:gd name="T81" fmla="*/ 34 h 150"/>
                <a:gd name="T82" fmla="*/ 7 w 150"/>
                <a:gd name="T83" fmla="*/ 28 h 150"/>
                <a:gd name="T84" fmla="*/ 3 w 150"/>
                <a:gd name="T85" fmla="*/ 28 h 15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50" h="150">
                  <a:moveTo>
                    <a:pt x="0" y="48"/>
                  </a:moveTo>
                  <a:lnTo>
                    <a:pt x="6" y="42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72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32" y="36"/>
                  </a:lnTo>
                  <a:lnTo>
                    <a:pt x="132" y="42"/>
                  </a:lnTo>
                  <a:lnTo>
                    <a:pt x="138" y="42"/>
                  </a:lnTo>
                  <a:lnTo>
                    <a:pt x="138" y="48"/>
                  </a:lnTo>
                  <a:lnTo>
                    <a:pt x="138" y="54"/>
                  </a:lnTo>
                  <a:lnTo>
                    <a:pt x="138" y="60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32" y="84"/>
                  </a:lnTo>
                  <a:lnTo>
                    <a:pt x="132" y="78"/>
                  </a:lnTo>
                  <a:lnTo>
                    <a:pt x="138" y="84"/>
                  </a:lnTo>
                  <a:lnTo>
                    <a:pt x="144" y="84"/>
                  </a:lnTo>
                  <a:lnTo>
                    <a:pt x="144" y="78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0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8"/>
                  </a:lnTo>
                  <a:lnTo>
                    <a:pt x="132" y="108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02" y="138"/>
                  </a:lnTo>
                  <a:lnTo>
                    <a:pt x="102" y="144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2" y="138"/>
                  </a:lnTo>
                  <a:lnTo>
                    <a:pt x="54" y="132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48" y="126"/>
                  </a:lnTo>
                  <a:lnTo>
                    <a:pt x="42" y="126"/>
                  </a:lnTo>
                  <a:lnTo>
                    <a:pt x="48" y="120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0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14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18" y="102"/>
                  </a:lnTo>
                  <a:lnTo>
                    <a:pt x="24" y="102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6" y="78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12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79" name="Freeform 32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826" y="1728"/>
              <a:ext cx="336" cy="240"/>
            </a:xfrm>
            <a:custGeom>
              <a:avLst/>
              <a:gdLst>
                <a:gd name="T0" fmla="*/ 3 w 396"/>
                <a:gd name="T1" fmla="*/ 110 h 282"/>
                <a:gd name="T2" fmla="*/ 6 w 396"/>
                <a:gd name="T3" fmla="*/ 100 h 282"/>
                <a:gd name="T4" fmla="*/ 9 w 396"/>
                <a:gd name="T5" fmla="*/ 91 h 282"/>
                <a:gd name="T6" fmla="*/ 6 w 396"/>
                <a:gd name="T7" fmla="*/ 85 h 282"/>
                <a:gd name="T8" fmla="*/ 6 w 396"/>
                <a:gd name="T9" fmla="*/ 85 h 282"/>
                <a:gd name="T10" fmla="*/ 15 w 396"/>
                <a:gd name="T11" fmla="*/ 79 h 282"/>
                <a:gd name="T12" fmla="*/ 25 w 396"/>
                <a:gd name="T13" fmla="*/ 72 h 282"/>
                <a:gd name="T14" fmla="*/ 25 w 396"/>
                <a:gd name="T15" fmla="*/ 63 h 282"/>
                <a:gd name="T16" fmla="*/ 35 w 396"/>
                <a:gd name="T17" fmla="*/ 56 h 282"/>
                <a:gd name="T18" fmla="*/ 35 w 396"/>
                <a:gd name="T19" fmla="*/ 48 h 282"/>
                <a:gd name="T20" fmla="*/ 37 w 396"/>
                <a:gd name="T21" fmla="*/ 41 h 282"/>
                <a:gd name="T22" fmla="*/ 50 w 396"/>
                <a:gd name="T23" fmla="*/ 48 h 282"/>
                <a:gd name="T24" fmla="*/ 59 w 396"/>
                <a:gd name="T25" fmla="*/ 41 h 282"/>
                <a:gd name="T26" fmla="*/ 59 w 396"/>
                <a:gd name="T27" fmla="*/ 35 h 282"/>
                <a:gd name="T28" fmla="*/ 69 w 396"/>
                <a:gd name="T29" fmla="*/ 35 h 282"/>
                <a:gd name="T30" fmla="*/ 78 w 396"/>
                <a:gd name="T31" fmla="*/ 19 h 282"/>
                <a:gd name="T32" fmla="*/ 93 w 396"/>
                <a:gd name="T33" fmla="*/ 16 h 282"/>
                <a:gd name="T34" fmla="*/ 118 w 396"/>
                <a:gd name="T35" fmla="*/ 3 h 282"/>
                <a:gd name="T36" fmla="*/ 143 w 396"/>
                <a:gd name="T37" fmla="*/ 3 h 282"/>
                <a:gd name="T38" fmla="*/ 146 w 396"/>
                <a:gd name="T39" fmla="*/ 7 h 282"/>
                <a:gd name="T40" fmla="*/ 152 w 396"/>
                <a:gd name="T41" fmla="*/ 19 h 282"/>
                <a:gd name="T42" fmla="*/ 155 w 396"/>
                <a:gd name="T43" fmla="*/ 31 h 282"/>
                <a:gd name="T44" fmla="*/ 165 w 396"/>
                <a:gd name="T45" fmla="*/ 37 h 282"/>
                <a:gd name="T46" fmla="*/ 174 w 396"/>
                <a:gd name="T47" fmla="*/ 43 h 282"/>
                <a:gd name="T48" fmla="*/ 183 w 396"/>
                <a:gd name="T49" fmla="*/ 63 h 282"/>
                <a:gd name="T50" fmla="*/ 199 w 396"/>
                <a:gd name="T51" fmla="*/ 63 h 282"/>
                <a:gd name="T52" fmla="*/ 205 w 396"/>
                <a:gd name="T53" fmla="*/ 82 h 282"/>
                <a:gd name="T54" fmla="*/ 202 w 396"/>
                <a:gd name="T55" fmla="*/ 89 h 282"/>
                <a:gd name="T56" fmla="*/ 187 w 396"/>
                <a:gd name="T57" fmla="*/ 94 h 282"/>
                <a:gd name="T58" fmla="*/ 174 w 396"/>
                <a:gd name="T59" fmla="*/ 97 h 282"/>
                <a:gd name="T60" fmla="*/ 168 w 396"/>
                <a:gd name="T61" fmla="*/ 100 h 282"/>
                <a:gd name="T62" fmla="*/ 160 w 396"/>
                <a:gd name="T63" fmla="*/ 107 h 282"/>
                <a:gd name="T64" fmla="*/ 134 w 396"/>
                <a:gd name="T65" fmla="*/ 105 h 282"/>
                <a:gd name="T66" fmla="*/ 127 w 396"/>
                <a:gd name="T67" fmla="*/ 105 h 282"/>
                <a:gd name="T68" fmla="*/ 121 w 396"/>
                <a:gd name="T69" fmla="*/ 107 h 282"/>
                <a:gd name="T70" fmla="*/ 112 w 396"/>
                <a:gd name="T71" fmla="*/ 107 h 282"/>
                <a:gd name="T72" fmla="*/ 99 w 396"/>
                <a:gd name="T73" fmla="*/ 107 h 282"/>
                <a:gd name="T74" fmla="*/ 78 w 396"/>
                <a:gd name="T75" fmla="*/ 107 h 282"/>
                <a:gd name="T76" fmla="*/ 69 w 396"/>
                <a:gd name="T77" fmla="*/ 107 h 282"/>
                <a:gd name="T78" fmla="*/ 65 w 396"/>
                <a:gd name="T79" fmla="*/ 117 h 282"/>
                <a:gd name="T80" fmla="*/ 69 w 396"/>
                <a:gd name="T81" fmla="*/ 119 h 282"/>
                <a:gd name="T82" fmla="*/ 69 w 396"/>
                <a:gd name="T83" fmla="*/ 129 h 282"/>
                <a:gd name="T84" fmla="*/ 71 w 396"/>
                <a:gd name="T85" fmla="*/ 139 h 282"/>
                <a:gd name="T86" fmla="*/ 71 w 396"/>
                <a:gd name="T87" fmla="*/ 148 h 282"/>
                <a:gd name="T88" fmla="*/ 63 w 396"/>
                <a:gd name="T89" fmla="*/ 139 h 282"/>
                <a:gd name="T90" fmla="*/ 56 w 396"/>
                <a:gd name="T91" fmla="*/ 135 h 282"/>
                <a:gd name="T92" fmla="*/ 43 w 396"/>
                <a:gd name="T93" fmla="*/ 132 h 282"/>
                <a:gd name="T94" fmla="*/ 35 w 396"/>
                <a:gd name="T95" fmla="*/ 139 h 282"/>
                <a:gd name="T96" fmla="*/ 25 w 396"/>
                <a:gd name="T97" fmla="*/ 139 h 282"/>
                <a:gd name="T98" fmla="*/ 12 w 396"/>
                <a:gd name="T99" fmla="*/ 135 h 282"/>
                <a:gd name="T100" fmla="*/ 12 w 396"/>
                <a:gd name="T101" fmla="*/ 129 h 282"/>
                <a:gd name="T102" fmla="*/ 9 w 396"/>
                <a:gd name="T103" fmla="*/ 123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96" h="282">
                  <a:moveTo>
                    <a:pt x="0" y="228"/>
                  </a:moveTo>
                  <a:lnTo>
                    <a:pt x="0" y="222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0" y="204"/>
                  </a:lnTo>
                  <a:lnTo>
                    <a:pt x="0" y="198"/>
                  </a:lnTo>
                  <a:lnTo>
                    <a:pt x="6" y="198"/>
                  </a:lnTo>
                  <a:lnTo>
                    <a:pt x="6" y="192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6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2" y="162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6" y="114"/>
                  </a:lnTo>
                  <a:lnTo>
                    <a:pt x="66" y="108"/>
                  </a:lnTo>
                  <a:lnTo>
                    <a:pt x="66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72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84" y="84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08" y="78"/>
                  </a:lnTo>
                  <a:lnTo>
                    <a:pt x="114" y="72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72"/>
                  </a:lnTo>
                  <a:lnTo>
                    <a:pt x="126" y="66"/>
                  </a:lnTo>
                  <a:lnTo>
                    <a:pt x="126" y="72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32" y="54"/>
                  </a:lnTo>
                  <a:lnTo>
                    <a:pt x="132" y="48"/>
                  </a:lnTo>
                  <a:lnTo>
                    <a:pt x="144" y="48"/>
                  </a:lnTo>
                  <a:lnTo>
                    <a:pt x="150" y="36"/>
                  </a:lnTo>
                  <a:lnTo>
                    <a:pt x="162" y="42"/>
                  </a:lnTo>
                  <a:lnTo>
                    <a:pt x="168" y="42"/>
                  </a:lnTo>
                  <a:lnTo>
                    <a:pt x="174" y="42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24"/>
                  </a:lnTo>
                  <a:lnTo>
                    <a:pt x="210" y="18"/>
                  </a:lnTo>
                  <a:lnTo>
                    <a:pt x="222" y="12"/>
                  </a:lnTo>
                  <a:lnTo>
                    <a:pt x="228" y="6"/>
                  </a:lnTo>
                  <a:lnTo>
                    <a:pt x="240" y="0"/>
                  </a:lnTo>
                  <a:lnTo>
                    <a:pt x="252" y="0"/>
                  </a:lnTo>
                  <a:lnTo>
                    <a:pt x="264" y="0"/>
                  </a:lnTo>
                  <a:lnTo>
                    <a:pt x="276" y="0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2" y="0"/>
                  </a:lnTo>
                  <a:lnTo>
                    <a:pt x="288" y="0"/>
                  </a:lnTo>
                  <a:lnTo>
                    <a:pt x="288" y="6"/>
                  </a:lnTo>
                  <a:lnTo>
                    <a:pt x="282" y="12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6"/>
                  </a:lnTo>
                  <a:lnTo>
                    <a:pt x="294" y="36"/>
                  </a:lnTo>
                  <a:lnTo>
                    <a:pt x="294" y="42"/>
                  </a:lnTo>
                  <a:lnTo>
                    <a:pt x="294" y="48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0" y="60"/>
                  </a:lnTo>
                  <a:lnTo>
                    <a:pt x="306" y="60"/>
                  </a:lnTo>
                  <a:lnTo>
                    <a:pt x="306" y="66"/>
                  </a:lnTo>
                  <a:lnTo>
                    <a:pt x="312" y="66"/>
                  </a:lnTo>
                  <a:lnTo>
                    <a:pt x="312" y="72"/>
                  </a:lnTo>
                  <a:lnTo>
                    <a:pt x="318" y="72"/>
                  </a:lnTo>
                  <a:lnTo>
                    <a:pt x="324" y="72"/>
                  </a:lnTo>
                  <a:lnTo>
                    <a:pt x="324" y="78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36" y="84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54" y="120"/>
                  </a:lnTo>
                  <a:lnTo>
                    <a:pt x="366" y="120"/>
                  </a:lnTo>
                  <a:lnTo>
                    <a:pt x="372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78" y="132"/>
                  </a:lnTo>
                  <a:lnTo>
                    <a:pt x="378" y="138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6" y="156"/>
                  </a:lnTo>
                  <a:lnTo>
                    <a:pt x="390" y="156"/>
                  </a:lnTo>
                  <a:lnTo>
                    <a:pt x="390" y="162"/>
                  </a:lnTo>
                  <a:lnTo>
                    <a:pt x="390" y="168"/>
                  </a:lnTo>
                  <a:lnTo>
                    <a:pt x="384" y="168"/>
                  </a:lnTo>
                  <a:lnTo>
                    <a:pt x="384" y="174"/>
                  </a:lnTo>
                  <a:lnTo>
                    <a:pt x="372" y="180"/>
                  </a:lnTo>
                  <a:lnTo>
                    <a:pt x="366" y="180"/>
                  </a:lnTo>
                  <a:lnTo>
                    <a:pt x="360" y="180"/>
                  </a:lnTo>
                  <a:lnTo>
                    <a:pt x="354" y="180"/>
                  </a:lnTo>
                  <a:lnTo>
                    <a:pt x="348" y="180"/>
                  </a:lnTo>
                  <a:lnTo>
                    <a:pt x="342" y="180"/>
                  </a:lnTo>
                  <a:lnTo>
                    <a:pt x="342" y="186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92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192"/>
                  </a:lnTo>
                  <a:lnTo>
                    <a:pt x="330" y="198"/>
                  </a:lnTo>
                  <a:lnTo>
                    <a:pt x="324" y="198"/>
                  </a:lnTo>
                  <a:lnTo>
                    <a:pt x="318" y="198"/>
                  </a:lnTo>
                  <a:lnTo>
                    <a:pt x="318" y="204"/>
                  </a:lnTo>
                  <a:lnTo>
                    <a:pt x="306" y="204"/>
                  </a:lnTo>
                  <a:lnTo>
                    <a:pt x="300" y="204"/>
                  </a:lnTo>
                  <a:lnTo>
                    <a:pt x="300" y="198"/>
                  </a:lnTo>
                  <a:lnTo>
                    <a:pt x="264" y="192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2" y="198"/>
                  </a:lnTo>
                  <a:lnTo>
                    <a:pt x="258" y="198"/>
                  </a:lnTo>
                  <a:lnTo>
                    <a:pt x="252" y="192"/>
                  </a:lnTo>
                  <a:lnTo>
                    <a:pt x="252" y="198"/>
                  </a:lnTo>
                  <a:lnTo>
                    <a:pt x="246" y="198"/>
                  </a:lnTo>
                  <a:lnTo>
                    <a:pt x="246" y="204"/>
                  </a:lnTo>
                  <a:lnTo>
                    <a:pt x="240" y="204"/>
                  </a:lnTo>
                  <a:lnTo>
                    <a:pt x="234" y="204"/>
                  </a:lnTo>
                  <a:lnTo>
                    <a:pt x="234" y="198"/>
                  </a:lnTo>
                  <a:lnTo>
                    <a:pt x="234" y="204"/>
                  </a:lnTo>
                  <a:lnTo>
                    <a:pt x="228" y="204"/>
                  </a:lnTo>
                  <a:lnTo>
                    <a:pt x="222" y="204"/>
                  </a:lnTo>
                  <a:lnTo>
                    <a:pt x="222" y="198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04" y="204"/>
                  </a:lnTo>
                  <a:lnTo>
                    <a:pt x="204" y="198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44" y="204"/>
                  </a:lnTo>
                  <a:lnTo>
                    <a:pt x="138" y="204"/>
                  </a:lnTo>
                  <a:lnTo>
                    <a:pt x="138" y="198"/>
                  </a:lnTo>
                  <a:lnTo>
                    <a:pt x="132" y="198"/>
                  </a:lnTo>
                  <a:lnTo>
                    <a:pt x="132" y="204"/>
                  </a:lnTo>
                  <a:lnTo>
                    <a:pt x="132" y="210"/>
                  </a:lnTo>
                  <a:lnTo>
                    <a:pt x="126" y="216"/>
                  </a:lnTo>
                  <a:lnTo>
                    <a:pt x="132" y="216"/>
                  </a:lnTo>
                  <a:lnTo>
                    <a:pt x="126" y="216"/>
                  </a:lnTo>
                  <a:lnTo>
                    <a:pt x="126" y="222"/>
                  </a:lnTo>
                  <a:lnTo>
                    <a:pt x="132" y="222"/>
                  </a:lnTo>
                  <a:lnTo>
                    <a:pt x="132" y="228"/>
                  </a:lnTo>
                  <a:lnTo>
                    <a:pt x="138" y="228"/>
                  </a:lnTo>
                  <a:lnTo>
                    <a:pt x="132" y="234"/>
                  </a:lnTo>
                  <a:lnTo>
                    <a:pt x="132" y="228"/>
                  </a:lnTo>
                  <a:lnTo>
                    <a:pt x="132" y="234"/>
                  </a:lnTo>
                  <a:lnTo>
                    <a:pt x="138" y="240"/>
                  </a:lnTo>
                  <a:lnTo>
                    <a:pt x="132" y="240"/>
                  </a:lnTo>
                  <a:lnTo>
                    <a:pt x="138" y="246"/>
                  </a:lnTo>
                  <a:lnTo>
                    <a:pt x="132" y="246"/>
                  </a:lnTo>
                  <a:lnTo>
                    <a:pt x="138" y="246"/>
                  </a:lnTo>
                  <a:lnTo>
                    <a:pt x="138" y="252"/>
                  </a:lnTo>
                  <a:lnTo>
                    <a:pt x="138" y="258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2" y="264"/>
                  </a:lnTo>
                  <a:lnTo>
                    <a:pt x="138" y="264"/>
                  </a:lnTo>
                  <a:lnTo>
                    <a:pt x="138" y="270"/>
                  </a:lnTo>
                  <a:lnTo>
                    <a:pt x="138" y="276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26" y="270"/>
                  </a:lnTo>
                  <a:lnTo>
                    <a:pt x="126" y="264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14" y="258"/>
                  </a:lnTo>
                  <a:lnTo>
                    <a:pt x="114" y="252"/>
                  </a:lnTo>
                  <a:lnTo>
                    <a:pt x="114" y="258"/>
                  </a:lnTo>
                  <a:lnTo>
                    <a:pt x="108" y="258"/>
                  </a:lnTo>
                  <a:lnTo>
                    <a:pt x="108" y="252"/>
                  </a:lnTo>
                  <a:lnTo>
                    <a:pt x="102" y="252"/>
                  </a:lnTo>
                  <a:lnTo>
                    <a:pt x="96" y="252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54" y="270"/>
                  </a:lnTo>
                  <a:lnTo>
                    <a:pt x="48" y="270"/>
                  </a:lnTo>
                  <a:lnTo>
                    <a:pt x="48" y="264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24" y="258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30" y="252"/>
                  </a:lnTo>
                  <a:lnTo>
                    <a:pt x="24" y="252"/>
                  </a:lnTo>
                  <a:lnTo>
                    <a:pt x="24" y="246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24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2" y="234"/>
                  </a:lnTo>
                  <a:lnTo>
                    <a:pt x="6" y="234"/>
                  </a:lnTo>
                  <a:lnTo>
                    <a:pt x="0" y="234"/>
                  </a:lnTo>
                  <a:lnTo>
                    <a:pt x="0" y="22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0" name="Freeform 33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922" y="1892"/>
              <a:ext cx="184" cy="270"/>
            </a:xfrm>
            <a:custGeom>
              <a:avLst/>
              <a:gdLst>
                <a:gd name="T0" fmla="*/ 9 w 216"/>
                <a:gd name="T1" fmla="*/ 37 h 318"/>
                <a:gd name="T2" fmla="*/ 12 w 216"/>
                <a:gd name="T3" fmla="*/ 31 h 318"/>
                <a:gd name="T4" fmla="*/ 9 w 216"/>
                <a:gd name="T5" fmla="*/ 25 h 318"/>
                <a:gd name="T6" fmla="*/ 9 w 216"/>
                <a:gd name="T7" fmla="*/ 22 h 318"/>
                <a:gd name="T8" fmla="*/ 7 w 216"/>
                <a:gd name="T9" fmla="*/ 15 h 318"/>
                <a:gd name="T10" fmla="*/ 9 w 216"/>
                <a:gd name="T11" fmla="*/ 9 h 318"/>
                <a:gd name="T12" fmla="*/ 12 w 216"/>
                <a:gd name="T13" fmla="*/ 6 h 318"/>
                <a:gd name="T14" fmla="*/ 26 w 216"/>
                <a:gd name="T15" fmla="*/ 6 h 318"/>
                <a:gd name="T16" fmla="*/ 41 w 216"/>
                <a:gd name="T17" fmla="*/ 3 h 318"/>
                <a:gd name="T18" fmla="*/ 54 w 216"/>
                <a:gd name="T19" fmla="*/ 6 h 318"/>
                <a:gd name="T20" fmla="*/ 60 w 216"/>
                <a:gd name="T21" fmla="*/ 6 h 318"/>
                <a:gd name="T22" fmla="*/ 66 w 216"/>
                <a:gd name="T23" fmla="*/ 6 h 318"/>
                <a:gd name="T24" fmla="*/ 73 w 216"/>
                <a:gd name="T25" fmla="*/ 0 h 318"/>
                <a:gd name="T26" fmla="*/ 76 w 216"/>
                <a:gd name="T27" fmla="*/ 0 h 318"/>
                <a:gd name="T28" fmla="*/ 86 w 216"/>
                <a:gd name="T29" fmla="*/ 3 h 318"/>
                <a:gd name="T30" fmla="*/ 82 w 216"/>
                <a:gd name="T31" fmla="*/ 15 h 318"/>
                <a:gd name="T32" fmla="*/ 91 w 216"/>
                <a:gd name="T33" fmla="*/ 19 h 318"/>
                <a:gd name="T34" fmla="*/ 95 w 216"/>
                <a:gd name="T35" fmla="*/ 28 h 318"/>
                <a:gd name="T36" fmla="*/ 95 w 216"/>
                <a:gd name="T37" fmla="*/ 35 h 318"/>
                <a:gd name="T38" fmla="*/ 91 w 216"/>
                <a:gd name="T39" fmla="*/ 41 h 318"/>
                <a:gd name="T40" fmla="*/ 91 w 216"/>
                <a:gd name="T41" fmla="*/ 47 h 318"/>
                <a:gd name="T42" fmla="*/ 98 w 216"/>
                <a:gd name="T43" fmla="*/ 47 h 318"/>
                <a:gd name="T44" fmla="*/ 95 w 216"/>
                <a:gd name="T45" fmla="*/ 56 h 318"/>
                <a:gd name="T46" fmla="*/ 95 w 216"/>
                <a:gd name="T47" fmla="*/ 65 h 318"/>
                <a:gd name="T48" fmla="*/ 101 w 216"/>
                <a:gd name="T49" fmla="*/ 71 h 318"/>
                <a:gd name="T50" fmla="*/ 101 w 216"/>
                <a:gd name="T51" fmla="*/ 78 h 318"/>
                <a:gd name="T52" fmla="*/ 101 w 216"/>
                <a:gd name="T53" fmla="*/ 91 h 318"/>
                <a:gd name="T54" fmla="*/ 101 w 216"/>
                <a:gd name="T55" fmla="*/ 97 h 318"/>
                <a:gd name="T56" fmla="*/ 98 w 216"/>
                <a:gd name="T57" fmla="*/ 109 h 318"/>
                <a:gd name="T58" fmla="*/ 101 w 216"/>
                <a:gd name="T59" fmla="*/ 119 h 318"/>
                <a:gd name="T60" fmla="*/ 107 w 216"/>
                <a:gd name="T61" fmla="*/ 125 h 318"/>
                <a:gd name="T62" fmla="*/ 114 w 216"/>
                <a:gd name="T63" fmla="*/ 132 h 318"/>
                <a:gd name="T64" fmla="*/ 107 w 216"/>
                <a:gd name="T65" fmla="*/ 140 h 318"/>
                <a:gd name="T66" fmla="*/ 89 w 216"/>
                <a:gd name="T67" fmla="*/ 140 h 318"/>
                <a:gd name="T68" fmla="*/ 82 w 216"/>
                <a:gd name="T69" fmla="*/ 146 h 318"/>
                <a:gd name="T70" fmla="*/ 73 w 216"/>
                <a:gd name="T71" fmla="*/ 150 h 318"/>
                <a:gd name="T72" fmla="*/ 63 w 216"/>
                <a:gd name="T73" fmla="*/ 153 h 318"/>
                <a:gd name="T74" fmla="*/ 56 w 216"/>
                <a:gd name="T75" fmla="*/ 153 h 318"/>
                <a:gd name="T76" fmla="*/ 48 w 216"/>
                <a:gd name="T77" fmla="*/ 160 h 318"/>
                <a:gd name="T78" fmla="*/ 37 w 216"/>
                <a:gd name="T79" fmla="*/ 162 h 318"/>
                <a:gd name="T80" fmla="*/ 28 w 216"/>
                <a:gd name="T81" fmla="*/ 165 h 318"/>
                <a:gd name="T82" fmla="*/ 19 w 216"/>
                <a:gd name="T83" fmla="*/ 160 h 318"/>
                <a:gd name="T84" fmla="*/ 3 w 216"/>
                <a:gd name="T85" fmla="*/ 156 h 318"/>
                <a:gd name="T86" fmla="*/ 9 w 216"/>
                <a:gd name="T87" fmla="*/ 156 h 318"/>
                <a:gd name="T88" fmla="*/ 12 w 216"/>
                <a:gd name="T89" fmla="*/ 146 h 318"/>
                <a:gd name="T90" fmla="*/ 7 w 216"/>
                <a:gd name="T91" fmla="*/ 140 h 318"/>
                <a:gd name="T92" fmla="*/ 3 w 216"/>
                <a:gd name="T93" fmla="*/ 127 h 318"/>
                <a:gd name="T94" fmla="*/ 0 w 216"/>
                <a:gd name="T95" fmla="*/ 115 h 318"/>
                <a:gd name="T96" fmla="*/ 7 w 216"/>
                <a:gd name="T97" fmla="*/ 106 h 318"/>
                <a:gd name="T98" fmla="*/ 7 w 216"/>
                <a:gd name="T99" fmla="*/ 93 h 318"/>
                <a:gd name="T100" fmla="*/ 12 w 216"/>
                <a:gd name="T101" fmla="*/ 81 h 318"/>
                <a:gd name="T102" fmla="*/ 19 w 216"/>
                <a:gd name="T103" fmla="*/ 75 h 318"/>
                <a:gd name="T104" fmla="*/ 16 w 216"/>
                <a:gd name="T105" fmla="*/ 59 h 318"/>
                <a:gd name="T106" fmla="*/ 12 w 216"/>
                <a:gd name="T107" fmla="*/ 50 h 318"/>
                <a:gd name="T108" fmla="*/ 12 w 216"/>
                <a:gd name="T109" fmla="*/ 43 h 3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16" h="318">
                  <a:moveTo>
                    <a:pt x="24" y="84"/>
                  </a:moveTo>
                  <a:lnTo>
                    <a:pt x="24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8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6" y="24"/>
                  </a:lnTo>
                  <a:lnTo>
                    <a:pt x="156" y="30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68" y="36"/>
                  </a:lnTo>
                  <a:lnTo>
                    <a:pt x="174" y="36"/>
                  </a:lnTo>
                  <a:lnTo>
                    <a:pt x="174" y="42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80" y="54"/>
                  </a:lnTo>
                  <a:lnTo>
                    <a:pt x="180" y="60"/>
                  </a:lnTo>
                  <a:lnTo>
                    <a:pt x="180" y="66"/>
                  </a:lnTo>
                  <a:lnTo>
                    <a:pt x="174" y="66"/>
                  </a:lnTo>
                  <a:lnTo>
                    <a:pt x="180" y="66"/>
                  </a:lnTo>
                  <a:lnTo>
                    <a:pt x="174" y="72"/>
                  </a:lnTo>
                  <a:lnTo>
                    <a:pt x="180" y="72"/>
                  </a:lnTo>
                  <a:lnTo>
                    <a:pt x="180" y="78"/>
                  </a:lnTo>
                  <a:lnTo>
                    <a:pt x="174" y="78"/>
                  </a:lnTo>
                  <a:lnTo>
                    <a:pt x="174" y="84"/>
                  </a:lnTo>
                  <a:lnTo>
                    <a:pt x="168" y="84"/>
                  </a:lnTo>
                  <a:lnTo>
                    <a:pt x="174" y="84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84"/>
                  </a:lnTo>
                  <a:lnTo>
                    <a:pt x="186" y="84"/>
                  </a:lnTo>
                  <a:lnTo>
                    <a:pt x="186" y="90"/>
                  </a:lnTo>
                  <a:lnTo>
                    <a:pt x="186" y="96"/>
                  </a:lnTo>
                  <a:lnTo>
                    <a:pt x="186" y="102"/>
                  </a:lnTo>
                  <a:lnTo>
                    <a:pt x="180" y="102"/>
                  </a:lnTo>
                  <a:lnTo>
                    <a:pt x="180" y="108"/>
                  </a:lnTo>
                  <a:lnTo>
                    <a:pt x="186" y="114"/>
                  </a:lnTo>
                  <a:lnTo>
                    <a:pt x="186" y="120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2" y="138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192" y="144"/>
                  </a:lnTo>
                  <a:lnTo>
                    <a:pt x="192" y="150"/>
                  </a:lnTo>
                  <a:lnTo>
                    <a:pt x="192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6" y="180"/>
                  </a:lnTo>
                  <a:lnTo>
                    <a:pt x="186" y="186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92" y="222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34"/>
                  </a:lnTo>
                  <a:lnTo>
                    <a:pt x="198" y="240"/>
                  </a:lnTo>
                  <a:lnTo>
                    <a:pt x="204" y="240"/>
                  </a:lnTo>
                  <a:lnTo>
                    <a:pt x="210" y="240"/>
                  </a:lnTo>
                  <a:lnTo>
                    <a:pt x="210" y="246"/>
                  </a:lnTo>
                  <a:lnTo>
                    <a:pt x="216" y="246"/>
                  </a:lnTo>
                  <a:lnTo>
                    <a:pt x="216" y="252"/>
                  </a:lnTo>
                  <a:lnTo>
                    <a:pt x="216" y="258"/>
                  </a:lnTo>
                  <a:lnTo>
                    <a:pt x="210" y="264"/>
                  </a:lnTo>
                  <a:lnTo>
                    <a:pt x="210" y="270"/>
                  </a:lnTo>
                  <a:lnTo>
                    <a:pt x="204" y="270"/>
                  </a:lnTo>
                  <a:lnTo>
                    <a:pt x="198" y="270"/>
                  </a:lnTo>
                  <a:lnTo>
                    <a:pt x="180" y="270"/>
                  </a:lnTo>
                  <a:lnTo>
                    <a:pt x="174" y="270"/>
                  </a:lnTo>
                  <a:lnTo>
                    <a:pt x="168" y="270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56" y="282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8" y="288"/>
                  </a:lnTo>
                  <a:lnTo>
                    <a:pt x="132" y="288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20" y="294"/>
                  </a:lnTo>
                  <a:lnTo>
                    <a:pt x="114" y="294"/>
                  </a:lnTo>
                  <a:lnTo>
                    <a:pt x="114" y="300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8" y="300"/>
                  </a:lnTo>
                  <a:lnTo>
                    <a:pt x="102" y="300"/>
                  </a:lnTo>
                  <a:lnTo>
                    <a:pt x="96" y="300"/>
                  </a:lnTo>
                  <a:lnTo>
                    <a:pt x="90" y="306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8" y="312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60" y="318"/>
                  </a:lnTo>
                  <a:lnTo>
                    <a:pt x="54" y="318"/>
                  </a:lnTo>
                  <a:lnTo>
                    <a:pt x="48" y="318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36" y="306"/>
                  </a:lnTo>
                  <a:lnTo>
                    <a:pt x="30" y="306"/>
                  </a:lnTo>
                  <a:lnTo>
                    <a:pt x="24" y="306"/>
                  </a:lnTo>
                  <a:lnTo>
                    <a:pt x="12" y="306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8" y="300"/>
                  </a:lnTo>
                  <a:lnTo>
                    <a:pt x="24" y="300"/>
                  </a:lnTo>
                  <a:lnTo>
                    <a:pt x="24" y="294"/>
                  </a:lnTo>
                  <a:lnTo>
                    <a:pt x="24" y="288"/>
                  </a:lnTo>
                  <a:lnTo>
                    <a:pt x="24" y="282"/>
                  </a:lnTo>
                  <a:lnTo>
                    <a:pt x="24" y="276"/>
                  </a:lnTo>
                  <a:lnTo>
                    <a:pt x="18" y="276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0" y="240"/>
                  </a:lnTo>
                  <a:lnTo>
                    <a:pt x="0" y="228"/>
                  </a:lnTo>
                  <a:lnTo>
                    <a:pt x="0" y="222"/>
                  </a:lnTo>
                  <a:lnTo>
                    <a:pt x="0" y="216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8" y="174"/>
                  </a:lnTo>
                  <a:lnTo>
                    <a:pt x="18" y="168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6" y="138"/>
                  </a:lnTo>
                  <a:lnTo>
                    <a:pt x="36" y="132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24" y="108"/>
                  </a:lnTo>
                  <a:lnTo>
                    <a:pt x="24" y="102"/>
                  </a:lnTo>
                  <a:lnTo>
                    <a:pt x="24" y="96"/>
                  </a:lnTo>
                  <a:lnTo>
                    <a:pt x="30" y="96"/>
                  </a:lnTo>
                  <a:lnTo>
                    <a:pt x="24" y="96"/>
                  </a:lnTo>
                  <a:lnTo>
                    <a:pt x="24" y="90"/>
                  </a:lnTo>
                  <a:lnTo>
                    <a:pt x="24" y="8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1" name="Freeform 34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auto">
            <a:xfrm>
              <a:off x="1693" y="1912"/>
              <a:ext cx="260" cy="265"/>
            </a:xfrm>
            <a:custGeom>
              <a:avLst/>
              <a:gdLst>
                <a:gd name="T0" fmla="*/ 15 w 306"/>
                <a:gd name="T1" fmla="*/ 78 h 312"/>
                <a:gd name="T2" fmla="*/ 15 w 306"/>
                <a:gd name="T3" fmla="*/ 69 h 312"/>
                <a:gd name="T4" fmla="*/ 12 w 306"/>
                <a:gd name="T5" fmla="*/ 63 h 312"/>
                <a:gd name="T6" fmla="*/ 9 w 306"/>
                <a:gd name="T7" fmla="*/ 59 h 312"/>
                <a:gd name="T8" fmla="*/ 19 w 306"/>
                <a:gd name="T9" fmla="*/ 56 h 312"/>
                <a:gd name="T10" fmla="*/ 22 w 306"/>
                <a:gd name="T11" fmla="*/ 56 h 312"/>
                <a:gd name="T12" fmla="*/ 22 w 306"/>
                <a:gd name="T13" fmla="*/ 50 h 312"/>
                <a:gd name="T14" fmla="*/ 22 w 306"/>
                <a:gd name="T15" fmla="*/ 41 h 312"/>
                <a:gd name="T16" fmla="*/ 19 w 306"/>
                <a:gd name="T17" fmla="*/ 35 h 312"/>
                <a:gd name="T18" fmla="*/ 15 w 306"/>
                <a:gd name="T19" fmla="*/ 35 h 312"/>
                <a:gd name="T20" fmla="*/ 12 w 306"/>
                <a:gd name="T21" fmla="*/ 22 h 312"/>
                <a:gd name="T22" fmla="*/ 15 w 306"/>
                <a:gd name="T23" fmla="*/ 22 h 312"/>
                <a:gd name="T24" fmla="*/ 15 w 306"/>
                <a:gd name="T25" fmla="*/ 15 h 312"/>
                <a:gd name="T26" fmla="*/ 25 w 306"/>
                <a:gd name="T27" fmla="*/ 6 h 312"/>
                <a:gd name="T28" fmla="*/ 35 w 306"/>
                <a:gd name="T29" fmla="*/ 12 h 312"/>
                <a:gd name="T30" fmla="*/ 43 w 306"/>
                <a:gd name="T31" fmla="*/ 12 h 312"/>
                <a:gd name="T32" fmla="*/ 50 w 306"/>
                <a:gd name="T33" fmla="*/ 6 h 312"/>
                <a:gd name="T34" fmla="*/ 56 w 306"/>
                <a:gd name="T35" fmla="*/ 3 h 312"/>
                <a:gd name="T36" fmla="*/ 63 w 306"/>
                <a:gd name="T37" fmla="*/ 0 h 312"/>
                <a:gd name="T38" fmla="*/ 65 w 306"/>
                <a:gd name="T39" fmla="*/ 6 h 312"/>
                <a:gd name="T40" fmla="*/ 65 w 306"/>
                <a:gd name="T41" fmla="*/ 9 h 312"/>
                <a:gd name="T42" fmla="*/ 69 w 306"/>
                <a:gd name="T43" fmla="*/ 9 h 312"/>
                <a:gd name="T44" fmla="*/ 82 w 306"/>
                <a:gd name="T45" fmla="*/ 6 h 312"/>
                <a:gd name="T46" fmla="*/ 91 w 306"/>
                <a:gd name="T47" fmla="*/ 12 h 312"/>
                <a:gd name="T48" fmla="*/ 93 w 306"/>
                <a:gd name="T49" fmla="*/ 19 h 312"/>
                <a:gd name="T50" fmla="*/ 97 w 306"/>
                <a:gd name="T51" fmla="*/ 22 h 312"/>
                <a:gd name="T52" fmla="*/ 106 w 306"/>
                <a:gd name="T53" fmla="*/ 28 h 312"/>
                <a:gd name="T54" fmla="*/ 116 w 306"/>
                <a:gd name="T55" fmla="*/ 22 h 312"/>
                <a:gd name="T56" fmla="*/ 128 w 306"/>
                <a:gd name="T57" fmla="*/ 19 h 312"/>
                <a:gd name="T58" fmla="*/ 141 w 306"/>
                <a:gd name="T59" fmla="*/ 22 h 312"/>
                <a:gd name="T60" fmla="*/ 147 w 306"/>
                <a:gd name="T61" fmla="*/ 25 h 312"/>
                <a:gd name="T62" fmla="*/ 153 w 306"/>
                <a:gd name="T63" fmla="*/ 31 h 312"/>
                <a:gd name="T64" fmla="*/ 153 w 306"/>
                <a:gd name="T65" fmla="*/ 41 h 312"/>
                <a:gd name="T66" fmla="*/ 160 w 306"/>
                <a:gd name="T67" fmla="*/ 56 h 312"/>
                <a:gd name="T68" fmla="*/ 156 w 306"/>
                <a:gd name="T69" fmla="*/ 69 h 312"/>
                <a:gd name="T70" fmla="*/ 147 w 306"/>
                <a:gd name="T71" fmla="*/ 82 h 312"/>
                <a:gd name="T72" fmla="*/ 144 w 306"/>
                <a:gd name="T73" fmla="*/ 93 h 312"/>
                <a:gd name="T74" fmla="*/ 141 w 306"/>
                <a:gd name="T75" fmla="*/ 112 h 312"/>
                <a:gd name="T76" fmla="*/ 147 w 306"/>
                <a:gd name="T77" fmla="*/ 125 h 312"/>
                <a:gd name="T78" fmla="*/ 153 w 306"/>
                <a:gd name="T79" fmla="*/ 134 h 312"/>
                <a:gd name="T80" fmla="*/ 147 w 306"/>
                <a:gd name="T81" fmla="*/ 144 h 312"/>
                <a:gd name="T82" fmla="*/ 137 w 306"/>
                <a:gd name="T83" fmla="*/ 144 h 312"/>
                <a:gd name="T84" fmla="*/ 113 w 306"/>
                <a:gd name="T85" fmla="*/ 141 h 312"/>
                <a:gd name="T86" fmla="*/ 82 w 306"/>
                <a:gd name="T87" fmla="*/ 144 h 312"/>
                <a:gd name="T88" fmla="*/ 65 w 306"/>
                <a:gd name="T89" fmla="*/ 147 h 312"/>
                <a:gd name="T90" fmla="*/ 59 w 306"/>
                <a:gd name="T91" fmla="*/ 150 h 312"/>
                <a:gd name="T92" fmla="*/ 43 w 306"/>
                <a:gd name="T93" fmla="*/ 156 h 312"/>
                <a:gd name="T94" fmla="*/ 35 w 306"/>
                <a:gd name="T95" fmla="*/ 162 h 312"/>
                <a:gd name="T96" fmla="*/ 28 w 306"/>
                <a:gd name="T97" fmla="*/ 153 h 312"/>
                <a:gd name="T98" fmla="*/ 31 w 306"/>
                <a:gd name="T99" fmla="*/ 141 h 312"/>
                <a:gd name="T100" fmla="*/ 35 w 306"/>
                <a:gd name="T101" fmla="*/ 134 h 312"/>
                <a:gd name="T102" fmla="*/ 31 w 306"/>
                <a:gd name="T103" fmla="*/ 128 h 312"/>
                <a:gd name="T104" fmla="*/ 25 w 306"/>
                <a:gd name="T105" fmla="*/ 125 h 312"/>
                <a:gd name="T106" fmla="*/ 19 w 306"/>
                <a:gd name="T107" fmla="*/ 116 h 312"/>
                <a:gd name="T108" fmla="*/ 19 w 306"/>
                <a:gd name="T109" fmla="*/ 112 h 312"/>
                <a:gd name="T110" fmla="*/ 6 w 306"/>
                <a:gd name="T111" fmla="*/ 112 h 312"/>
                <a:gd name="T112" fmla="*/ 3 w 306"/>
                <a:gd name="T113" fmla="*/ 106 h 312"/>
                <a:gd name="T114" fmla="*/ 9 w 306"/>
                <a:gd name="T115" fmla="*/ 97 h 312"/>
                <a:gd name="T116" fmla="*/ 6 w 306"/>
                <a:gd name="T117" fmla="*/ 84 h 3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06" h="312">
                  <a:moveTo>
                    <a:pt x="12" y="156"/>
                  </a:moveTo>
                  <a:lnTo>
                    <a:pt x="18" y="156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6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20"/>
                  </a:lnTo>
                  <a:lnTo>
                    <a:pt x="18" y="120"/>
                  </a:lnTo>
                  <a:lnTo>
                    <a:pt x="24" y="114"/>
                  </a:lnTo>
                  <a:lnTo>
                    <a:pt x="18" y="114"/>
                  </a:lnTo>
                  <a:lnTo>
                    <a:pt x="18" y="108"/>
                  </a:lnTo>
                  <a:lnTo>
                    <a:pt x="24" y="114"/>
                  </a:lnTo>
                  <a:lnTo>
                    <a:pt x="24" y="108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36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02"/>
                  </a:lnTo>
                  <a:lnTo>
                    <a:pt x="42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8" y="78"/>
                  </a:lnTo>
                  <a:lnTo>
                    <a:pt x="42" y="78"/>
                  </a:lnTo>
                  <a:lnTo>
                    <a:pt x="36" y="78"/>
                  </a:lnTo>
                  <a:lnTo>
                    <a:pt x="36" y="72"/>
                  </a:lnTo>
                  <a:lnTo>
                    <a:pt x="36" y="66"/>
                  </a:lnTo>
                  <a:lnTo>
                    <a:pt x="42" y="66"/>
                  </a:lnTo>
                  <a:lnTo>
                    <a:pt x="42" y="60"/>
                  </a:lnTo>
                  <a:lnTo>
                    <a:pt x="36" y="60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24" y="60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30" y="30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66" y="18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102" y="12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2" y="0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08" y="6"/>
                  </a:lnTo>
                  <a:lnTo>
                    <a:pt x="108" y="0"/>
                  </a:lnTo>
                  <a:lnTo>
                    <a:pt x="114" y="0"/>
                  </a:lnTo>
                  <a:lnTo>
                    <a:pt x="120" y="0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6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62" y="18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6" y="42"/>
                  </a:lnTo>
                  <a:lnTo>
                    <a:pt x="192" y="42"/>
                  </a:lnTo>
                  <a:lnTo>
                    <a:pt x="192" y="48"/>
                  </a:lnTo>
                  <a:lnTo>
                    <a:pt x="198" y="48"/>
                  </a:lnTo>
                  <a:lnTo>
                    <a:pt x="204" y="48"/>
                  </a:lnTo>
                  <a:lnTo>
                    <a:pt x="204" y="54"/>
                  </a:lnTo>
                  <a:lnTo>
                    <a:pt x="210" y="54"/>
                  </a:lnTo>
                  <a:lnTo>
                    <a:pt x="216" y="54"/>
                  </a:lnTo>
                  <a:lnTo>
                    <a:pt x="216" y="48"/>
                  </a:lnTo>
                  <a:lnTo>
                    <a:pt x="222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42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64" y="36"/>
                  </a:lnTo>
                  <a:lnTo>
                    <a:pt x="264" y="42"/>
                  </a:lnTo>
                  <a:lnTo>
                    <a:pt x="270" y="42"/>
                  </a:lnTo>
                  <a:lnTo>
                    <a:pt x="270" y="36"/>
                  </a:lnTo>
                  <a:lnTo>
                    <a:pt x="270" y="42"/>
                  </a:lnTo>
                  <a:lnTo>
                    <a:pt x="276" y="42"/>
                  </a:lnTo>
                  <a:lnTo>
                    <a:pt x="276" y="48"/>
                  </a:lnTo>
                  <a:lnTo>
                    <a:pt x="282" y="48"/>
                  </a:lnTo>
                  <a:lnTo>
                    <a:pt x="282" y="54"/>
                  </a:lnTo>
                  <a:lnTo>
                    <a:pt x="288" y="60"/>
                  </a:lnTo>
                  <a:lnTo>
                    <a:pt x="288" y="66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94" y="72"/>
                  </a:lnTo>
                  <a:lnTo>
                    <a:pt x="300" y="72"/>
                  </a:lnTo>
                  <a:lnTo>
                    <a:pt x="294" y="72"/>
                  </a:lnTo>
                  <a:lnTo>
                    <a:pt x="294" y="78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0" y="96"/>
                  </a:lnTo>
                  <a:lnTo>
                    <a:pt x="306" y="108"/>
                  </a:lnTo>
                  <a:lnTo>
                    <a:pt x="306" y="114"/>
                  </a:lnTo>
                  <a:lnTo>
                    <a:pt x="306" y="120"/>
                  </a:lnTo>
                  <a:lnTo>
                    <a:pt x="306" y="126"/>
                  </a:lnTo>
                  <a:lnTo>
                    <a:pt x="300" y="126"/>
                  </a:lnTo>
                  <a:lnTo>
                    <a:pt x="300" y="132"/>
                  </a:lnTo>
                  <a:lnTo>
                    <a:pt x="294" y="132"/>
                  </a:lnTo>
                  <a:lnTo>
                    <a:pt x="294" y="138"/>
                  </a:lnTo>
                  <a:lnTo>
                    <a:pt x="288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2" y="174"/>
                  </a:lnTo>
                  <a:lnTo>
                    <a:pt x="282" y="180"/>
                  </a:lnTo>
                  <a:lnTo>
                    <a:pt x="276" y="180"/>
                  </a:lnTo>
                  <a:lnTo>
                    <a:pt x="276" y="186"/>
                  </a:lnTo>
                  <a:lnTo>
                    <a:pt x="270" y="192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0" y="216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76" y="228"/>
                  </a:lnTo>
                  <a:lnTo>
                    <a:pt x="276" y="234"/>
                  </a:lnTo>
                  <a:lnTo>
                    <a:pt x="282" y="240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88" y="252"/>
                  </a:lnTo>
                  <a:lnTo>
                    <a:pt x="294" y="252"/>
                  </a:lnTo>
                  <a:lnTo>
                    <a:pt x="294" y="258"/>
                  </a:lnTo>
                  <a:lnTo>
                    <a:pt x="294" y="264"/>
                  </a:lnTo>
                  <a:lnTo>
                    <a:pt x="294" y="270"/>
                  </a:lnTo>
                  <a:lnTo>
                    <a:pt x="294" y="276"/>
                  </a:lnTo>
                  <a:lnTo>
                    <a:pt x="288" y="276"/>
                  </a:lnTo>
                  <a:lnTo>
                    <a:pt x="282" y="276"/>
                  </a:lnTo>
                  <a:lnTo>
                    <a:pt x="282" y="282"/>
                  </a:lnTo>
                  <a:lnTo>
                    <a:pt x="282" y="276"/>
                  </a:lnTo>
                  <a:lnTo>
                    <a:pt x="276" y="276"/>
                  </a:lnTo>
                  <a:lnTo>
                    <a:pt x="270" y="276"/>
                  </a:lnTo>
                  <a:lnTo>
                    <a:pt x="264" y="276"/>
                  </a:lnTo>
                  <a:lnTo>
                    <a:pt x="240" y="276"/>
                  </a:lnTo>
                  <a:lnTo>
                    <a:pt x="234" y="270"/>
                  </a:lnTo>
                  <a:lnTo>
                    <a:pt x="228" y="270"/>
                  </a:lnTo>
                  <a:lnTo>
                    <a:pt x="222" y="270"/>
                  </a:lnTo>
                  <a:lnTo>
                    <a:pt x="216" y="270"/>
                  </a:lnTo>
                  <a:lnTo>
                    <a:pt x="198" y="276"/>
                  </a:lnTo>
                  <a:lnTo>
                    <a:pt x="192" y="276"/>
                  </a:lnTo>
                  <a:lnTo>
                    <a:pt x="180" y="276"/>
                  </a:lnTo>
                  <a:lnTo>
                    <a:pt x="168" y="276"/>
                  </a:lnTo>
                  <a:lnTo>
                    <a:pt x="156" y="276"/>
                  </a:lnTo>
                  <a:lnTo>
                    <a:pt x="150" y="282"/>
                  </a:lnTo>
                  <a:lnTo>
                    <a:pt x="144" y="282"/>
                  </a:lnTo>
                  <a:lnTo>
                    <a:pt x="138" y="282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26" y="288"/>
                  </a:lnTo>
                  <a:lnTo>
                    <a:pt x="120" y="288"/>
                  </a:lnTo>
                  <a:lnTo>
                    <a:pt x="114" y="288"/>
                  </a:lnTo>
                  <a:lnTo>
                    <a:pt x="114" y="294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78" y="306"/>
                  </a:lnTo>
                  <a:lnTo>
                    <a:pt x="72" y="306"/>
                  </a:lnTo>
                  <a:lnTo>
                    <a:pt x="72" y="312"/>
                  </a:lnTo>
                  <a:lnTo>
                    <a:pt x="66" y="312"/>
                  </a:lnTo>
                  <a:lnTo>
                    <a:pt x="60" y="312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54" y="282"/>
                  </a:lnTo>
                  <a:lnTo>
                    <a:pt x="54" y="276"/>
                  </a:lnTo>
                  <a:lnTo>
                    <a:pt x="60" y="276"/>
                  </a:lnTo>
                  <a:lnTo>
                    <a:pt x="60" y="270"/>
                  </a:lnTo>
                  <a:lnTo>
                    <a:pt x="66" y="270"/>
                  </a:lnTo>
                  <a:lnTo>
                    <a:pt x="66" y="264"/>
                  </a:lnTo>
                  <a:lnTo>
                    <a:pt x="60" y="264"/>
                  </a:lnTo>
                  <a:lnTo>
                    <a:pt x="60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0" y="216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18" y="216"/>
                  </a:lnTo>
                  <a:lnTo>
                    <a:pt x="12" y="216"/>
                  </a:lnTo>
                  <a:lnTo>
                    <a:pt x="12" y="210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04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2" y="162"/>
                  </a:lnTo>
                  <a:lnTo>
                    <a:pt x="12" y="156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2" name="Freeform 35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auto">
            <a:xfrm>
              <a:off x="1576" y="2004"/>
              <a:ext cx="173" cy="178"/>
            </a:xfrm>
            <a:custGeom>
              <a:avLst/>
              <a:gdLst>
                <a:gd name="T0" fmla="*/ 3 w 204"/>
                <a:gd name="T1" fmla="*/ 34 h 210"/>
                <a:gd name="T2" fmla="*/ 9 w 204"/>
                <a:gd name="T3" fmla="*/ 28 h 210"/>
                <a:gd name="T4" fmla="*/ 15 w 204"/>
                <a:gd name="T5" fmla="*/ 25 h 210"/>
                <a:gd name="T6" fmla="*/ 19 w 204"/>
                <a:gd name="T7" fmla="*/ 19 h 210"/>
                <a:gd name="T8" fmla="*/ 25 w 204"/>
                <a:gd name="T9" fmla="*/ 9 h 210"/>
                <a:gd name="T10" fmla="*/ 28 w 204"/>
                <a:gd name="T11" fmla="*/ 3 h 210"/>
                <a:gd name="T12" fmla="*/ 34 w 204"/>
                <a:gd name="T13" fmla="*/ 0 h 210"/>
                <a:gd name="T14" fmla="*/ 37 w 204"/>
                <a:gd name="T15" fmla="*/ 0 h 210"/>
                <a:gd name="T16" fmla="*/ 40 w 204"/>
                <a:gd name="T17" fmla="*/ 0 h 210"/>
                <a:gd name="T18" fmla="*/ 43 w 204"/>
                <a:gd name="T19" fmla="*/ 0 h 210"/>
                <a:gd name="T20" fmla="*/ 50 w 204"/>
                <a:gd name="T21" fmla="*/ 3 h 210"/>
                <a:gd name="T22" fmla="*/ 50 w 204"/>
                <a:gd name="T23" fmla="*/ 12 h 210"/>
                <a:gd name="T24" fmla="*/ 53 w 204"/>
                <a:gd name="T25" fmla="*/ 19 h 210"/>
                <a:gd name="T26" fmla="*/ 53 w 204"/>
                <a:gd name="T27" fmla="*/ 28 h 210"/>
                <a:gd name="T28" fmla="*/ 50 w 204"/>
                <a:gd name="T29" fmla="*/ 28 h 210"/>
                <a:gd name="T30" fmla="*/ 56 w 204"/>
                <a:gd name="T31" fmla="*/ 31 h 210"/>
                <a:gd name="T32" fmla="*/ 63 w 204"/>
                <a:gd name="T33" fmla="*/ 34 h 210"/>
                <a:gd name="T34" fmla="*/ 69 w 204"/>
                <a:gd name="T35" fmla="*/ 31 h 210"/>
                <a:gd name="T36" fmla="*/ 65 w 204"/>
                <a:gd name="T37" fmla="*/ 31 h 210"/>
                <a:gd name="T38" fmla="*/ 69 w 204"/>
                <a:gd name="T39" fmla="*/ 25 h 210"/>
                <a:gd name="T40" fmla="*/ 74 w 204"/>
                <a:gd name="T41" fmla="*/ 25 h 210"/>
                <a:gd name="T42" fmla="*/ 78 w 204"/>
                <a:gd name="T43" fmla="*/ 31 h 210"/>
                <a:gd name="T44" fmla="*/ 81 w 204"/>
                <a:gd name="T45" fmla="*/ 37 h 210"/>
                <a:gd name="T46" fmla="*/ 81 w 204"/>
                <a:gd name="T47" fmla="*/ 46 h 210"/>
                <a:gd name="T48" fmla="*/ 74 w 204"/>
                <a:gd name="T49" fmla="*/ 49 h 210"/>
                <a:gd name="T50" fmla="*/ 74 w 204"/>
                <a:gd name="T51" fmla="*/ 53 h 210"/>
                <a:gd name="T52" fmla="*/ 81 w 204"/>
                <a:gd name="T53" fmla="*/ 56 h 210"/>
                <a:gd name="T54" fmla="*/ 87 w 204"/>
                <a:gd name="T55" fmla="*/ 56 h 210"/>
                <a:gd name="T56" fmla="*/ 91 w 204"/>
                <a:gd name="T57" fmla="*/ 56 h 210"/>
                <a:gd name="T58" fmla="*/ 91 w 204"/>
                <a:gd name="T59" fmla="*/ 59 h 210"/>
                <a:gd name="T60" fmla="*/ 93 w 204"/>
                <a:gd name="T61" fmla="*/ 65 h 210"/>
                <a:gd name="T62" fmla="*/ 97 w 204"/>
                <a:gd name="T63" fmla="*/ 65 h 210"/>
                <a:gd name="T64" fmla="*/ 102 w 204"/>
                <a:gd name="T65" fmla="*/ 69 h 210"/>
                <a:gd name="T66" fmla="*/ 106 w 204"/>
                <a:gd name="T67" fmla="*/ 74 h 210"/>
                <a:gd name="T68" fmla="*/ 106 w 204"/>
                <a:gd name="T69" fmla="*/ 78 h 210"/>
                <a:gd name="T70" fmla="*/ 106 w 204"/>
                <a:gd name="T71" fmla="*/ 81 h 210"/>
                <a:gd name="T72" fmla="*/ 102 w 204"/>
                <a:gd name="T73" fmla="*/ 86 h 210"/>
                <a:gd name="T74" fmla="*/ 99 w 204"/>
                <a:gd name="T75" fmla="*/ 93 h 210"/>
                <a:gd name="T76" fmla="*/ 99 w 204"/>
                <a:gd name="T77" fmla="*/ 102 h 210"/>
                <a:gd name="T78" fmla="*/ 97 w 204"/>
                <a:gd name="T79" fmla="*/ 106 h 210"/>
                <a:gd name="T80" fmla="*/ 83 w 204"/>
                <a:gd name="T81" fmla="*/ 102 h 210"/>
                <a:gd name="T82" fmla="*/ 78 w 204"/>
                <a:gd name="T83" fmla="*/ 99 h 210"/>
                <a:gd name="T84" fmla="*/ 71 w 204"/>
                <a:gd name="T85" fmla="*/ 97 h 210"/>
                <a:gd name="T86" fmla="*/ 65 w 204"/>
                <a:gd name="T87" fmla="*/ 93 h 210"/>
                <a:gd name="T88" fmla="*/ 59 w 204"/>
                <a:gd name="T89" fmla="*/ 90 h 210"/>
                <a:gd name="T90" fmla="*/ 53 w 204"/>
                <a:gd name="T91" fmla="*/ 83 h 210"/>
                <a:gd name="T92" fmla="*/ 50 w 204"/>
                <a:gd name="T93" fmla="*/ 83 h 210"/>
                <a:gd name="T94" fmla="*/ 46 w 204"/>
                <a:gd name="T95" fmla="*/ 78 h 210"/>
                <a:gd name="T96" fmla="*/ 50 w 204"/>
                <a:gd name="T97" fmla="*/ 81 h 210"/>
                <a:gd name="T98" fmla="*/ 50 w 204"/>
                <a:gd name="T99" fmla="*/ 78 h 210"/>
                <a:gd name="T100" fmla="*/ 40 w 204"/>
                <a:gd name="T101" fmla="*/ 74 h 210"/>
                <a:gd name="T102" fmla="*/ 37 w 204"/>
                <a:gd name="T103" fmla="*/ 69 h 210"/>
                <a:gd name="T104" fmla="*/ 37 w 204"/>
                <a:gd name="T105" fmla="*/ 65 h 210"/>
                <a:gd name="T106" fmla="*/ 34 w 204"/>
                <a:gd name="T107" fmla="*/ 65 h 210"/>
                <a:gd name="T108" fmla="*/ 31 w 204"/>
                <a:gd name="T109" fmla="*/ 65 h 210"/>
                <a:gd name="T110" fmla="*/ 25 w 204"/>
                <a:gd name="T111" fmla="*/ 59 h 210"/>
                <a:gd name="T112" fmla="*/ 15 w 204"/>
                <a:gd name="T113" fmla="*/ 56 h 210"/>
                <a:gd name="T114" fmla="*/ 19 w 204"/>
                <a:gd name="T115" fmla="*/ 56 h 210"/>
                <a:gd name="T116" fmla="*/ 12 w 204"/>
                <a:gd name="T117" fmla="*/ 53 h 210"/>
                <a:gd name="T118" fmla="*/ 3 w 204"/>
                <a:gd name="T119" fmla="*/ 46 h 210"/>
                <a:gd name="T120" fmla="*/ 0 w 204"/>
                <a:gd name="T121" fmla="*/ 43 h 210"/>
                <a:gd name="T122" fmla="*/ 0 w 204"/>
                <a:gd name="T123" fmla="*/ 40 h 21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04" h="210">
                  <a:moveTo>
                    <a:pt x="0" y="78"/>
                  </a:moveTo>
                  <a:lnTo>
                    <a:pt x="6" y="7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24" y="48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36" y="36"/>
                  </a:lnTo>
                  <a:lnTo>
                    <a:pt x="42" y="36"/>
                  </a:lnTo>
                  <a:lnTo>
                    <a:pt x="42" y="24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96" y="24"/>
                  </a:lnTo>
                  <a:lnTo>
                    <a:pt x="102" y="24"/>
                  </a:lnTo>
                  <a:lnTo>
                    <a:pt x="102" y="30"/>
                  </a:lnTo>
                  <a:lnTo>
                    <a:pt x="102" y="36"/>
                  </a:lnTo>
                  <a:lnTo>
                    <a:pt x="102" y="42"/>
                  </a:lnTo>
                  <a:lnTo>
                    <a:pt x="102" y="48"/>
                  </a:lnTo>
                  <a:lnTo>
                    <a:pt x="102" y="54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54"/>
                  </a:lnTo>
                  <a:lnTo>
                    <a:pt x="102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14" y="60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0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26" y="60"/>
                  </a:lnTo>
                  <a:lnTo>
                    <a:pt x="132" y="54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50" y="48"/>
                  </a:lnTo>
                  <a:lnTo>
                    <a:pt x="150" y="54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56" y="66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56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44" y="102"/>
                  </a:lnTo>
                  <a:lnTo>
                    <a:pt x="150" y="102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62" y="108"/>
                  </a:lnTo>
                  <a:lnTo>
                    <a:pt x="162" y="114"/>
                  </a:lnTo>
                  <a:lnTo>
                    <a:pt x="168" y="108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74" y="108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0" y="126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86" y="126"/>
                  </a:lnTo>
                  <a:lnTo>
                    <a:pt x="186" y="132"/>
                  </a:lnTo>
                  <a:lnTo>
                    <a:pt x="192" y="132"/>
                  </a:lnTo>
                  <a:lnTo>
                    <a:pt x="198" y="132"/>
                  </a:lnTo>
                  <a:lnTo>
                    <a:pt x="198" y="138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198" y="162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92"/>
                  </a:lnTo>
                  <a:lnTo>
                    <a:pt x="192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186" y="204"/>
                  </a:lnTo>
                  <a:lnTo>
                    <a:pt x="180" y="204"/>
                  </a:lnTo>
                  <a:lnTo>
                    <a:pt x="174" y="198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0" y="192"/>
                  </a:lnTo>
                  <a:lnTo>
                    <a:pt x="144" y="192"/>
                  </a:lnTo>
                  <a:lnTo>
                    <a:pt x="144" y="186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32" y="180"/>
                  </a:lnTo>
                  <a:lnTo>
                    <a:pt x="126" y="180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14" y="168"/>
                  </a:lnTo>
                  <a:lnTo>
                    <a:pt x="108" y="168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0" y="156"/>
                  </a:lnTo>
                  <a:lnTo>
                    <a:pt x="90" y="150"/>
                  </a:lnTo>
                  <a:lnTo>
                    <a:pt x="96" y="156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96" y="150"/>
                  </a:lnTo>
                  <a:lnTo>
                    <a:pt x="90" y="150"/>
                  </a:lnTo>
                  <a:lnTo>
                    <a:pt x="84" y="144"/>
                  </a:lnTo>
                  <a:lnTo>
                    <a:pt x="78" y="144"/>
                  </a:lnTo>
                  <a:lnTo>
                    <a:pt x="78" y="138"/>
                  </a:lnTo>
                  <a:lnTo>
                    <a:pt x="72" y="138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6" y="132"/>
                  </a:lnTo>
                  <a:lnTo>
                    <a:pt x="66" y="126"/>
                  </a:lnTo>
                  <a:lnTo>
                    <a:pt x="60" y="126"/>
                  </a:lnTo>
                  <a:lnTo>
                    <a:pt x="60" y="120"/>
                  </a:lnTo>
                  <a:lnTo>
                    <a:pt x="54" y="120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6" y="90"/>
                  </a:lnTo>
                  <a:lnTo>
                    <a:pt x="0" y="90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3" name="Freeform 36"/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auto">
            <a:xfrm>
              <a:off x="2050" y="1892"/>
              <a:ext cx="87" cy="214"/>
            </a:xfrm>
            <a:custGeom>
              <a:avLst/>
              <a:gdLst>
                <a:gd name="T0" fmla="*/ 19 w 102"/>
                <a:gd name="T1" fmla="*/ 3 h 252"/>
                <a:gd name="T2" fmla="*/ 22 w 102"/>
                <a:gd name="T3" fmla="*/ 6 h 252"/>
                <a:gd name="T4" fmla="*/ 28 w 102"/>
                <a:gd name="T5" fmla="*/ 9 h 252"/>
                <a:gd name="T6" fmla="*/ 26 w 102"/>
                <a:gd name="T7" fmla="*/ 15 h 252"/>
                <a:gd name="T8" fmla="*/ 26 w 102"/>
                <a:gd name="T9" fmla="*/ 22 h 252"/>
                <a:gd name="T10" fmla="*/ 35 w 102"/>
                <a:gd name="T11" fmla="*/ 28 h 252"/>
                <a:gd name="T12" fmla="*/ 42 w 102"/>
                <a:gd name="T13" fmla="*/ 37 h 252"/>
                <a:gd name="T14" fmla="*/ 42 w 102"/>
                <a:gd name="T15" fmla="*/ 43 h 252"/>
                <a:gd name="T16" fmla="*/ 44 w 102"/>
                <a:gd name="T17" fmla="*/ 50 h 252"/>
                <a:gd name="T18" fmla="*/ 48 w 102"/>
                <a:gd name="T19" fmla="*/ 56 h 252"/>
                <a:gd name="T20" fmla="*/ 48 w 102"/>
                <a:gd name="T21" fmla="*/ 63 h 252"/>
                <a:gd name="T22" fmla="*/ 48 w 102"/>
                <a:gd name="T23" fmla="*/ 69 h 252"/>
                <a:gd name="T24" fmla="*/ 48 w 102"/>
                <a:gd name="T25" fmla="*/ 75 h 252"/>
                <a:gd name="T26" fmla="*/ 48 w 102"/>
                <a:gd name="T27" fmla="*/ 87 h 252"/>
                <a:gd name="T28" fmla="*/ 48 w 102"/>
                <a:gd name="T29" fmla="*/ 93 h 252"/>
                <a:gd name="T30" fmla="*/ 51 w 102"/>
                <a:gd name="T31" fmla="*/ 97 h 252"/>
                <a:gd name="T32" fmla="*/ 48 w 102"/>
                <a:gd name="T33" fmla="*/ 99 h 252"/>
                <a:gd name="T34" fmla="*/ 48 w 102"/>
                <a:gd name="T35" fmla="*/ 112 h 252"/>
                <a:gd name="T36" fmla="*/ 48 w 102"/>
                <a:gd name="T37" fmla="*/ 119 h 252"/>
                <a:gd name="T38" fmla="*/ 51 w 102"/>
                <a:gd name="T39" fmla="*/ 122 h 252"/>
                <a:gd name="T40" fmla="*/ 54 w 102"/>
                <a:gd name="T41" fmla="*/ 125 h 252"/>
                <a:gd name="T42" fmla="*/ 54 w 102"/>
                <a:gd name="T43" fmla="*/ 127 h 252"/>
                <a:gd name="T44" fmla="*/ 48 w 102"/>
                <a:gd name="T45" fmla="*/ 127 h 252"/>
                <a:gd name="T46" fmla="*/ 42 w 102"/>
                <a:gd name="T47" fmla="*/ 132 h 252"/>
                <a:gd name="T48" fmla="*/ 35 w 102"/>
                <a:gd name="T49" fmla="*/ 132 h 252"/>
                <a:gd name="T50" fmla="*/ 32 w 102"/>
                <a:gd name="T51" fmla="*/ 127 h 252"/>
                <a:gd name="T52" fmla="*/ 28 w 102"/>
                <a:gd name="T53" fmla="*/ 125 h 252"/>
                <a:gd name="T54" fmla="*/ 26 w 102"/>
                <a:gd name="T55" fmla="*/ 122 h 252"/>
                <a:gd name="T56" fmla="*/ 22 w 102"/>
                <a:gd name="T57" fmla="*/ 119 h 252"/>
                <a:gd name="T58" fmla="*/ 19 w 102"/>
                <a:gd name="T59" fmla="*/ 116 h 252"/>
                <a:gd name="T60" fmla="*/ 19 w 102"/>
                <a:gd name="T61" fmla="*/ 109 h 252"/>
                <a:gd name="T62" fmla="*/ 22 w 102"/>
                <a:gd name="T63" fmla="*/ 103 h 252"/>
                <a:gd name="T64" fmla="*/ 22 w 102"/>
                <a:gd name="T65" fmla="*/ 97 h 252"/>
                <a:gd name="T66" fmla="*/ 19 w 102"/>
                <a:gd name="T67" fmla="*/ 93 h 252"/>
                <a:gd name="T68" fmla="*/ 22 w 102"/>
                <a:gd name="T69" fmla="*/ 91 h 252"/>
                <a:gd name="T70" fmla="*/ 22 w 102"/>
                <a:gd name="T71" fmla="*/ 84 h 252"/>
                <a:gd name="T72" fmla="*/ 22 w 102"/>
                <a:gd name="T73" fmla="*/ 78 h 252"/>
                <a:gd name="T74" fmla="*/ 26 w 102"/>
                <a:gd name="T75" fmla="*/ 75 h 252"/>
                <a:gd name="T76" fmla="*/ 22 w 102"/>
                <a:gd name="T77" fmla="*/ 71 h 252"/>
                <a:gd name="T78" fmla="*/ 19 w 102"/>
                <a:gd name="T79" fmla="*/ 69 h 252"/>
                <a:gd name="T80" fmla="*/ 16 w 102"/>
                <a:gd name="T81" fmla="*/ 65 h 252"/>
                <a:gd name="T82" fmla="*/ 19 w 102"/>
                <a:gd name="T83" fmla="*/ 63 h 252"/>
                <a:gd name="T84" fmla="*/ 16 w 102"/>
                <a:gd name="T85" fmla="*/ 56 h 252"/>
                <a:gd name="T86" fmla="*/ 19 w 102"/>
                <a:gd name="T87" fmla="*/ 54 h 252"/>
                <a:gd name="T88" fmla="*/ 19 w 102"/>
                <a:gd name="T89" fmla="*/ 47 h 252"/>
                <a:gd name="T90" fmla="*/ 16 w 102"/>
                <a:gd name="T91" fmla="*/ 43 h 252"/>
                <a:gd name="T92" fmla="*/ 13 w 102"/>
                <a:gd name="T93" fmla="*/ 47 h 252"/>
                <a:gd name="T94" fmla="*/ 9 w 102"/>
                <a:gd name="T95" fmla="*/ 43 h 252"/>
                <a:gd name="T96" fmla="*/ 13 w 102"/>
                <a:gd name="T97" fmla="*/ 41 h 252"/>
                <a:gd name="T98" fmla="*/ 16 w 102"/>
                <a:gd name="T99" fmla="*/ 37 h 252"/>
                <a:gd name="T100" fmla="*/ 16 w 102"/>
                <a:gd name="T101" fmla="*/ 35 h 252"/>
                <a:gd name="T102" fmla="*/ 16 w 102"/>
                <a:gd name="T103" fmla="*/ 35 h 252"/>
                <a:gd name="T104" fmla="*/ 16 w 102"/>
                <a:gd name="T105" fmla="*/ 28 h 252"/>
                <a:gd name="T106" fmla="*/ 16 w 102"/>
                <a:gd name="T107" fmla="*/ 22 h 252"/>
                <a:gd name="T108" fmla="*/ 13 w 102"/>
                <a:gd name="T109" fmla="*/ 19 h 252"/>
                <a:gd name="T110" fmla="*/ 9 w 102"/>
                <a:gd name="T111" fmla="*/ 15 h 252"/>
                <a:gd name="T112" fmla="*/ 3 w 102"/>
                <a:gd name="T113" fmla="*/ 15 h 252"/>
                <a:gd name="T114" fmla="*/ 3 w 102"/>
                <a:gd name="T115" fmla="*/ 9 h 252"/>
                <a:gd name="T116" fmla="*/ 7 w 102"/>
                <a:gd name="T117" fmla="*/ 3 h 252"/>
                <a:gd name="T118" fmla="*/ 0 w 102"/>
                <a:gd name="T119" fmla="*/ 3 h 25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2" h="252">
                  <a:moveTo>
                    <a:pt x="0" y="0"/>
                  </a:move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48" y="42"/>
                  </a:lnTo>
                  <a:lnTo>
                    <a:pt x="60" y="48"/>
                  </a:lnTo>
                  <a:lnTo>
                    <a:pt x="66" y="54"/>
                  </a:lnTo>
                  <a:lnTo>
                    <a:pt x="78" y="60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84"/>
                  </a:lnTo>
                  <a:lnTo>
                    <a:pt x="78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90" y="114"/>
                  </a:lnTo>
                  <a:lnTo>
                    <a:pt x="90" y="120"/>
                  </a:lnTo>
                  <a:lnTo>
                    <a:pt x="90" y="126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90" y="156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0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0" y="216"/>
                  </a:lnTo>
                  <a:lnTo>
                    <a:pt x="90" y="222"/>
                  </a:lnTo>
                  <a:lnTo>
                    <a:pt x="90" y="228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0" y="246"/>
                  </a:lnTo>
                  <a:lnTo>
                    <a:pt x="84" y="246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6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54" y="240"/>
                  </a:lnTo>
                  <a:lnTo>
                    <a:pt x="48" y="240"/>
                  </a:lnTo>
                  <a:lnTo>
                    <a:pt x="48" y="234"/>
                  </a:lnTo>
                  <a:lnTo>
                    <a:pt x="48" y="228"/>
                  </a:lnTo>
                  <a:lnTo>
                    <a:pt x="42" y="228"/>
                  </a:lnTo>
                  <a:lnTo>
                    <a:pt x="42" y="222"/>
                  </a:lnTo>
                  <a:lnTo>
                    <a:pt x="36" y="222"/>
                  </a:lnTo>
                  <a:lnTo>
                    <a:pt x="36" y="216"/>
                  </a:lnTo>
                  <a:lnTo>
                    <a:pt x="36" y="210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42" y="144"/>
                  </a:lnTo>
                  <a:lnTo>
                    <a:pt x="48" y="144"/>
                  </a:lnTo>
                  <a:lnTo>
                    <a:pt x="48" y="138"/>
                  </a:lnTo>
                  <a:lnTo>
                    <a:pt x="42" y="138"/>
                  </a:lnTo>
                  <a:lnTo>
                    <a:pt x="42" y="132"/>
                  </a:lnTo>
                  <a:lnTo>
                    <a:pt x="36" y="132"/>
                  </a:lnTo>
                  <a:lnTo>
                    <a:pt x="36" y="126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30" y="66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24" y="42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6" y="30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4" name="Freeform 37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2091" y="1841"/>
              <a:ext cx="132" cy="260"/>
            </a:xfrm>
            <a:custGeom>
              <a:avLst/>
              <a:gdLst>
                <a:gd name="T0" fmla="*/ 6 w 156"/>
                <a:gd name="T1" fmla="*/ 35 h 306"/>
                <a:gd name="T2" fmla="*/ 6 w 156"/>
                <a:gd name="T3" fmla="*/ 35 h 306"/>
                <a:gd name="T4" fmla="*/ 9 w 156"/>
                <a:gd name="T5" fmla="*/ 28 h 306"/>
                <a:gd name="T6" fmla="*/ 15 w 156"/>
                <a:gd name="T7" fmla="*/ 25 h 306"/>
                <a:gd name="T8" fmla="*/ 25 w 156"/>
                <a:gd name="T9" fmla="*/ 25 h 306"/>
                <a:gd name="T10" fmla="*/ 37 w 156"/>
                <a:gd name="T11" fmla="*/ 22 h 306"/>
                <a:gd name="T12" fmla="*/ 40 w 156"/>
                <a:gd name="T13" fmla="*/ 15 h 306"/>
                <a:gd name="T14" fmla="*/ 40 w 156"/>
                <a:gd name="T15" fmla="*/ 12 h 306"/>
                <a:gd name="T16" fmla="*/ 43 w 156"/>
                <a:gd name="T17" fmla="*/ 12 h 306"/>
                <a:gd name="T18" fmla="*/ 40 w 156"/>
                <a:gd name="T19" fmla="*/ 6 h 306"/>
                <a:gd name="T20" fmla="*/ 46 w 156"/>
                <a:gd name="T21" fmla="*/ 3 h 306"/>
                <a:gd name="T22" fmla="*/ 52 w 156"/>
                <a:gd name="T23" fmla="*/ 0 h 306"/>
                <a:gd name="T24" fmla="*/ 58 w 156"/>
                <a:gd name="T25" fmla="*/ 6 h 306"/>
                <a:gd name="T26" fmla="*/ 65 w 156"/>
                <a:gd name="T27" fmla="*/ 9 h 306"/>
                <a:gd name="T28" fmla="*/ 71 w 156"/>
                <a:gd name="T29" fmla="*/ 15 h 306"/>
                <a:gd name="T30" fmla="*/ 71 w 156"/>
                <a:gd name="T31" fmla="*/ 28 h 306"/>
                <a:gd name="T32" fmla="*/ 77 w 156"/>
                <a:gd name="T33" fmla="*/ 35 h 306"/>
                <a:gd name="T34" fmla="*/ 77 w 156"/>
                <a:gd name="T35" fmla="*/ 43 h 306"/>
                <a:gd name="T36" fmla="*/ 77 w 156"/>
                <a:gd name="T37" fmla="*/ 50 h 306"/>
                <a:gd name="T38" fmla="*/ 71 w 156"/>
                <a:gd name="T39" fmla="*/ 54 h 306"/>
                <a:gd name="T40" fmla="*/ 74 w 156"/>
                <a:gd name="T41" fmla="*/ 59 h 306"/>
                <a:gd name="T42" fmla="*/ 71 w 156"/>
                <a:gd name="T43" fmla="*/ 65 h 306"/>
                <a:gd name="T44" fmla="*/ 65 w 156"/>
                <a:gd name="T45" fmla="*/ 69 h 306"/>
                <a:gd name="T46" fmla="*/ 62 w 156"/>
                <a:gd name="T47" fmla="*/ 78 h 306"/>
                <a:gd name="T48" fmla="*/ 58 w 156"/>
                <a:gd name="T49" fmla="*/ 84 h 306"/>
                <a:gd name="T50" fmla="*/ 52 w 156"/>
                <a:gd name="T51" fmla="*/ 88 h 306"/>
                <a:gd name="T52" fmla="*/ 52 w 156"/>
                <a:gd name="T53" fmla="*/ 91 h 306"/>
                <a:gd name="T54" fmla="*/ 52 w 156"/>
                <a:gd name="T55" fmla="*/ 93 h 306"/>
                <a:gd name="T56" fmla="*/ 49 w 156"/>
                <a:gd name="T57" fmla="*/ 99 h 306"/>
                <a:gd name="T58" fmla="*/ 49 w 156"/>
                <a:gd name="T59" fmla="*/ 109 h 306"/>
                <a:gd name="T60" fmla="*/ 49 w 156"/>
                <a:gd name="T61" fmla="*/ 119 h 306"/>
                <a:gd name="T62" fmla="*/ 52 w 156"/>
                <a:gd name="T63" fmla="*/ 128 h 306"/>
                <a:gd name="T64" fmla="*/ 52 w 156"/>
                <a:gd name="T65" fmla="*/ 134 h 306"/>
                <a:gd name="T66" fmla="*/ 52 w 156"/>
                <a:gd name="T67" fmla="*/ 137 h 306"/>
                <a:gd name="T68" fmla="*/ 49 w 156"/>
                <a:gd name="T69" fmla="*/ 144 h 306"/>
                <a:gd name="T70" fmla="*/ 49 w 156"/>
                <a:gd name="T71" fmla="*/ 147 h 306"/>
                <a:gd name="T72" fmla="*/ 49 w 156"/>
                <a:gd name="T73" fmla="*/ 156 h 306"/>
                <a:gd name="T74" fmla="*/ 37 w 156"/>
                <a:gd name="T75" fmla="*/ 156 h 306"/>
                <a:gd name="T76" fmla="*/ 28 w 156"/>
                <a:gd name="T77" fmla="*/ 160 h 306"/>
                <a:gd name="T78" fmla="*/ 25 w 156"/>
                <a:gd name="T79" fmla="*/ 160 h 306"/>
                <a:gd name="T80" fmla="*/ 28 w 156"/>
                <a:gd name="T81" fmla="*/ 156 h 306"/>
                <a:gd name="T82" fmla="*/ 25 w 156"/>
                <a:gd name="T83" fmla="*/ 150 h 306"/>
                <a:gd name="T84" fmla="*/ 21 w 156"/>
                <a:gd name="T85" fmla="*/ 144 h 306"/>
                <a:gd name="T86" fmla="*/ 21 w 156"/>
                <a:gd name="T87" fmla="*/ 128 h 306"/>
                <a:gd name="T88" fmla="*/ 21 w 156"/>
                <a:gd name="T89" fmla="*/ 125 h 306"/>
                <a:gd name="T90" fmla="*/ 21 w 156"/>
                <a:gd name="T91" fmla="*/ 113 h 306"/>
                <a:gd name="T92" fmla="*/ 21 w 156"/>
                <a:gd name="T93" fmla="*/ 99 h 306"/>
                <a:gd name="T94" fmla="*/ 21 w 156"/>
                <a:gd name="T95" fmla="*/ 91 h 306"/>
                <a:gd name="T96" fmla="*/ 18 w 156"/>
                <a:gd name="T97" fmla="*/ 82 h 306"/>
                <a:gd name="T98" fmla="*/ 15 w 156"/>
                <a:gd name="T99" fmla="*/ 71 h 306"/>
                <a:gd name="T100" fmla="*/ 9 w 156"/>
                <a:gd name="T101" fmla="*/ 59 h 306"/>
                <a:gd name="T102" fmla="*/ 0 w 156"/>
                <a:gd name="T103" fmla="*/ 50 h 306"/>
                <a:gd name="T104" fmla="*/ 3 w 156"/>
                <a:gd name="T105" fmla="*/ 41 h 30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56" h="306">
                  <a:moveTo>
                    <a:pt x="6" y="72"/>
                  </a:moveTo>
                  <a:lnTo>
                    <a:pt x="6" y="66"/>
                  </a:lnTo>
                  <a:lnTo>
                    <a:pt x="12" y="66"/>
                  </a:lnTo>
                  <a:lnTo>
                    <a:pt x="18" y="66"/>
                  </a:lnTo>
                  <a:lnTo>
                    <a:pt x="12" y="60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48"/>
                  </a:lnTo>
                  <a:lnTo>
                    <a:pt x="48" y="48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78" y="30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84" y="12"/>
                  </a:lnTo>
                  <a:lnTo>
                    <a:pt x="78" y="12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6" y="6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26" y="24"/>
                  </a:lnTo>
                  <a:lnTo>
                    <a:pt x="132" y="24"/>
                  </a:lnTo>
                  <a:lnTo>
                    <a:pt x="138" y="30"/>
                  </a:lnTo>
                  <a:lnTo>
                    <a:pt x="138" y="36"/>
                  </a:lnTo>
                  <a:lnTo>
                    <a:pt x="138" y="42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44" y="66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0" y="84"/>
                  </a:lnTo>
                  <a:lnTo>
                    <a:pt x="156" y="90"/>
                  </a:lnTo>
                  <a:lnTo>
                    <a:pt x="150" y="90"/>
                  </a:lnTo>
                  <a:lnTo>
                    <a:pt x="150" y="96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38" y="102"/>
                  </a:lnTo>
                  <a:lnTo>
                    <a:pt x="138" y="108"/>
                  </a:lnTo>
                  <a:lnTo>
                    <a:pt x="144" y="108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8" y="120"/>
                  </a:lnTo>
                  <a:lnTo>
                    <a:pt x="138" y="126"/>
                  </a:lnTo>
                  <a:lnTo>
                    <a:pt x="132" y="126"/>
                  </a:lnTo>
                  <a:lnTo>
                    <a:pt x="126" y="126"/>
                  </a:lnTo>
                  <a:lnTo>
                    <a:pt x="126" y="132"/>
                  </a:lnTo>
                  <a:lnTo>
                    <a:pt x="126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20" y="156"/>
                  </a:lnTo>
                  <a:lnTo>
                    <a:pt x="114" y="156"/>
                  </a:lnTo>
                  <a:lnTo>
                    <a:pt x="114" y="162"/>
                  </a:lnTo>
                  <a:lnTo>
                    <a:pt x="108" y="162"/>
                  </a:lnTo>
                  <a:lnTo>
                    <a:pt x="102" y="162"/>
                  </a:lnTo>
                  <a:lnTo>
                    <a:pt x="102" y="168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80"/>
                  </a:lnTo>
                  <a:lnTo>
                    <a:pt x="102" y="180"/>
                  </a:lnTo>
                  <a:lnTo>
                    <a:pt x="96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96" y="210"/>
                  </a:lnTo>
                  <a:lnTo>
                    <a:pt x="96" y="216"/>
                  </a:lnTo>
                  <a:lnTo>
                    <a:pt x="96" y="222"/>
                  </a:lnTo>
                  <a:lnTo>
                    <a:pt x="96" y="228"/>
                  </a:lnTo>
                  <a:lnTo>
                    <a:pt x="96" y="234"/>
                  </a:lnTo>
                  <a:lnTo>
                    <a:pt x="96" y="240"/>
                  </a:lnTo>
                  <a:lnTo>
                    <a:pt x="102" y="246"/>
                  </a:lnTo>
                  <a:lnTo>
                    <a:pt x="96" y="246"/>
                  </a:lnTo>
                  <a:lnTo>
                    <a:pt x="96" y="252"/>
                  </a:lnTo>
                  <a:lnTo>
                    <a:pt x="102" y="258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6" y="282"/>
                  </a:lnTo>
                  <a:lnTo>
                    <a:pt x="102" y="282"/>
                  </a:lnTo>
                  <a:lnTo>
                    <a:pt x="96" y="282"/>
                  </a:lnTo>
                  <a:lnTo>
                    <a:pt x="96" y="288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84" y="300"/>
                  </a:lnTo>
                  <a:lnTo>
                    <a:pt x="78" y="300"/>
                  </a:lnTo>
                  <a:lnTo>
                    <a:pt x="72" y="300"/>
                  </a:lnTo>
                  <a:lnTo>
                    <a:pt x="66" y="300"/>
                  </a:lnTo>
                  <a:lnTo>
                    <a:pt x="60" y="306"/>
                  </a:lnTo>
                  <a:lnTo>
                    <a:pt x="54" y="306"/>
                  </a:lnTo>
                  <a:lnTo>
                    <a:pt x="48" y="306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54" y="306"/>
                  </a:lnTo>
                  <a:lnTo>
                    <a:pt x="48" y="300"/>
                  </a:lnTo>
                  <a:lnTo>
                    <a:pt x="54" y="300"/>
                  </a:lnTo>
                  <a:lnTo>
                    <a:pt x="48" y="300"/>
                  </a:lnTo>
                  <a:lnTo>
                    <a:pt x="48" y="294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42" y="216"/>
                  </a:lnTo>
                  <a:lnTo>
                    <a:pt x="42" y="204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2" y="168"/>
                  </a:lnTo>
                  <a:lnTo>
                    <a:pt x="42" y="162"/>
                  </a:lnTo>
                  <a:lnTo>
                    <a:pt x="36" y="156"/>
                  </a:lnTo>
                  <a:lnTo>
                    <a:pt x="30" y="150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0"/>
                  </a:lnTo>
                  <a:lnTo>
                    <a:pt x="18" y="114"/>
                  </a:lnTo>
                  <a:lnTo>
                    <a:pt x="12" y="108"/>
                  </a:lnTo>
                  <a:lnTo>
                    <a:pt x="0" y="102"/>
                  </a:lnTo>
                  <a:lnTo>
                    <a:pt x="0" y="96"/>
                  </a:lnTo>
                  <a:lnTo>
                    <a:pt x="0" y="90"/>
                  </a:lnTo>
                  <a:lnTo>
                    <a:pt x="0" y="84"/>
                  </a:lnTo>
                  <a:lnTo>
                    <a:pt x="6" y="78"/>
                  </a:lnTo>
                  <a:lnTo>
                    <a:pt x="6" y="7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5" name="Freeform 38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2626" y="1372"/>
              <a:ext cx="444" cy="678"/>
            </a:xfrm>
            <a:custGeom>
              <a:avLst/>
              <a:gdLst>
                <a:gd name="T0" fmla="*/ 88 w 522"/>
                <a:gd name="T1" fmla="*/ 12 h 798"/>
                <a:gd name="T2" fmla="*/ 198 w 522"/>
                <a:gd name="T3" fmla="*/ 65 h 798"/>
                <a:gd name="T4" fmla="*/ 274 w 522"/>
                <a:gd name="T5" fmla="*/ 103 h 798"/>
                <a:gd name="T6" fmla="*/ 261 w 522"/>
                <a:gd name="T7" fmla="*/ 203 h 798"/>
                <a:gd name="T8" fmla="*/ 251 w 522"/>
                <a:gd name="T9" fmla="*/ 200 h 798"/>
                <a:gd name="T10" fmla="*/ 248 w 522"/>
                <a:gd name="T11" fmla="*/ 210 h 798"/>
                <a:gd name="T12" fmla="*/ 242 w 522"/>
                <a:gd name="T13" fmla="*/ 218 h 798"/>
                <a:gd name="T14" fmla="*/ 236 w 522"/>
                <a:gd name="T15" fmla="*/ 228 h 798"/>
                <a:gd name="T16" fmla="*/ 233 w 522"/>
                <a:gd name="T17" fmla="*/ 238 h 798"/>
                <a:gd name="T18" fmla="*/ 225 w 522"/>
                <a:gd name="T19" fmla="*/ 247 h 798"/>
                <a:gd name="T20" fmla="*/ 230 w 522"/>
                <a:gd name="T21" fmla="*/ 263 h 798"/>
                <a:gd name="T22" fmla="*/ 220 w 522"/>
                <a:gd name="T23" fmla="*/ 272 h 798"/>
                <a:gd name="T24" fmla="*/ 223 w 522"/>
                <a:gd name="T25" fmla="*/ 281 h 798"/>
                <a:gd name="T26" fmla="*/ 233 w 522"/>
                <a:gd name="T27" fmla="*/ 285 h 798"/>
                <a:gd name="T28" fmla="*/ 239 w 522"/>
                <a:gd name="T29" fmla="*/ 297 h 798"/>
                <a:gd name="T30" fmla="*/ 248 w 522"/>
                <a:gd name="T31" fmla="*/ 316 h 798"/>
                <a:gd name="T32" fmla="*/ 236 w 522"/>
                <a:gd name="T33" fmla="*/ 325 h 798"/>
                <a:gd name="T34" fmla="*/ 230 w 522"/>
                <a:gd name="T35" fmla="*/ 325 h 798"/>
                <a:gd name="T36" fmla="*/ 220 w 522"/>
                <a:gd name="T37" fmla="*/ 329 h 798"/>
                <a:gd name="T38" fmla="*/ 213 w 522"/>
                <a:gd name="T39" fmla="*/ 334 h 798"/>
                <a:gd name="T40" fmla="*/ 213 w 522"/>
                <a:gd name="T41" fmla="*/ 341 h 798"/>
                <a:gd name="T42" fmla="*/ 201 w 522"/>
                <a:gd name="T43" fmla="*/ 350 h 798"/>
                <a:gd name="T44" fmla="*/ 195 w 522"/>
                <a:gd name="T45" fmla="*/ 357 h 798"/>
                <a:gd name="T46" fmla="*/ 185 w 522"/>
                <a:gd name="T47" fmla="*/ 365 h 798"/>
                <a:gd name="T48" fmla="*/ 176 w 522"/>
                <a:gd name="T49" fmla="*/ 372 h 798"/>
                <a:gd name="T50" fmla="*/ 162 w 522"/>
                <a:gd name="T51" fmla="*/ 376 h 798"/>
                <a:gd name="T52" fmla="*/ 145 w 522"/>
                <a:gd name="T53" fmla="*/ 376 h 798"/>
                <a:gd name="T54" fmla="*/ 148 w 522"/>
                <a:gd name="T55" fmla="*/ 385 h 798"/>
                <a:gd name="T56" fmla="*/ 138 w 522"/>
                <a:gd name="T57" fmla="*/ 393 h 798"/>
                <a:gd name="T58" fmla="*/ 110 w 522"/>
                <a:gd name="T59" fmla="*/ 404 h 798"/>
                <a:gd name="T60" fmla="*/ 104 w 522"/>
                <a:gd name="T61" fmla="*/ 404 h 798"/>
                <a:gd name="T62" fmla="*/ 91 w 522"/>
                <a:gd name="T63" fmla="*/ 410 h 798"/>
                <a:gd name="T64" fmla="*/ 88 w 522"/>
                <a:gd name="T65" fmla="*/ 413 h 798"/>
                <a:gd name="T66" fmla="*/ 82 w 522"/>
                <a:gd name="T67" fmla="*/ 406 h 798"/>
                <a:gd name="T68" fmla="*/ 72 w 522"/>
                <a:gd name="T69" fmla="*/ 410 h 798"/>
                <a:gd name="T70" fmla="*/ 60 w 522"/>
                <a:gd name="T71" fmla="*/ 415 h 798"/>
                <a:gd name="T72" fmla="*/ 54 w 522"/>
                <a:gd name="T73" fmla="*/ 406 h 798"/>
                <a:gd name="T74" fmla="*/ 47 w 522"/>
                <a:gd name="T75" fmla="*/ 385 h 798"/>
                <a:gd name="T76" fmla="*/ 31 w 522"/>
                <a:gd name="T77" fmla="*/ 378 h 798"/>
                <a:gd name="T78" fmla="*/ 22 w 522"/>
                <a:gd name="T79" fmla="*/ 365 h 798"/>
                <a:gd name="T80" fmla="*/ 19 w 522"/>
                <a:gd name="T81" fmla="*/ 350 h 798"/>
                <a:gd name="T82" fmla="*/ 37 w 522"/>
                <a:gd name="T83" fmla="*/ 350 h 798"/>
                <a:gd name="T84" fmla="*/ 56 w 522"/>
                <a:gd name="T85" fmla="*/ 350 h 798"/>
                <a:gd name="T86" fmla="*/ 47 w 522"/>
                <a:gd name="T87" fmla="*/ 341 h 798"/>
                <a:gd name="T88" fmla="*/ 43 w 522"/>
                <a:gd name="T89" fmla="*/ 325 h 798"/>
                <a:gd name="T90" fmla="*/ 43 w 522"/>
                <a:gd name="T91" fmla="*/ 313 h 798"/>
                <a:gd name="T92" fmla="*/ 41 w 522"/>
                <a:gd name="T93" fmla="*/ 303 h 798"/>
                <a:gd name="T94" fmla="*/ 41 w 522"/>
                <a:gd name="T95" fmla="*/ 303 h 798"/>
                <a:gd name="T96" fmla="*/ 37 w 522"/>
                <a:gd name="T97" fmla="*/ 294 h 798"/>
                <a:gd name="T98" fmla="*/ 35 w 522"/>
                <a:gd name="T99" fmla="*/ 279 h 798"/>
                <a:gd name="T100" fmla="*/ 16 w 522"/>
                <a:gd name="T101" fmla="*/ 268 h 798"/>
                <a:gd name="T102" fmla="*/ 0 w 522"/>
                <a:gd name="T103" fmla="*/ 234 h 798"/>
                <a:gd name="T104" fmla="*/ 9 w 522"/>
                <a:gd name="T105" fmla="*/ 223 h 798"/>
                <a:gd name="T106" fmla="*/ 31 w 522"/>
                <a:gd name="T107" fmla="*/ 194 h 798"/>
                <a:gd name="T108" fmla="*/ 56 w 522"/>
                <a:gd name="T109" fmla="*/ 113 h 798"/>
                <a:gd name="T110" fmla="*/ 65 w 522"/>
                <a:gd name="T111" fmla="*/ 82 h 798"/>
                <a:gd name="T112" fmla="*/ 54 w 522"/>
                <a:gd name="T113" fmla="*/ 65 h 798"/>
                <a:gd name="T114" fmla="*/ 43 w 522"/>
                <a:gd name="T115" fmla="*/ 28 h 79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22" h="798">
                  <a:moveTo>
                    <a:pt x="78" y="24"/>
                  </a:moveTo>
                  <a:lnTo>
                    <a:pt x="108" y="12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0"/>
                  </a:lnTo>
                  <a:lnTo>
                    <a:pt x="168" y="24"/>
                  </a:lnTo>
                  <a:lnTo>
                    <a:pt x="228" y="54"/>
                  </a:lnTo>
                  <a:lnTo>
                    <a:pt x="240" y="54"/>
                  </a:lnTo>
                  <a:lnTo>
                    <a:pt x="264" y="66"/>
                  </a:lnTo>
                  <a:lnTo>
                    <a:pt x="342" y="108"/>
                  </a:lnTo>
                  <a:lnTo>
                    <a:pt x="360" y="114"/>
                  </a:lnTo>
                  <a:lnTo>
                    <a:pt x="378" y="126"/>
                  </a:lnTo>
                  <a:lnTo>
                    <a:pt x="396" y="132"/>
                  </a:lnTo>
                  <a:lnTo>
                    <a:pt x="402" y="132"/>
                  </a:lnTo>
                  <a:lnTo>
                    <a:pt x="414" y="144"/>
                  </a:lnTo>
                  <a:lnTo>
                    <a:pt x="450" y="162"/>
                  </a:lnTo>
                  <a:lnTo>
                    <a:pt x="486" y="180"/>
                  </a:lnTo>
                  <a:lnTo>
                    <a:pt x="522" y="198"/>
                  </a:lnTo>
                  <a:lnTo>
                    <a:pt x="522" y="390"/>
                  </a:lnTo>
                  <a:lnTo>
                    <a:pt x="516" y="384"/>
                  </a:lnTo>
                  <a:lnTo>
                    <a:pt x="510" y="384"/>
                  </a:lnTo>
                  <a:lnTo>
                    <a:pt x="504" y="384"/>
                  </a:lnTo>
                  <a:lnTo>
                    <a:pt x="498" y="384"/>
                  </a:lnTo>
                  <a:lnTo>
                    <a:pt x="498" y="390"/>
                  </a:lnTo>
                  <a:lnTo>
                    <a:pt x="492" y="390"/>
                  </a:lnTo>
                  <a:lnTo>
                    <a:pt x="486" y="390"/>
                  </a:lnTo>
                  <a:lnTo>
                    <a:pt x="486" y="384"/>
                  </a:lnTo>
                  <a:lnTo>
                    <a:pt x="486" y="390"/>
                  </a:lnTo>
                  <a:lnTo>
                    <a:pt x="480" y="390"/>
                  </a:lnTo>
                  <a:lnTo>
                    <a:pt x="480" y="384"/>
                  </a:lnTo>
                  <a:lnTo>
                    <a:pt x="480" y="390"/>
                  </a:lnTo>
                  <a:lnTo>
                    <a:pt x="474" y="390"/>
                  </a:lnTo>
                  <a:lnTo>
                    <a:pt x="474" y="396"/>
                  </a:lnTo>
                  <a:lnTo>
                    <a:pt x="468" y="396"/>
                  </a:lnTo>
                  <a:lnTo>
                    <a:pt x="468" y="402"/>
                  </a:lnTo>
                  <a:lnTo>
                    <a:pt x="474" y="402"/>
                  </a:lnTo>
                  <a:lnTo>
                    <a:pt x="474" y="408"/>
                  </a:lnTo>
                  <a:lnTo>
                    <a:pt x="474" y="414"/>
                  </a:lnTo>
                  <a:lnTo>
                    <a:pt x="468" y="414"/>
                  </a:lnTo>
                  <a:lnTo>
                    <a:pt x="474" y="414"/>
                  </a:lnTo>
                  <a:lnTo>
                    <a:pt x="468" y="420"/>
                  </a:lnTo>
                  <a:lnTo>
                    <a:pt x="462" y="420"/>
                  </a:lnTo>
                  <a:lnTo>
                    <a:pt x="462" y="426"/>
                  </a:lnTo>
                  <a:lnTo>
                    <a:pt x="456" y="426"/>
                  </a:lnTo>
                  <a:lnTo>
                    <a:pt x="456" y="432"/>
                  </a:lnTo>
                  <a:lnTo>
                    <a:pt x="462" y="438"/>
                  </a:lnTo>
                  <a:lnTo>
                    <a:pt x="456" y="438"/>
                  </a:lnTo>
                  <a:lnTo>
                    <a:pt x="450" y="438"/>
                  </a:lnTo>
                  <a:lnTo>
                    <a:pt x="450" y="444"/>
                  </a:lnTo>
                  <a:lnTo>
                    <a:pt x="444" y="444"/>
                  </a:lnTo>
                  <a:lnTo>
                    <a:pt x="444" y="450"/>
                  </a:lnTo>
                  <a:lnTo>
                    <a:pt x="444" y="456"/>
                  </a:lnTo>
                  <a:lnTo>
                    <a:pt x="450" y="456"/>
                  </a:lnTo>
                  <a:lnTo>
                    <a:pt x="444" y="456"/>
                  </a:lnTo>
                  <a:lnTo>
                    <a:pt x="450" y="462"/>
                  </a:lnTo>
                  <a:lnTo>
                    <a:pt x="456" y="462"/>
                  </a:lnTo>
                  <a:lnTo>
                    <a:pt x="450" y="468"/>
                  </a:lnTo>
                  <a:lnTo>
                    <a:pt x="444" y="468"/>
                  </a:lnTo>
                  <a:lnTo>
                    <a:pt x="438" y="474"/>
                  </a:lnTo>
                  <a:lnTo>
                    <a:pt x="432" y="474"/>
                  </a:lnTo>
                  <a:lnTo>
                    <a:pt x="432" y="480"/>
                  </a:lnTo>
                  <a:lnTo>
                    <a:pt x="432" y="486"/>
                  </a:lnTo>
                  <a:lnTo>
                    <a:pt x="432" y="492"/>
                  </a:lnTo>
                  <a:lnTo>
                    <a:pt x="438" y="492"/>
                  </a:lnTo>
                  <a:lnTo>
                    <a:pt x="438" y="498"/>
                  </a:lnTo>
                  <a:lnTo>
                    <a:pt x="438" y="504"/>
                  </a:lnTo>
                  <a:lnTo>
                    <a:pt x="438" y="510"/>
                  </a:lnTo>
                  <a:lnTo>
                    <a:pt x="432" y="510"/>
                  </a:lnTo>
                  <a:lnTo>
                    <a:pt x="432" y="516"/>
                  </a:lnTo>
                  <a:lnTo>
                    <a:pt x="426" y="516"/>
                  </a:lnTo>
                  <a:lnTo>
                    <a:pt x="420" y="51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14" y="528"/>
                  </a:lnTo>
                  <a:lnTo>
                    <a:pt x="414" y="534"/>
                  </a:lnTo>
                  <a:lnTo>
                    <a:pt x="420" y="534"/>
                  </a:lnTo>
                  <a:lnTo>
                    <a:pt x="420" y="540"/>
                  </a:lnTo>
                  <a:lnTo>
                    <a:pt x="426" y="540"/>
                  </a:lnTo>
                  <a:lnTo>
                    <a:pt x="432" y="540"/>
                  </a:lnTo>
                  <a:lnTo>
                    <a:pt x="432" y="534"/>
                  </a:lnTo>
                  <a:lnTo>
                    <a:pt x="438" y="534"/>
                  </a:lnTo>
                  <a:lnTo>
                    <a:pt x="444" y="540"/>
                  </a:lnTo>
                  <a:lnTo>
                    <a:pt x="450" y="540"/>
                  </a:lnTo>
                  <a:lnTo>
                    <a:pt x="444" y="546"/>
                  </a:lnTo>
                  <a:lnTo>
                    <a:pt x="444" y="552"/>
                  </a:lnTo>
                  <a:lnTo>
                    <a:pt x="444" y="558"/>
                  </a:lnTo>
                  <a:lnTo>
                    <a:pt x="450" y="558"/>
                  </a:lnTo>
                  <a:lnTo>
                    <a:pt x="450" y="564"/>
                  </a:lnTo>
                  <a:lnTo>
                    <a:pt x="450" y="570"/>
                  </a:lnTo>
                  <a:lnTo>
                    <a:pt x="456" y="570"/>
                  </a:lnTo>
                  <a:lnTo>
                    <a:pt x="450" y="588"/>
                  </a:lnTo>
                  <a:lnTo>
                    <a:pt x="456" y="594"/>
                  </a:lnTo>
                  <a:lnTo>
                    <a:pt x="462" y="600"/>
                  </a:lnTo>
                  <a:lnTo>
                    <a:pt x="468" y="600"/>
                  </a:lnTo>
                  <a:lnTo>
                    <a:pt x="474" y="600"/>
                  </a:lnTo>
                  <a:lnTo>
                    <a:pt x="474" y="606"/>
                  </a:lnTo>
                  <a:lnTo>
                    <a:pt x="474" y="612"/>
                  </a:lnTo>
                  <a:lnTo>
                    <a:pt x="474" y="618"/>
                  </a:lnTo>
                  <a:lnTo>
                    <a:pt x="468" y="624"/>
                  </a:lnTo>
                  <a:lnTo>
                    <a:pt x="462" y="624"/>
                  </a:lnTo>
                  <a:lnTo>
                    <a:pt x="456" y="624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50" y="618"/>
                  </a:lnTo>
                  <a:lnTo>
                    <a:pt x="450" y="624"/>
                  </a:lnTo>
                  <a:lnTo>
                    <a:pt x="444" y="624"/>
                  </a:lnTo>
                  <a:lnTo>
                    <a:pt x="438" y="624"/>
                  </a:lnTo>
                  <a:lnTo>
                    <a:pt x="432" y="624"/>
                  </a:lnTo>
                  <a:lnTo>
                    <a:pt x="432" y="630"/>
                  </a:lnTo>
                  <a:lnTo>
                    <a:pt x="432" y="624"/>
                  </a:lnTo>
                  <a:lnTo>
                    <a:pt x="426" y="624"/>
                  </a:lnTo>
                  <a:lnTo>
                    <a:pt x="426" y="630"/>
                  </a:lnTo>
                  <a:lnTo>
                    <a:pt x="420" y="630"/>
                  </a:lnTo>
                  <a:lnTo>
                    <a:pt x="414" y="630"/>
                  </a:lnTo>
                  <a:lnTo>
                    <a:pt x="414" y="636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14" y="642"/>
                  </a:lnTo>
                  <a:lnTo>
                    <a:pt x="408" y="642"/>
                  </a:lnTo>
                  <a:lnTo>
                    <a:pt x="408" y="648"/>
                  </a:lnTo>
                  <a:lnTo>
                    <a:pt x="414" y="648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14" y="654"/>
                  </a:lnTo>
                  <a:lnTo>
                    <a:pt x="408" y="654"/>
                  </a:lnTo>
                  <a:lnTo>
                    <a:pt x="408" y="660"/>
                  </a:lnTo>
                  <a:lnTo>
                    <a:pt x="402" y="660"/>
                  </a:lnTo>
                  <a:lnTo>
                    <a:pt x="396" y="666"/>
                  </a:lnTo>
                  <a:lnTo>
                    <a:pt x="396" y="672"/>
                  </a:lnTo>
                  <a:lnTo>
                    <a:pt x="390" y="672"/>
                  </a:lnTo>
                  <a:lnTo>
                    <a:pt x="384" y="672"/>
                  </a:lnTo>
                  <a:lnTo>
                    <a:pt x="384" y="678"/>
                  </a:lnTo>
                  <a:lnTo>
                    <a:pt x="378" y="678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8" y="684"/>
                  </a:lnTo>
                  <a:lnTo>
                    <a:pt x="372" y="684"/>
                  </a:lnTo>
                  <a:lnTo>
                    <a:pt x="372" y="690"/>
                  </a:lnTo>
                  <a:lnTo>
                    <a:pt x="372" y="696"/>
                  </a:lnTo>
                  <a:lnTo>
                    <a:pt x="366" y="696"/>
                  </a:lnTo>
                  <a:lnTo>
                    <a:pt x="366" y="702"/>
                  </a:lnTo>
                  <a:lnTo>
                    <a:pt x="360" y="702"/>
                  </a:lnTo>
                  <a:lnTo>
                    <a:pt x="354" y="702"/>
                  </a:lnTo>
                  <a:lnTo>
                    <a:pt x="348" y="708"/>
                  </a:lnTo>
                  <a:lnTo>
                    <a:pt x="348" y="702"/>
                  </a:lnTo>
                  <a:lnTo>
                    <a:pt x="348" y="708"/>
                  </a:lnTo>
                  <a:lnTo>
                    <a:pt x="348" y="714"/>
                  </a:lnTo>
                  <a:lnTo>
                    <a:pt x="342" y="714"/>
                  </a:lnTo>
                  <a:lnTo>
                    <a:pt x="336" y="714"/>
                  </a:lnTo>
                  <a:lnTo>
                    <a:pt x="330" y="714"/>
                  </a:lnTo>
                  <a:lnTo>
                    <a:pt x="324" y="714"/>
                  </a:lnTo>
                  <a:lnTo>
                    <a:pt x="324" y="720"/>
                  </a:lnTo>
                  <a:lnTo>
                    <a:pt x="318" y="714"/>
                  </a:lnTo>
                  <a:lnTo>
                    <a:pt x="318" y="720"/>
                  </a:lnTo>
                  <a:lnTo>
                    <a:pt x="312" y="720"/>
                  </a:lnTo>
                  <a:lnTo>
                    <a:pt x="306" y="720"/>
                  </a:lnTo>
                  <a:lnTo>
                    <a:pt x="300" y="720"/>
                  </a:lnTo>
                  <a:lnTo>
                    <a:pt x="294" y="720"/>
                  </a:lnTo>
                  <a:lnTo>
                    <a:pt x="288" y="720"/>
                  </a:lnTo>
                  <a:lnTo>
                    <a:pt x="282" y="720"/>
                  </a:lnTo>
                  <a:lnTo>
                    <a:pt x="276" y="720"/>
                  </a:lnTo>
                  <a:lnTo>
                    <a:pt x="276" y="726"/>
                  </a:lnTo>
                  <a:lnTo>
                    <a:pt x="270" y="726"/>
                  </a:lnTo>
                  <a:lnTo>
                    <a:pt x="270" y="732"/>
                  </a:lnTo>
                  <a:lnTo>
                    <a:pt x="276" y="732"/>
                  </a:lnTo>
                  <a:lnTo>
                    <a:pt x="282" y="732"/>
                  </a:lnTo>
                  <a:lnTo>
                    <a:pt x="282" y="738"/>
                  </a:lnTo>
                  <a:lnTo>
                    <a:pt x="276" y="738"/>
                  </a:lnTo>
                  <a:lnTo>
                    <a:pt x="276" y="744"/>
                  </a:lnTo>
                  <a:lnTo>
                    <a:pt x="276" y="750"/>
                  </a:lnTo>
                  <a:lnTo>
                    <a:pt x="270" y="750"/>
                  </a:lnTo>
                  <a:lnTo>
                    <a:pt x="270" y="756"/>
                  </a:lnTo>
                  <a:lnTo>
                    <a:pt x="264" y="756"/>
                  </a:lnTo>
                  <a:lnTo>
                    <a:pt x="258" y="762"/>
                  </a:lnTo>
                  <a:lnTo>
                    <a:pt x="258" y="768"/>
                  </a:lnTo>
                  <a:lnTo>
                    <a:pt x="240" y="768"/>
                  </a:lnTo>
                  <a:lnTo>
                    <a:pt x="228" y="768"/>
                  </a:lnTo>
                  <a:lnTo>
                    <a:pt x="222" y="774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10" y="768"/>
                  </a:lnTo>
                  <a:lnTo>
                    <a:pt x="210" y="774"/>
                  </a:lnTo>
                  <a:lnTo>
                    <a:pt x="204" y="774"/>
                  </a:lnTo>
                  <a:lnTo>
                    <a:pt x="198" y="774"/>
                  </a:lnTo>
                  <a:lnTo>
                    <a:pt x="198" y="780"/>
                  </a:lnTo>
                  <a:lnTo>
                    <a:pt x="192" y="780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74" y="786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74" y="792"/>
                  </a:lnTo>
                  <a:lnTo>
                    <a:pt x="168" y="792"/>
                  </a:lnTo>
                  <a:lnTo>
                    <a:pt x="162" y="792"/>
                  </a:lnTo>
                  <a:lnTo>
                    <a:pt x="162" y="786"/>
                  </a:lnTo>
                  <a:lnTo>
                    <a:pt x="162" y="780"/>
                  </a:lnTo>
                  <a:lnTo>
                    <a:pt x="156" y="780"/>
                  </a:lnTo>
                  <a:lnTo>
                    <a:pt x="156" y="774"/>
                  </a:lnTo>
                  <a:lnTo>
                    <a:pt x="156" y="78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50" y="780"/>
                  </a:lnTo>
                  <a:lnTo>
                    <a:pt x="150" y="786"/>
                  </a:lnTo>
                  <a:lnTo>
                    <a:pt x="144" y="786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32" y="792"/>
                  </a:lnTo>
                  <a:lnTo>
                    <a:pt x="126" y="792"/>
                  </a:lnTo>
                  <a:lnTo>
                    <a:pt x="126" y="798"/>
                  </a:lnTo>
                  <a:lnTo>
                    <a:pt x="120" y="798"/>
                  </a:lnTo>
                  <a:lnTo>
                    <a:pt x="114" y="798"/>
                  </a:lnTo>
                  <a:lnTo>
                    <a:pt x="114" y="792"/>
                  </a:lnTo>
                  <a:lnTo>
                    <a:pt x="102" y="792"/>
                  </a:lnTo>
                  <a:lnTo>
                    <a:pt x="108" y="792"/>
                  </a:lnTo>
                  <a:lnTo>
                    <a:pt x="108" y="786"/>
                  </a:lnTo>
                  <a:lnTo>
                    <a:pt x="108" y="780"/>
                  </a:lnTo>
                  <a:lnTo>
                    <a:pt x="102" y="780"/>
                  </a:lnTo>
                  <a:lnTo>
                    <a:pt x="102" y="774"/>
                  </a:lnTo>
                  <a:lnTo>
                    <a:pt x="96" y="768"/>
                  </a:lnTo>
                  <a:lnTo>
                    <a:pt x="90" y="756"/>
                  </a:lnTo>
                  <a:lnTo>
                    <a:pt x="90" y="750"/>
                  </a:lnTo>
                  <a:lnTo>
                    <a:pt x="90" y="744"/>
                  </a:lnTo>
                  <a:lnTo>
                    <a:pt x="90" y="738"/>
                  </a:lnTo>
                  <a:lnTo>
                    <a:pt x="84" y="738"/>
                  </a:lnTo>
                  <a:lnTo>
                    <a:pt x="78" y="738"/>
                  </a:lnTo>
                  <a:lnTo>
                    <a:pt x="78" y="732"/>
                  </a:lnTo>
                  <a:lnTo>
                    <a:pt x="72" y="732"/>
                  </a:lnTo>
                  <a:lnTo>
                    <a:pt x="66" y="732"/>
                  </a:lnTo>
                  <a:lnTo>
                    <a:pt x="60" y="726"/>
                  </a:lnTo>
                  <a:lnTo>
                    <a:pt x="60" y="720"/>
                  </a:lnTo>
                  <a:lnTo>
                    <a:pt x="54" y="720"/>
                  </a:lnTo>
                  <a:lnTo>
                    <a:pt x="54" y="714"/>
                  </a:lnTo>
                  <a:lnTo>
                    <a:pt x="48" y="714"/>
                  </a:lnTo>
                  <a:lnTo>
                    <a:pt x="48" y="708"/>
                  </a:lnTo>
                  <a:lnTo>
                    <a:pt x="42" y="702"/>
                  </a:lnTo>
                  <a:lnTo>
                    <a:pt x="36" y="696"/>
                  </a:lnTo>
                  <a:lnTo>
                    <a:pt x="30" y="690"/>
                  </a:lnTo>
                  <a:lnTo>
                    <a:pt x="30" y="684"/>
                  </a:lnTo>
                  <a:lnTo>
                    <a:pt x="30" y="678"/>
                  </a:lnTo>
                  <a:lnTo>
                    <a:pt x="36" y="678"/>
                  </a:lnTo>
                  <a:lnTo>
                    <a:pt x="36" y="672"/>
                  </a:lnTo>
                  <a:lnTo>
                    <a:pt x="42" y="672"/>
                  </a:lnTo>
                  <a:lnTo>
                    <a:pt x="48" y="672"/>
                  </a:lnTo>
                  <a:lnTo>
                    <a:pt x="54" y="672"/>
                  </a:lnTo>
                  <a:lnTo>
                    <a:pt x="60" y="672"/>
                  </a:lnTo>
                  <a:lnTo>
                    <a:pt x="66" y="672"/>
                  </a:lnTo>
                  <a:lnTo>
                    <a:pt x="72" y="672"/>
                  </a:lnTo>
                  <a:lnTo>
                    <a:pt x="78" y="672"/>
                  </a:lnTo>
                  <a:lnTo>
                    <a:pt x="84" y="672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102" y="672"/>
                  </a:lnTo>
                  <a:lnTo>
                    <a:pt x="108" y="672"/>
                  </a:lnTo>
                  <a:lnTo>
                    <a:pt x="108" y="666"/>
                  </a:lnTo>
                  <a:lnTo>
                    <a:pt x="102" y="666"/>
                  </a:lnTo>
                  <a:lnTo>
                    <a:pt x="102" y="660"/>
                  </a:lnTo>
                  <a:lnTo>
                    <a:pt x="96" y="660"/>
                  </a:lnTo>
                  <a:lnTo>
                    <a:pt x="96" y="654"/>
                  </a:lnTo>
                  <a:lnTo>
                    <a:pt x="90" y="654"/>
                  </a:lnTo>
                  <a:lnTo>
                    <a:pt x="90" y="648"/>
                  </a:lnTo>
                  <a:lnTo>
                    <a:pt x="84" y="642"/>
                  </a:lnTo>
                  <a:lnTo>
                    <a:pt x="84" y="636"/>
                  </a:lnTo>
                  <a:lnTo>
                    <a:pt x="78" y="630"/>
                  </a:lnTo>
                  <a:lnTo>
                    <a:pt x="84" y="630"/>
                  </a:lnTo>
                  <a:lnTo>
                    <a:pt x="84" y="624"/>
                  </a:lnTo>
                  <a:lnTo>
                    <a:pt x="78" y="624"/>
                  </a:lnTo>
                  <a:lnTo>
                    <a:pt x="78" y="618"/>
                  </a:lnTo>
                  <a:lnTo>
                    <a:pt x="78" y="612"/>
                  </a:lnTo>
                  <a:lnTo>
                    <a:pt x="78" y="606"/>
                  </a:lnTo>
                  <a:lnTo>
                    <a:pt x="78" y="600"/>
                  </a:lnTo>
                  <a:lnTo>
                    <a:pt x="84" y="600"/>
                  </a:lnTo>
                  <a:lnTo>
                    <a:pt x="84" y="594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84" y="588"/>
                  </a:lnTo>
                  <a:lnTo>
                    <a:pt x="78" y="588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78" y="582"/>
                  </a:lnTo>
                  <a:lnTo>
                    <a:pt x="84" y="582"/>
                  </a:lnTo>
                  <a:lnTo>
                    <a:pt x="84" y="576"/>
                  </a:lnTo>
                  <a:lnTo>
                    <a:pt x="78" y="576"/>
                  </a:lnTo>
                  <a:lnTo>
                    <a:pt x="78" y="582"/>
                  </a:lnTo>
                  <a:lnTo>
                    <a:pt x="78" y="576"/>
                  </a:lnTo>
                  <a:lnTo>
                    <a:pt x="78" y="570"/>
                  </a:lnTo>
                  <a:lnTo>
                    <a:pt x="84" y="570"/>
                  </a:lnTo>
                  <a:lnTo>
                    <a:pt x="78" y="570"/>
                  </a:lnTo>
                  <a:lnTo>
                    <a:pt x="78" y="564"/>
                  </a:lnTo>
                  <a:lnTo>
                    <a:pt x="72" y="564"/>
                  </a:lnTo>
                  <a:lnTo>
                    <a:pt x="72" y="558"/>
                  </a:lnTo>
                  <a:lnTo>
                    <a:pt x="72" y="552"/>
                  </a:lnTo>
                  <a:lnTo>
                    <a:pt x="72" y="546"/>
                  </a:lnTo>
                  <a:lnTo>
                    <a:pt x="66" y="540"/>
                  </a:lnTo>
                  <a:lnTo>
                    <a:pt x="60" y="540"/>
                  </a:lnTo>
                  <a:lnTo>
                    <a:pt x="66" y="534"/>
                  </a:lnTo>
                  <a:lnTo>
                    <a:pt x="60" y="534"/>
                  </a:lnTo>
                  <a:lnTo>
                    <a:pt x="54" y="534"/>
                  </a:lnTo>
                  <a:lnTo>
                    <a:pt x="54" y="528"/>
                  </a:lnTo>
                  <a:lnTo>
                    <a:pt x="54" y="522"/>
                  </a:lnTo>
                  <a:lnTo>
                    <a:pt x="48" y="516"/>
                  </a:lnTo>
                  <a:lnTo>
                    <a:pt x="30" y="516"/>
                  </a:lnTo>
                  <a:lnTo>
                    <a:pt x="24" y="504"/>
                  </a:lnTo>
                  <a:lnTo>
                    <a:pt x="12" y="492"/>
                  </a:lnTo>
                  <a:lnTo>
                    <a:pt x="12" y="486"/>
                  </a:lnTo>
                  <a:lnTo>
                    <a:pt x="6" y="486"/>
                  </a:lnTo>
                  <a:lnTo>
                    <a:pt x="0" y="456"/>
                  </a:lnTo>
                  <a:lnTo>
                    <a:pt x="0" y="450"/>
                  </a:lnTo>
                  <a:lnTo>
                    <a:pt x="6" y="444"/>
                  </a:lnTo>
                  <a:lnTo>
                    <a:pt x="12" y="444"/>
                  </a:lnTo>
                  <a:lnTo>
                    <a:pt x="12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8" y="420"/>
                  </a:lnTo>
                  <a:lnTo>
                    <a:pt x="24" y="414"/>
                  </a:lnTo>
                  <a:lnTo>
                    <a:pt x="36" y="396"/>
                  </a:lnTo>
                  <a:lnTo>
                    <a:pt x="42" y="390"/>
                  </a:lnTo>
                  <a:lnTo>
                    <a:pt x="48" y="384"/>
                  </a:lnTo>
                  <a:lnTo>
                    <a:pt x="60" y="372"/>
                  </a:lnTo>
                  <a:lnTo>
                    <a:pt x="66" y="366"/>
                  </a:lnTo>
                  <a:lnTo>
                    <a:pt x="72" y="354"/>
                  </a:lnTo>
                  <a:lnTo>
                    <a:pt x="102" y="330"/>
                  </a:lnTo>
                  <a:lnTo>
                    <a:pt x="108" y="234"/>
                  </a:lnTo>
                  <a:lnTo>
                    <a:pt x="108" y="222"/>
                  </a:lnTo>
                  <a:lnTo>
                    <a:pt x="108" y="216"/>
                  </a:lnTo>
                  <a:lnTo>
                    <a:pt x="108" y="210"/>
                  </a:lnTo>
                  <a:lnTo>
                    <a:pt x="114" y="198"/>
                  </a:lnTo>
                  <a:lnTo>
                    <a:pt x="114" y="192"/>
                  </a:lnTo>
                  <a:lnTo>
                    <a:pt x="114" y="186"/>
                  </a:lnTo>
                  <a:lnTo>
                    <a:pt x="114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08" y="138"/>
                  </a:lnTo>
                  <a:lnTo>
                    <a:pt x="102" y="132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90" y="102"/>
                  </a:lnTo>
                  <a:lnTo>
                    <a:pt x="84" y="102"/>
                  </a:lnTo>
                  <a:lnTo>
                    <a:pt x="84" y="96"/>
                  </a:lnTo>
                  <a:lnTo>
                    <a:pt x="84" y="72"/>
                  </a:lnTo>
                  <a:lnTo>
                    <a:pt x="84" y="54"/>
                  </a:lnTo>
                  <a:lnTo>
                    <a:pt x="78" y="2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6" name="Freeform 39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2417" y="1810"/>
              <a:ext cx="326" cy="484"/>
            </a:xfrm>
            <a:custGeom>
              <a:avLst/>
              <a:gdLst>
                <a:gd name="T0" fmla="*/ 9 w 384"/>
                <a:gd name="T1" fmla="*/ 205 h 570"/>
                <a:gd name="T2" fmla="*/ 12 w 384"/>
                <a:gd name="T3" fmla="*/ 188 h 570"/>
                <a:gd name="T4" fmla="*/ 25 w 384"/>
                <a:gd name="T5" fmla="*/ 174 h 570"/>
                <a:gd name="T6" fmla="*/ 31 w 384"/>
                <a:gd name="T7" fmla="*/ 172 h 570"/>
                <a:gd name="T8" fmla="*/ 37 w 384"/>
                <a:gd name="T9" fmla="*/ 160 h 570"/>
                <a:gd name="T10" fmla="*/ 53 w 384"/>
                <a:gd name="T11" fmla="*/ 156 h 570"/>
                <a:gd name="T12" fmla="*/ 63 w 384"/>
                <a:gd name="T13" fmla="*/ 162 h 570"/>
                <a:gd name="T14" fmla="*/ 71 w 384"/>
                <a:gd name="T15" fmla="*/ 169 h 570"/>
                <a:gd name="T16" fmla="*/ 78 w 384"/>
                <a:gd name="T17" fmla="*/ 162 h 570"/>
                <a:gd name="T18" fmla="*/ 87 w 384"/>
                <a:gd name="T19" fmla="*/ 156 h 570"/>
                <a:gd name="T20" fmla="*/ 91 w 384"/>
                <a:gd name="T21" fmla="*/ 140 h 570"/>
                <a:gd name="T22" fmla="*/ 97 w 384"/>
                <a:gd name="T23" fmla="*/ 125 h 570"/>
                <a:gd name="T24" fmla="*/ 109 w 384"/>
                <a:gd name="T25" fmla="*/ 112 h 570"/>
                <a:gd name="T26" fmla="*/ 112 w 384"/>
                <a:gd name="T27" fmla="*/ 97 h 570"/>
                <a:gd name="T28" fmla="*/ 125 w 384"/>
                <a:gd name="T29" fmla="*/ 87 h 570"/>
                <a:gd name="T30" fmla="*/ 127 w 384"/>
                <a:gd name="T31" fmla="*/ 78 h 570"/>
                <a:gd name="T32" fmla="*/ 132 w 384"/>
                <a:gd name="T33" fmla="*/ 59 h 570"/>
                <a:gd name="T34" fmla="*/ 143 w 384"/>
                <a:gd name="T35" fmla="*/ 47 h 570"/>
                <a:gd name="T36" fmla="*/ 160 w 384"/>
                <a:gd name="T37" fmla="*/ 41 h 570"/>
                <a:gd name="T38" fmla="*/ 160 w 384"/>
                <a:gd name="T39" fmla="*/ 25 h 570"/>
                <a:gd name="T40" fmla="*/ 143 w 384"/>
                <a:gd name="T41" fmla="*/ 0 h 570"/>
                <a:gd name="T42" fmla="*/ 160 w 384"/>
                <a:gd name="T43" fmla="*/ 12 h 570"/>
                <a:gd name="T44" fmla="*/ 168 w 384"/>
                <a:gd name="T45" fmla="*/ 28 h 570"/>
                <a:gd name="T46" fmla="*/ 171 w 384"/>
                <a:gd name="T47" fmla="*/ 35 h 570"/>
                <a:gd name="T48" fmla="*/ 171 w 384"/>
                <a:gd name="T49" fmla="*/ 37 h 570"/>
                <a:gd name="T50" fmla="*/ 168 w 384"/>
                <a:gd name="T51" fmla="*/ 56 h 570"/>
                <a:gd name="T52" fmla="*/ 174 w 384"/>
                <a:gd name="T53" fmla="*/ 71 h 570"/>
                <a:gd name="T54" fmla="*/ 180 w 384"/>
                <a:gd name="T55" fmla="*/ 81 h 570"/>
                <a:gd name="T56" fmla="*/ 160 w 384"/>
                <a:gd name="T57" fmla="*/ 81 h 570"/>
                <a:gd name="T58" fmla="*/ 143 w 384"/>
                <a:gd name="T59" fmla="*/ 87 h 570"/>
                <a:gd name="T60" fmla="*/ 155 w 384"/>
                <a:gd name="T61" fmla="*/ 106 h 570"/>
                <a:gd name="T62" fmla="*/ 171 w 384"/>
                <a:gd name="T63" fmla="*/ 115 h 570"/>
                <a:gd name="T64" fmla="*/ 180 w 384"/>
                <a:gd name="T65" fmla="*/ 137 h 570"/>
                <a:gd name="T66" fmla="*/ 177 w 384"/>
                <a:gd name="T67" fmla="*/ 150 h 570"/>
                <a:gd name="T68" fmla="*/ 168 w 384"/>
                <a:gd name="T69" fmla="*/ 165 h 570"/>
                <a:gd name="T70" fmla="*/ 155 w 384"/>
                <a:gd name="T71" fmla="*/ 180 h 570"/>
                <a:gd name="T72" fmla="*/ 160 w 384"/>
                <a:gd name="T73" fmla="*/ 194 h 570"/>
                <a:gd name="T74" fmla="*/ 160 w 384"/>
                <a:gd name="T75" fmla="*/ 203 h 570"/>
                <a:gd name="T76" fmla="*/ 162 w 384"/>
                <a:gd name="T77" fmla="*/ 222 h 570"/>
                <a:gd name="T78" fmla="*/ 171 w 384"/>
                <a:gd name="T79" fmla="*/ 234 h 570"/>
                <a:gd name="T80" fmla="*/ 188 w 384"/>
                <a:gd name="T81" fmla="*/ 259 h 570"/>
                <a:gd name="T82" fmla="*/ 197 w 384"/>
                <a:gd name="T83" fmla="*/ 271 h 570"/>
                <a:gd name="T84" fmla="*/ 197 w 384"/>
                <a:gd name="T85" fmla="*/ 281 h 570"/>
                <a:gd name="T86" fmla="*/ 194 w 384"/>
                <a:gd name="T87" fmla="*/ 294 h 570"/>
                <a:gd name="T88" fmla="*/ 177 w 384"/>
                <a:gd name="T89" fmla="*/ 287 h 570"/>
                <a:gd name="T90" fmla="*/ 165 w 384"/>
                <a:gd name="T91" fmla="*/ 287 h 570"/>
                <a:gd name="T92" fmla="*/ 155 w 384"/>
                <a:gd name="T93" fmla="*/ 281 h 570"/>
                <a:gd name="T94" fmla="*/ 121 w 384"/>
                <a:gd name="T95" fmla="*/ 281 h 570"/>
                <a:gd name="T96" fmla="*/ 99 w 384"/>
                <a:gd name="T97" fmla="*/ 281 h 570"/>
                <a:gd name="T98" fmla="*/ 81 w 384"/>
                <a:gd name="T99" fmla="*/ 278 h 570"/>
                <a:gd name="T100" fmla="*/ 75 w 384"/>
                <a:gd name="T101" fmla="*/ 278 h 570"/>
                <a:gd name="T102" fmla="*/ 69 w 384"/>
                <a:gd name="T103" fmla="*/ 284 h 570"/>
                <a:gd name="T104" fmla="*/ 35 w 384"/>
                <a:gd name="T105" fmla="*/ 281 h 570"/>
                <a:gd name="T106" fmla="*/ 37 w 384"/>
                <a:gd name="T107" fmla="*/ 265 h 570"/>
                <a:gd name="T108" fmla="*/ 31 w 384"/>
                <a:gd name="T109" fmla="*/ 250 h 570"/>
                <a:gd name="T110" fmla="*/ 31 w 384"/>
                <a:gd name="T111" fmla="*/ 240 h 570"/>
                <a:gd name="T112" fmla="*/ 28 w 384"/>
                <a:gd name="T113" fmla="*/ 234 h 570"/>
                <a:gd name="T114" fmla="*/ 19 w 384"/>
                <a:gd name="T115" fmla="*/ 234 h 570"/>
                <a:gd name="T116" fmla="*/ 9 w 384"/>
                <a:gd name="T117" fmla="*/ 222 h 570"/>
                <a:gd name="T118" fmla="*/ 6 w 384"/>
                <a:gd name="T119" fmla="*/ 222 h 5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84" h="570">
                  <a:moveTo>
                    <a:pt x="0" y="414"/>
                  </a:move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12" y="402"/>
                  </a:lnTo>
                  <a:lnTo>
                    <a:pt x="12" y="396"/>
                  </a:lnTo>
                  <a:lnTo>
                    <a:pt x="18" y="396"/>
                  </a:lnTo>
                  <a:lnTo>
                    <a:pt x="18" y="390"/>
                  </a:lnTo>
                  <a:lnTo>
                    <a:pt x="18" y="384"/>
                  </a:lnTo>
                  <a:lnTo>
                    <a:pt x="18" y="378"/>
                  </a:lnTo>
                  <a:lnTo>
                    <a:pt x="18" y="372"/>
                  </a:lnTo>
                  <a:lnTo>
                    <a:pt x="18" y="366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54" y="330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30"/>
                  </a:lnTo>
                  <a:lnTo>
                    <a:pt x="60" y="324"/>
                  </a:lnTo>
                  <a:lnTo>
                    <a:pt x="60" y="318"/>
                  </a:lnTo>
                  <a:lnTo>
                    <a:pt x="66" y="318"/>
                  </a:lnTo>
                  <a:lnTo>
                    <a:pt x="66" y="312"/>
                  </a:lnTo>
                  <a:lnTo>
                    <a:pt x="66" y="318"/>
                  </a:lnTo>
                  <a:lnTo>
                    <a:pt x="72" y="312"/>
                  </a:lnTo>
                  <a:lnTo>
                    <a:pt x="72" y="306"/>
                  </a:lnTo>
                  <a:lnTo>
                    <a:pt x="78" y="306"/>
                  </a:lnTo>
                  <a:lnTo>
                    <a:pt x="84" y="300"/>
                  </a:lnTo>
                  <a:lnTo>
                    <a:pt x="84" y="306"/>
                  </a:lnTo>
                  <a:lnTo>
                    <a:pt x="84" y="312"/>
                  </a:lnTo>
                  <a:lnTo>
                    <a:pt x="96" y="306"/>
                  </a:lnTo>
                  <a:lnTo>
                    <a:pt x="102" y="306"/>
                  </a:lnTo>
                  <a:lnTo>
                    <a:pt x="102" y="300"/>
                  </a:lnTo>
                  <a:lnTo>
                    <a:pt x="102" y="294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6" y="318"/>
                  </a:lnTo>
                  <a:lnTo>
                    <a:pt x="132" y="318"/>
                  </a:lnTo>
                  <a:lnTo>
                    <a:pt x="132" y="324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38" y="330"/>
                  </a:lnTo>
                  <a:lnTo>
                    <a:pt x="144" y="330"/>
                  </a:lnTo>
                  <a:lnTo>
                    <a:pt x="144" y="324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50" y="312"/>
                  </a:lnTo>
                  <a:lnTo>
                    <a:pt x="156" y="312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56" y="306"/>
                  </a:lnTo>
                  <a:lnTo>
                    <a:pt x="156" y="300"/>
                  </a:lnTo>
                  <a:lnTo>
                    <a:pt x="162" y="300"/>
                  </a:lnTo>
                  <a:lnTo>
                    <a:pt x="168" y="300"/>
                  </a:lnTo>
                  <a:lnTo>
                    <a:pt x="162" y="294"/>
                  </a:lnTo>
                  <a:lnTo>
                    <a:pt x="162" y="288"/>
                  </a:lnTo>
                  <a:lnTo>
                    <a:pt x="168" y="288"/>
                  </a:lnTo>
                  <a:lnTo>
                    <a:pt x="168" y="282"/>
                  </a:lnTo>
                  <a:lnTo>
                    <a:pt x="174" y="282"/>
                  </a:lnTo>
                  <a:lnTo>
                    <a:pt x="174" y="276"/>
                  </a:lnTo>
                  <a:lnTo>
                    <a:pt x="174" y="270"/>
                  </a:lnTo>
                  <a:lnTo>
                    <a:pt x="174" y="264"/>
                  </a:lnTo>
                  <a:lnTo>
                    <a:pt x="180" y="264"/>
                  </a:lnTo>
                  <a:lnTo>
                    <a:pt x="180" y="258"/>
                  </a:lnTo>
                  <a:lnTo>
                    <a:pt x="186" y="258"/>
                  </a:lnTo>
                  <a:lnTo>
                    <a:pt x="186" y="252"/>
                  </a:lnTo>
                  <a:lnTo>
                    <a:pt x="186" y="246"/>
                  </a:lnTo>
                  <a:lnTo>
                    <a:pt x="186" y="240"/>
                  </a:lnTo>
                  <a:lnTo>
                    <a:pt x="186" y="234"/>
                  </a:lnTo>
                  <a:lnTo>
                    <a:pt x="192" y="228"/>
                  </a:lnTo>
                  <a:lnTo>
                    <a:pt x="198" y="228"/>
                  </a:lnTo>
                  <a:lnTo>
                    <a:pt x="198" y="222"/>
                  </a:lnTo>
                  <a:lnTo>
                    <a:pt x="204" y="222"/>
                  </a:lnTo>
                  <a:lnTo>
                    <a:pt x="210" y="222"/>
                  </a:lnTo>
                  <a:lnTo>
                    <a:pt x="210" y="216"/>
                  </a:lnTo>
                  <a:lnTo>
                    <a:pt x="216" y="216"/>
                  </a:lnTo>
                  <a:lnTo>
                    <a:pt x="210" y="210"/>
                  </a:lnTo>
                  <a:lnTo>
                    <a:pt x="216" y="210"/>
                  </a:lnTo>
                  <a:lnTo>
                    <a:pt x="216" y="204"/>
                  </a:lnTo>
                  <a:lnTo>
                    <a:pt x="216" y="198"/>
                  </a:lnTo>
                  <a:lnTo>
                    <a:pt x="216" y="192"/>
                  </a:lnTo>
                  <a:lnTo>
                    <a:pt x="216" y="186"/>
                  </a:lnTo>
                  <a:lnTo>
                    <a:pt x="222" y="186"/>
                  </a:lnTo>
                  <a:lnTo>
                    <a:pt x="222" y="180"/>
                  </a:lnTo>
                  <a:lnTo>
                    <a:pt x="228" y="180"/>
                  </a:lnTo>
                  <a:lnTo>
                    <a:pt x="234" y="180"/>
                  </a:lnTo>
                  <a:lnTo>
                    <a:pt x="234" y="174"/>
                  </a:lnTo>
                  <a:lnTo>
                    <a:pt x="234" y="168"/>
                  </a:lnTo>
                  <a:lnTo>
                    <a:pt x="240" y="168"/>
                  </a:lnTo>
                  <a:lnTo>
                    <a:pt x="240" y="162"/>
                  </a:lnTo>
                  <a:lnTo>
                    <a:pt x="234" y="162"/>
                  </a:lnTo>
                  <a:lnTo>
                    <a:pt x="234" y="156"/>
                  </a:lnTo>
                  <a:lnTo>
                    <a:pt x="240" y="156"/>
                  </a:lnTo>
                  <a:lnTo>
                    <a:pt x="234" y="156"/>
                  </a:lnTo>
                  <a:lnTo>
                    <a:pt x="240" y="150"/>
                  </a:lnTo>
                  <a:lnTo>
                    <a:pt x="246" y="150"/>
                  </a:lnTo>
                  <a:lnTo>
                    <a:pt x="246" y="144"/>
                  </a:lnTo>
                  <a:lnTo>
                    <a:pt x="246" y="138"/>
                  </a:lnTo>
                  <a:lnTo>
                    <a:pt x="252" y="138"/>
                  </a:lnTo>
                  <a:lnTo>
                    <a:pt x="252" y="132"/>
                  </a:lnTo>
                  <a:lnTo>
                    <a:pt x="252" y="126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58" y="114"/>
                  </a:lnTo>
                  <a:lnTo>
                    <a:pt x="258" y="108"/>
                  </a:lnTo>
                  <a:lnTo>
                    <a:pt x="264" y="102"/>
                  </a:lnTo>
                  <a:lnTo>
                    <a:pt x="264" y="96"/>
                  </a:lnTo>
                  <a:lnTo>
                    <a:pt x="270" y="96"/>
                  </a:lnTo>
                  <a:lnTo>
                    <a:pt x="270" y="90"/>
                  </a:lnTo>
                  <a:lnTo>
                    <a:pt x="276" y="90"/>
                  </a:lnTo>
                  <a:lnTo>
                    <a:pt x="282" y="90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6" y="78"/>
                  </a:lnTo>
                  <a:lnTo>
                    <a:pt x="306" y="72"/>
                  </a:lnTo>
                  <a:lnTo>
                    <a:pt x="300" y="72"/>
                  </a:lnTo>
                  <a:lnTo>
                    <a:pt x="300" y="66"/>
                  </a:lnTo>
                  <a:lnTo>
                    <a:pt x="306" y="66"/>
                  </a:lnTo>
                  <a:lnTo>
                    <a:pt x="306" y="60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00" y="42"/>
                  </a:lnTo>
                  <a:lnTo>
                    <a:pt x="300" y="36"/>
                  </a:lnTo>
                  <a:lnTo>
                    <a:pt x="294" y="36"/>
                  </a:lnTo>
                  <a:lnTo>
                    <a:pt x="288" y="36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0"/>
                  </a:lnTo>
                  <a:lnTo>
                    <a:pt x="294" y="0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18" y="42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24" y="54"/>
                  </a:lnTo>
                  <a:lnTo>
                    <a:pt x="324" y="60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30" y="60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24" y="72"/>
                  </a:lnTo>
                  <a:lnTo>
                    <a:pt x="330" y="72"/>
                  </a:lnTo>
                  <a:lnTo>
                    <a:pt x="330" y="78"/>
                  </a:lnTo>
                  <a:lnTo>
                    <a:pt x="330" y="84"/>
                  </a:lnTo>
                  <a:lnTo>
                    <a:pt x="324" y="84"/>
                  </a:lnTo>
                  <a:lnTo>
                    <a:pt x="324" y="90"/>
                  </a:lnTo>
                  <a:lnTo>
                    <a:pt x="324" y="96"/>
                  </a:lnTo>
                  <a:lnTo>
                    <a:pt x="324" y="102"/>
                  </a:lnTo>
                  <a:lnTo>
                    <a:pt x="324" y="108"/>
                  </a:lnTo>
                  <a:lnTo>
                    <a:pt x="330" y="108"/>
                  </a:lnTo>
                  <a:lnTo>
                    <a:pt x="330" y="114"/>
                  </a:lnTo>
                  <a:lnTo>
                    <a:pt x="324" y="114"/>
                  </a:lnTo>
                  <a:lnTo>
                    <a:pt x="330" y="120"/>
                  </a:lnTo>
                  <a:lnTo>
                    <a:pt x="330" y="126"/>
                  </a:lnTo>
                  <a:lnTo>
                    <a:pt x="336" y="132"/>
                  </a:lnTo>
                  <a:lnTo>
                    <a:pt x="336" y="138"/>
                  </a:lnTo>
                  <a:lnTo>
                    <a:pt x="342" y="138"/>
                  </a:lnTo>
                  <a:lnTo>
                    <a:pt x="342" y="144"/>
                  </a:lnTo>
                  <a:lnTo>
                    <a:pt x="348" y="144"/>
                  </a:lnTo>
                  <a:lnTo>
                    <a:pt x="348" y="150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48" y="156"/>
                  </a:lnTo>
                  <a:lnTo>
                    <a:pt x="342" y="156"/>
                  </a:lnTo>
                  <a:lnTo>
                    <a:pt x="336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18" y="156"/>
                  </a:lnTo>
                  <a:lnTo>
                    <a:pt x="312" y="156"/>
                  </a:lnTo>
                  <a:lnTo>
                    <a:pt x="306" y="156"/>
                  </a:lnTo>
                  <a:lnTo>
                    <a:pt x="300" y="156"/>
                  </a:lnTo>
                  <a:lnTo>
                    <a:pt x="294" y="156"/>
                  </a:lnTo>
                  <a:lnTo>
                    <a:pt x="288" y="156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76" y="162"/>
                  </a:lnTo>
                  <a:lnTo>
                    <a:pt x="276" y="168"/>
                  </a:lnTo>
                  <a:lnTo>
                    <a:pt x="276" y="174"/>
                  </a:lnTo>
                  <a:lnTo>
                    <a:pt x="282" y="180"/>
                  </a:lnTo>
                  <a:lnTo>
                    <a:pt x="288" y="186"/>
                  </a:lnTo>
                  <a:lnTo>
                    <a:pt x="294" y="192"/>
                  </a:lnTo>
                  <a:lnTo>
                    <a:pt x="294" y="198"/>
                  </a:lnTo>
                  <a:lnTo>
                    <a:pt x="300" y="198"/>
                  </a:lnTo>
                  <a:lnTo>
                    <a:pt x="300" y="204"/>
                  </a:lnTo>
                  <a:lnTo>
                    <a:pt x="306" y="204"/>
                  </a:lnTo>
                  <a:lnTo>
                    <a:pt x="306" y="210"/>
                  </a:lnTo>
                  <a:lnTo>
                    <a:pt x="312" y="216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30" y="222"/>
                  </a:lnTo>
                  <a:lnTo>
                    <a:pt x="336" y="222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52"/>
                  </a:lnTo>
                  <a:lnTo>
                    <a:pt x="348" y="258"/>
                  </a:lnTo>
                  <a:lnTo>
                    <a:pt x="348" y="264"/>
                  </a:lnTo>
                  <a:lnTo>
                    <a:pt x="354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48" y="276"/>
                  </a:lnTo>
                  <a:lnTo>
                    <a:pt x="348" y="282"/>
                  </a:lnTo>
                  <a:lnTo>
                    <a:pt x="342" y="282"/>
                  </a:lnTo>
                  <a:lnTo>
                    <a:pt x="342" y="288"/>
                  </a:lnTo>
                  <a:lnTo>
                    <a:pt x="336" y="288"/>
                  </a:lnTo>
                  <a:lnTo>
                    <a:pt x="336" y="294"/>
                  </a:lnTo>
                  <a:lnTo>
                    <a:pt x="330" y="300"/>
                  </a:lnTo>
                  <a:lnTo>
                    <a:pt x="330" y="306"/>
                  </a:lnTo>
                  <a:lnTo>
                    <a:pt x="330" y="312"/>
                  </a:lnTo>
                  <a:lnTo>
                    <a:pt x="324" y="312"/>
                  </a:lnTo>
                  <a:lnTo>
                    <a:pt x="324" y="318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12" y="336"/>
                  </a:lnTo>
                  <a:lnTo>
                    <a:pt x="312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300" y="348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300" y="354"/>
                  </a:lnTo>
                  <a:lnTo>
                    <a:pt x="300" y="360"/>
                  </a:lnTo>
                  <a:lnTo>
                    <a:pt x="306" y="360"/>
                  </a:lnTo>
                  <a:lnTo>
                    <a:pt x="306" y="366"/>
                  </a:lnTo>
                  <a:lnTo>
                    <a:pt x="306" y="372"/>
                  </a:lnTo>
                  <a:lnTo>
                    <a:pt x="300" y="372"/>
                  </a:lnTo>
                  <a:lnTo>
                    <a:pt x="306" y="372"/>
                  </a:lnTo>
                  <a:lnTo>
                    <a:pt x="306" y="378"/>
                  </a:lnTo>
                  <a:lnTo>
                    <a:pt x="306" y="384"/>
                  </a:lnTo>
                  <a:lnTo>
                    <a:pt x="300" y="384"/>
                  </a:lnTo>
                  <a:lnTo>
                    <a:pt x="300" y="390"/>
                  </a:lnTo>
                  <a:lnTo>
                    <a:pt x="306" y="390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12" y="426"/>
                  </a:lnTo>
                  <a:lnTo>
                    <a:pt x="318" y="426"/>
                  </a:lnTo>
                  <a:lnTo>
                    <a:pt x="318" y="432"/>
                  </a:lnTo>
                  <a:lnTo>
                    <a:pt x="324" y="432"/>
                  </a:lnTo>
                  <a:lnTo>
                    <a:pt x="324" y="438"/>
                  </a:lnTo>
                  <a:lnTo>
                    <a:pt x="330" y="438"/>
                  </a:lnTo>
                  <a:lnTo>
                    <a:pt x="330" y="444"/>
                  </a:lnTo>
                  <a:lnTo>
                    <a:pt x="330" y="450"/>
                  </a:lnTo>
                  <a:lnTo>
                    <a:pt x="324" y="450"/>
                  </a:lnTo>
                  <a:lnTo>
                    <a:pt x="330" y="450"/>
                  </a:lnTo>
                  <a:lnTo>
                    <a:pt x="330" y="456"/>
                  </a:lnTo>
                  <a:lnTo>
                    <a:pt x="336" y="468"/>
                  </a:lnTo>
                  <a:lnTo>
                    <a:pt x="342" y="474"/>
                  </a:lnTo>
                  <a:lnTo>
                    <a:pt x="348" y="480"/>
                  </a:lnTo>
                  <a:lnTo>
                    <a:pt x="360" y="498"/>
                  </a:lnTo>
                  <a:lnTo>
                    <a:pt x="366" y="498"/>
                  </a:lnTo>
                  <a:lnTo>
                    <a:pt x="372" y="498"/>
                  </a:lnTo>
                  <a:lnTo>
                    <a:pt x="372" y="504"/>
                  </a:lnTo>
                  <a:lnTo>
                    <a:pt x="378" y="504"/>
                  </a:lnTo>
                  <a:lnTo>
                    <a:pt x="378" y="510"/>
                  </a:lnTo>
                  <a:lnTo>
                    <a:pt x="378" y="516"/>
                  </a:lnTo>
                  <a:lnTo>
                    <a:pt x="378" y="522"/>
                  </a:lnTo>
                  <a:lnTo>
                    <a:pt x="378" y="528"/>
                  </a:lnTo>
                  <a:lnTo>
                    <a:pt x="378" y="534"/>
                  </a:lnTo>
                  <a:lnTo>
                    <a:pt x="378" y="540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40"/>
                  </a:lnTo>
                  <a:lnTo>
                    <a:pt x="378" y="546"/>
                  </a:lnTo>
                  <a:lnTo>
                    <a:pt x="378" y="552"/>
                  </a:lnTo>
                  <a:lnTo>
                    <a:pt x="378" y="558"/>
                  </a:lnTo>
                  <a:lnTo>
                    <a:pt x="378" y="564"/>
                  </a:lnTo>
                  <a:lnTo>
                    <a:pt x="378" y="570"/>
                  </a:lnTo>
                  <a:lnTo>
                    <a:pt x="372" y="570"/>
                  </a:lnTo>
                  <a:lnTo>
                    <a:pt x="372" y="564"/>
                  </a:lnTo>
                  <a:lnTo>
                    <a:pt x="366" y="564"/>
                  </a:lnTo>
                  <a:lnTo>
                    <a:pt x="366" y="558"/>
                  </a:lnTo>
                  <a:lnTo>
                    <a:pt x="360" y="558"/>
                  </a:lnTo>
                  <a:lnTo>
                    <a:pt x="354" y="558"/>
                  </a:lnTo>
                  <a:lnTo>
                    <a:pt x="354" y="552"/>
                  </a:lnTo>
                  <a:lnTo>
                    <a:pt x="348" y="552"/>
                  </a:lnTo>
                  <a:lnTo>
                    <a:pt x="342" y="552"/>
                  </a:lnTo>
                  <a:lnTo>
                    <a:pt x="342" y="558"/>
                  </a:lnTo>
                  <a:lnTo>
                    <a:pt x="342" y="552"/>
                  </a:lnTo>
                  <a:lnTo>
                    <a:pt x="336" y="558"/>
                  </a:lnTo>
                  <a:lnTo>
                    <a:pt x="336" y="552"/>
                  </a:lnTo>
                  <a:lnTo>
                    <a:pt x="330" y="552"/>
                  </a:lnTo>
                  <a:lnTo>
                    <a:pt x="324" y="552"/>
                  </a:lnTo>
                  <a:lnTo>
                    <a:pt x="318" y="552"/>
                  </a:lnTo>
                  <a:lnTo>
                    <a:pt x="318" y="546"/>
                  </a:lnTo>
                  <a:lnTo>
                    <a:pt x="312" y="546"/>
                  </a:lnTo>
                  <a:lnTo>
                    <a:pt x="312" y="552"/>
                  </a:lnTo>
                  <a:lnTo>
                    <a:pt x="312" y="546"/>
                  </a:lnTo>
                  <a:lnTo>
                    <a:pt x="306" y="546"/>
                  </a:lnTo>
                  <a:lnTo>
                    <a:pt x="306" y="540"/>
                  </a:lnTo>
                  <a:lnTo>
                    <a:pt x="300" y="540"/>
                  </a:lnTo>
                  <a:lnTo>
                    <a:pt x="294" y="546"/>
                  </a:lnTo>
                  <a:lnTo>
                    <a:pt x="294" y="540"/>
                  </a:lnTo>
                  <a:lnTo>
                    <a:pt x="288" y="540"/>
                  </a:lnTo>
                  <a:lnTo>
                    <a:pt x="288" y="546"/>
                  </a:lnTo>
                  <a:lnTo>
                    <a:pt x="240" y="546"/>
                  </a:lnTo>
                  <a:lnTo>
                    <a:pt x="240" y="540"/>
                  </a:lnTo>
                  <a:lnTo>
                    <a:pt x="234" y="540"/>
                  </a:lnTo>
                  <a:lnTo>
                    <a:pt x="228" y="540"/>
                  </a:lnTo>
                  <a:lnTo>
                    <a:pt x="222" y="540"/>
                  </a:lnTo>
                  <a:lnTo>
                    <a:pt x="216" y="540"/>
                  </a:lnTo>
                  <a:lnTo>
                    <a:pt x="210" y="540"/>
                  </a:lnTo>
                  <a:lnTo>
                    <a:pt x="204" y="540"/>
                  </a:lnTo>
                  <a:lnTo>
                    <a:pt x="198" y="540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40"/>
                  </a:lnTo>
                  <a:lnTo>
                    <a:pt x="174" y="540"/>
                  </a:lnTo>
                  <a:lnTo>
                    <a:pt x="168" y="540"/>
                  </a:lnTo>
                  <a:lnTo>
                    <a:pt x="162" y="540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50" y="540"/>
                  </a:lnTo>
                  <a:lnTo>
                    <a:pt x="150" y="534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34"/>
                  </a:lnTo>
                  <a:lnTo>
                    <a:pt x="144" y="540"/>
                  </a:lnTo>
                  <a:lnTo>
                    <a:pt x="144" y="546"/>
                  </a:lnTo>
                  <a:lnTo>
                    <a:pt x="138" y="546"/>
                  </a:lnTo>
                  <a:lnTo>
                    <a:pt x="132" y="540"/>
                  </a:lnTo>
                  <a:lnTo>
                    <a:pt x="132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66" y="540"/>
                  </a:lnTo>
                  <a:lnTo>
                    <a:pt x="66" y="534"/>
                  </a:lnTo>
                  <a:lnTo>
                    <a:pt x="66" y="528"/>
                  </a:lnTo>
                  <a:lnTo>
                    <a:pt x="66" y="522"/>
                  </a:lnTo>
                  <a:lnTo>
                    <a:pt x="66" y="516"/>
                  </a:lnTo>
                  <a:lnTo>
                    <a:pt x="72" y="510"/>
                  </a:lnTo>
                  <a:lnTo>
                    <a:pt x="66" y="510"/>
                  </a:lnTo>
                  <a:lnTo>
                    <a:pt x="72" y="510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66" y="486"/>
                  </a:lnTo>
                  <a:lnTo>
                    <a:pt x="66" y="480"/>
                  </a:lnTo>
                  <a:lnTo>
                    <a:pt x="60" y="480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74"/>
                  </a:lnTo>
                  <a:lnTo>
                    <a:pt x="60" y="474"/>
                  </a:lnTo>
                  <a:lnTo>
                    <a:pt x="54" y="468"/>
                  </a:lnTo>
                  <a:lnTo>
                    <a:pt x="54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60" y="450"/>
                  </a:lnTo>
                  <a:lnTo>
                    <a:pt x="60" y="444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54" y="450"/>
                  </a:lnTo>
                  <a:lnTo>
                    <a:pt x="54" y="456"/>
                  </a:lnTo>
                  <a:lnTo>
                    <a:pt x="48" y="456"/>
                  </a:lnTo>
                  <a:lnTo>
                    <a:pt x="42" y="456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0" y="450"/>
                  </a:lnTo>
                  <a:lnTo>
                    <a:pt x="24" y="450"/>
                  </a:lnTo>
                  <a:lnTo>
                    <a:pt x="24" y="444"/>
                  </a:lnTo>
                  <a:lnTo>
                    <a:pt x="24" y="438"/>
                  </a:lnTo>
                  <a:lnTo>
                    <a:pt x="18" y="438"/>
                  </a:lnTo>
                  <a:lnTo>
                    <a:pt x="18" y="432"/>
                  </a:lnTo>
                  <a:lnTo>
                    <a:pt x="18" y="426"/>
                  </a:lnTo>
                  <a:lnTo>
                    <a:pt x="12" y="426"/>
                  </a:lnTo>
                  <a:lnTo>
                    <a:pt x="12" y="420"/>
                  </a:lnTo>
                  <a:lnTo>
                    <a:pt x="6" y="420"/>
                  </a:lnTo>
                  <a:lnTo>
                    <a:pt x="6" y="414"/>
                  </a:lnTo>
                  <a:lnTo>
                    <a:pt x="6" y="420"/>
                  </a:lnTo>
                  <a:lnTo>
                    <a:pt x="6" y="426"/>
                  </a:lnTo>
                  <a:lnTo>
                    <a:pt x="12" y="426"/>
                  </a:lnTo>
                  <a:lnTo>
                    <a:pt x="6" y="426"/>
                  </a:lnTo>
                  <a:lnTo>
                    <a:pt x="0" y="426"/>
                  </a:lnTo>
                  <a:lnTo>
                    <a:pt x="0" y="420"/>
                  </a:lnTo>
                  <a:lnTo>
                    <a:pt x="6" y="420"/>
                  </a:lnTo>
                  <a:lnTo>
                    <a:pt x="0" y="420"/>
                  </a:lnTo>
                  <a:lnTo>
                    <a:pt x="0" y="41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7" name="Freeform 40"/>
            <p:cNvSpPr>
              <a:spLocks noChangeAspect="1"/>
            </p:cNvSpPr>
            <p:nvPr>
              <p:custDataLst>
                <p:tags r:id="rId22"/>
              </p:custDataLst>
            </p:nvPr>
          </p:nvSpPr>
          <p:spPr bwMode="auto">
            <a:xfrm>
              <a:off x="2667" y="1897"/>
              <a:ext cx="550" cy="372"/>
            </a:xfrm>
            <a:custGeom>
              <a:avLst/>
              <a:gdLst>
                <a:gd name="T0" fmla="*/ 47 w 648"/>
                <a:gd name="T1" fmla="*/ 91 h 438"/>
                <a:gd name="T2" fmla="*/ 56 w 648"/>
                <a:gd name="T3" fmla="*/ 81 h 438"/>
                <a:gd name="T4" fmla="*/ 65 w 648"/>
                <a:gd name="T5" fmla="*/ 91 h 438"/>
                <a:gd name="T6" fmla="*/ 78 w 648"/>
                <a:gd name="T7" fmla="*/ 84 h 438"/>
                <a:gd name="T8" fmla="*/ 91 w 648"/>
                <a:gd name="T9" fmla="*/ 81 h 438"/>
                <a:gd name="T10" fmla="*/ 119 w 648"/>
                <a:gd name="T11" fmla="*/ 69 h 438"/>
                <a:gd name="T12" fmla="*/ 119 w 648"/>
                <a:gd name="T13" fmla="*/ 56 h 438"/>
                <a:gd name="T14" fmla="*/ 140 w 648"/>
                <a:gd name="T15" fmla="*/ 54 h 438"/>
                <a:gd name="T16" fmla="*/ 155 w 648"/>
                <a:gd name="T17" fmla="*/ 47 h 438"/>
                <a:gd name="T18" fmla="*/ 168 w 648"/>
                <a:gd name="T19" fmla="*/ 37 h 438"/>
                <a:gd name="T20" fmla="*/ 177 w 648"/>
                <a:gd name="T21" fmla="*/ 28 h 438"/>
                <a:gd name="T22" fmla="*/ 190 w 648"/>
                <a:gd name="T23" fmla="*/ 19 h 438"/>
                <a:gd name="T24" fmla="*/ 190 w 648"/>
                <a:gd name="T25" fmla="*/ 6 h 438"/>
                <a:gd name="T26" fmla="*/ 205 w 648"/>
                <a:gd name="T27" fmla="*/ 3 h 438"/>
                <a:gd name="T28" fmla="*/ 217 w 648"/>
                <a:gd name="T29" fmla="*/ 3 h 438"/>
                <a:gd name="T30" fmla="*/ 231 w 648"/>
                <a:gd name="T31" fmla="*/ 15 h 438"/>
                <a:gd name="T32" fmla="*/ 236 w 648"/>
                <a:gd name="T33" fmla="*/ 47 h 438"/>
                <a:gd name="T34" fmla="*/ 236 w 648"/>
                <a:gd name="T35" fmla="*/ 59 h 438"/>
                <a:gd name="T36" fmla="*/ 253 w 648"/>
                <a:gd name="T37" fmla="*/ 59 h 438"/>
                <a:gd name="T38" fmla="*/ 261 w 648"/>
                <a:gd name="T39" fmla="*/ 71 h 438"/>
                <a:gd name="T40" fmla="*/ 274 w 648"/>
                <a:gd name="T41" fmla="*/ 81 h 438"/>
                <a:gd name="T42" fmla="*/ 280 w 648"/>
                <a:gd name="T43" fmla="*/ 93 h 438"/>
                <a:gd name="T44" fmla="*/ 293 w 648"/>
                <a:gd name="T45" fmla="*/ 103 h 438"/>
                <a:gd name="T46" fmla="*/ 308 w 648"/>
                <a:gd name="T47" fmla="*/ 116 h 438"/>
                <a:gd name="T48" fmla="*/ 311 w 648"/>
                <a:gd name="T49" fmla="*/ 132 h 438"/>
                <a:gd name="T50" fmla="*/ 330 w 648"/>
                <a:gd name="T51" fmla="*/ 137 h 438"/>
                <a:gd name="T52" fmla="*/ 336 w 648"/>
                <a:gd name="T53" fmla="*/ 156 h 438"/>
                <a:gd name="T54" fmla="*/ 322 w 648"/>
                <a:gd name="T55" fmla="*/ 156 h 438"/>
                <a:gd name="T56" fmla="*/ 314 w 648"/>
                <a:gd name="T57" fmla="*/ 156 h 438"/>
                <a:gd name="T58" fmla="*/ 306 w 648"/>
                <a:gd name="T59" fmla="*/ 153 h 438"/>
                <a:gd name="T60" fmla="*/ 299 w 648"/>
                <a:gd name="T61" fmla="*/ 153 h 438"/>
                <a:gd name="T62" fmla="*/ 289 w 648"/>
                <a:gd name="T63" fmla="*/ 147 h 438"/>
                <a:gd name="T64" fmla="*/ 280 w 648"/>
                <a:gd name="T65" fmla="*/ 150 h 438"/>
                <a:gd name="T66" fmla="*/ 274 w 648"/>
                <a:gd name="T67" fmla="*/ 156 h 438"/>
                <a:gd name="T68" fmla="*/ 259 w 648"/>
                <a:gd name="T69" fmla="*/ 153 h 438"/>
                <a:gd name="T70" fmla="*/ 253 w 648"/>
                <a:gd name="T71" fmla="*/ 160 h 438"/>
                <a:gd name="T72" fmla="*/ 236 w 648"/>
                <a:gd name="T73" fmla="*/ 162 h 438"/>
                <a:gd name="T74" fmla="*/ 224 w 648"/>
                <a:gd name="T75" fmla="*/ 162 h 438"/>
                <a:gd name="T76" fmla="*/ 215 w 648"/>
                <a:gd name="T77" fmla="*/ 169 h 438"/>
                <a:gd name="T78" fmla="*/ 205 w 648"/>
                <a:gd name="T79" fmla="*/ 178 h 438"/>
                <a:gd name="T80" fmla="*/ 190 w 648"/>
                <a:gd name="T81" fmla="*/ 175 h 438"/>
                <a:gd name="T82" fmla="*/ 168 w 648"/>
                <a:gd name="T83" fmla="*/ 172 h 438"/>
                <a:gd name="T84" fmla="*/ 149 w 648"/>
                <a:gd name="T85" fmla="*/ 162 h 438"/>
                <a:gd name="T86" fmla="*/ 131 w 648"/>
                <a:gd name="T87" fmla="*/ 153 h 438"/>
                <a:gd name="T88" fmla="*/ 115 w 648"/>
                <a:gd name="T89" fmla="*/ 165 h 438"/>
                <a:gd name="T90" fmla="*/ 109 w 648"/>
                <a:gd name="T91" fmla="*/ 181 h 438"/>
                <a:gd name="T92" fmla="*/ 106 w 648"/>
                <a:gd name="T93" fmla="*/ 190 h 438"/>
                <a:gd name="T94" fmla="*/ 87 w 648"/>
                <a:gd name="T95" fmla="*/ 194 h 438"/>
                <a:gd name="T96" fmla="*/ 65 w 648"/>
                <a:gd name="T97" fmla="*/ 194 h 438"/>
                <a:gd name="T98" fmla="*/ 56 w 648"/>
                <a:gd name="T99" fmla="*/ 206 h 438"/>
                <a:gd name="T100" fmla="*/ 43 w 648"/>
                <a:gd name="T101" fmla="*/ 216 h 438"/>
                <a:gd name="T102" fmla="*/ 25 w 648"/>
                <a:gd name="T103" fmla="*/ 194 h 438"/>
                <a:gd name="T104" fmla="*/ 15 w 648"/>
                <a:gd name="T105" fmla="*/ 175 h 438"/>
                <a:gd name="T106" fmla="*/ 6 w 648"/>
                <a:gd name="T107" fmla="*/ 160 h 438"/>
                <a:gd name="T108" fmla="*/ 6 w 648"/>
                <a:gd name="T109" fmla="*/ 140 h 438"/>
                <a:gd name="T110" fmla="*/ 0 w 648"/>
                <a:gd name="T111" fmla="*/ 128 h 438"/>
                <a:gd name="T112" fmla="*/ 15 w 648"/>
                <a:gd name="T113" fmla="*/ 112 h 438"/>
                <a:gd name="T114" fmla="*/ 25 w 648"/>
                <a:gd name="T115" fmla="*/ 93 h 4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648" h="438">
                  <a:moveTo>
                    <a:pt x="54" y="174"/>
                  </a:moveTo>
                  <a:lnTo>
                    <a:pt x="66" y="174"/>
                  </a:lnTo>
                  <a:lnTo>
                    <a:pt x="66" y="180"/>
                  </a:lnTo>
                  <a:lnTo>
                    <a:pt x="72" y="180"/>
                  </a:lnTo>
                  <a:lnTo>
                    <a:pt x="78" y="180"/>
                  </a:lnTo>
                  <a:lnTo>
                    <a:pt x="78" y="174"/>
                  </a:lnTo>
                  <a:lnTo>
                    <a:pt x="84" y="174"/>
                  </a:lnTo>
                  <a:lnTo>
                    <a:pt x="90" y="174"/>
                  </a:lnTo>
                  <a:lnTo>
                    <a:pt x="90" y="168"/>
                  </a:lnTo>
                  <a:lnTo>
                    <a:pt x="96" y="168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8" y="162"/>
                  </a:lnTo>
                  <a:lnTo>
                    <a:pt x="108" y="156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14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6" y="168"/>
                  </a:lnTo>
                  <a:lnTo>
                    <a:pt x="132" y="168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50" y="162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0" y="150"/>
                  </a:lnTo>
                  <a:lnTo>
                    <a:pt x="192" y="150"/>
                  </a:lnTo>
                  <a:lnTo>
                    <a:pt x="210" y="150"/>
                  </a:lnTo>
                  <a:lnTo>
                    <a:pt x="210" y="144"/>
                  </a:lnTo>
                  <a:lnTo>
                    <a:pt x="216" y="138"/>
                  </a:lnTo>
                  <a:lnTo>
                    <a:pt x="222" y="138"/>
                  </a:lnTo>
                  <a:lnTo>
                    <a:pt x="222" y="132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8" y="120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28" y="114"/>
                  </a:lnTo>
                  <a:lnTo>
                    <a:pt x="222" y="114"/>
                  </a:lnTo>
                  <a:lnTo>
                    <a:pt x="222" y="108"/>
                  </a:lnTo>
                  <a:lnTo>
                    <a:pt x="228" y="108"/>
                  </a:lnTo>
                  <a:lnTo>
                    <a:pt x="228" y="102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52" y="102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0" y="102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96"/>
                  </a:lnTo>
                  <a:lnTo>
                    <a:pt x="282" y="96"/>
                  </a:lnTo>
                  <a:lnTo>
                    <a:pt x="288" y="96"/>
                  </a:lnTo>
                  <a:lnTo>
                    <a:pt x="294" y="96"/>
                  </a:lnTo>
                  <a:lnTo>
                    <a:pt x="300" y="96"/>
                  </a:lnTo>
                  <a:lnTo>
                    <a:pt x="300" y="90"/>
                  </a:lnTo>
                  <a:lnTo>
                    <a:pt x="300" y="84"/>
                  </a:lnTo>
                  <a:lnTo>
                    <a:pt x="300" y="90"/>
                  </a:lnTo>
                  <a:lnTo>
                    <a:pt x="306" y="84"/>
                  </a:lnTo>
                  <a:lnTo>
                    <a:pt x="312" y="84"/>
                  </a:lnTo>
                  <a:lnTo>
                    <a:pt x="318" y="84"/>
                  </a:lnTo>
                  <a:lnTo>
                    <a:pt x="318" y="78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30" y="60"/>
                  </a:lnTo>
                  <a:lnTo>
                    <a:pt x="336" y="60"/>
                  </a:lnTo>
                  <a:lnTo>
                    <a:pt x="336" y="54"/>
                  </a:lnTo>
                  <a:lnTo>
                    <a:pt x="342" y="54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0" y="30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18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6"/>
                  </a:lnTo>
                  <a:lnTo>
                    <a:pt x="384" y="6"/>
                  </a:lnTo>
                  <a:lnTo>
                    <a:pt x="384" y="12"/>
                  </a:lnTo>
                  <a:lnTo>
                    <a:pt x="384" y="6"/>
                  </a:lnTo>
                  <a:lnTo>
                    <a:pt x="390" y="6"/>
                  </a:lnTo>
                  <a:lnTo>
                    <a:pt x="396" y="6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2" y="0"/>
                  </a:lnTo>
                  <a:lnTo>
                    <a:pt x="402" y="6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6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8"/>
                  </a:lnTo>
                  <a:lnTo>
                    <a:pt x="432" y="18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62" y="60"/>
                  </a:lnTo>
                  <a:lnTo>
                    <a:pt x="462" y="72"/>
                  </a:lnTo>
                  <a:lnTo>
                    <a:pt x="456" y="72"/>
                  </a:lnTo>
                  <a:lnTo>
                    <a:pt x="456" y="78"/>
                  </a:lnTo>
                  <a:lnTo>
                    <a:pt x="462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56" y="90"/>
                  </a:lnTo>
                  <a:lnTo>
                    <a:pt x="456" y="96"/>
                  </a:lnTo>
                  <a:lnTo>
                    <a:pt x="450" y="96"/>
                  </a:lnTo>
                  <a:lnTo>
                    <a:pt x="450" y="102"/>
                  </a:lnTo>
                  <a:lnTo>
                    <a:pt x="456" y="102"/>
                  </a:lnTo>
                  <a:lnTo>
                    <a:pt x="456" y="108"/>
                  </a:lnTo>
                  <a:lnTo>
                    <a:pt x="450" y="108"/>
                  </a:lnTo>
                  <a:lnTo>
                    <a:pt x="450" y="114"/>
                  </a:lnTo>
                  <a:lnTo>
                    <a:pt x="456" y="114"/>
                  </a:lnTo>
                  <a:lnTo>
                    <a:pt x="462" y="114"/>
                  </a:lnTo>
                  <a:lnTo>
                    <a:pt x="468" y="114"/>
                  </a:lnTo>
                  <a:lnTo>
                    <a:pt x="474" y="114"/>
                  </a:lnTo>
                  <a:lnTo>
                    <a:pt x="480" y="114"/>
                  </a:lnTo>
                  <a:lnTo>
                    <a:pt x="480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486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92" y="138"/>
                  </a:lnTo>
                  <a:lnTo>
                    <a:pt x="498" y="138"/>
                  </a:lnTo>
                  <a:lnTo>
                    <a:pt x="504" y="138"/>
                  </a:lnTo>
                  <a:lnTo>
                    <a:pt x="504" y="144"/>
                  </a:lnTo>
                  <a:lnTo>
                    <a:pt x="504" y="138"/>
                  </a:lnTo>
                  <a:lnTo>
                    <a:pt x="510" y="138"/>
                  </a:lnTo>
                  <a:lnTo>
                    <a:pt x="510" y="144"/>
                  </a:lnTo>
                  <a:lnTo>
                    <a:pt x="516" y="144"/>
                  </a:lnTo>
                  <a:lnTo>
                    <a:pt x="522" y="144"/>
                  </a:lnTo>
                  <a:lnTo>
                    <a:pt x="522" y="150"/>
                  </a:lnTo>
                  <a:lnTo>
                    <a:pt x="528" y="156"/>
                  </a:lnTo>
                  <a:lnTo>
                    <a:pt x="534" y="156"/>
                  </a:lnTo>
                  <a:lnTo>
                    <a:pt x="534" y="162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40" y="180"/>
                  </a:lnTo>
                  <a:lnTo>
                    <a:pt x="546" y="186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52" y="192"/>
                  </a:lnTo>
                  <a:lnTo>
                    <a:pt x="558" y="192"/>
                  </a:lnTo>
                  <a:lnTo>
                    <a:pt x="564" y="192"/>
                  </a:lnTo>
                  <a:lnTo>
                    <a:pt x="564" y="198"/>
                  </a:lnTo>
                  <a:lnTo>
                    <a:pt x="570" y="198"/>
                  </a:lnTo>
                  <a:lnTo>
                    <a:pt x="576" y="198"/>
                  </a:lnTo>
                  <a:lnTo>
                    <a:pt x="576" y="204"/>
                  </a:lnTo>
                  <a:lnTo>
                    <a:pt x="582" y="204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94" y="216"/>
                  </a:lnTo>
                  <a:lnTo>
                    <a:pt x="594" y="222"/>
                  </a:lnTo>
                  <a:lnTo>
                    <a:pt x="594" y="228"/>
                  </a:lnTo>
                  <a:lnTo>
                    <a:pt x="588" y="228"/>
                  </a:lnTo>
                  <a:lnTo>
                    <a:pt x="588" y="234"/>
                  </a:lnTo>
                  <a:lnTo>
                    <a:pt x="594" y="234"/>
                  </a:lnTo>
                  <a:lnTo>
                    <a:pt x="600" y="234"/>
                  </a:lnTo>
                  <a:lnTo>
                    <a:pt x="600" y="240"/>
                  </a:lnTo>
                  <a:lnTo>
                    <a:pt x="600" y="246"/>
                  </a:lnTo>
                  <a:lnTo>
                    <a:pt x="600" y="252"/>
                  </a:lnTo>
                  <a:lnTo>
                    <a:pt x="606" y="252"/>
                  </a:lnTo>
                  <a:lnTo>
                    <a:pt x="612" y="252"/>
                  </a:lnTo>
                  <a:lnTo>
                    <a:pt x="618" y="252"/>
                  </a:lnTo>
                  <a:lnTo>
                    <a:pt x="618" y="258"/>
                  </a:lnTo>
                  <a:lnTo>
                    <a:pt x="624" y="258"/>
                  </a:lnTo>
                  <a:lnTo>
                    <a:pt x="630" y="258"/>
                  </a:lnTo>
                  <a:lnTo>
                    <a:pt x="630" y="264"/>
                  </a:lnTo>
                  <a:lnTo>
                    <a:pt x="636" y="264"/>
                  </a:lnTo>
                  <a:lnTo>
                    <a:pt x="636" y="270"/>
                  </a:lnTo>
                  <a:lnTo>
                    <a:pt x="636" y="276"/>
                  </a:lnTo>
                  <a:lnTo>
                    <a:pt x="636" y="282"/>
                  </a:lnTo>
                  <a:lnTo>
                    <a:pt x="636" y="288"/>
                  </a:lnTo>
                  <a:lnTo>
                    <a:pt x="642" y="288"/>
                  </a:lnTo>
                  <a:lnTo>
                    <a:pt x="642" y="294"/>
                  </a:lnTo>
                  <a:lnTo>
                    <a:pt x="648" y="294"/>
                  </a:lnTo>
                  <a:lnTo>
                    <a:pt x="648" y="300"/>
                  </a:lnTo>
                  <a:lnTo>
                    <a:pt x="648" y="294"/>
                  </a:lnTo>
                  <a:lnTo>
                    <a:pt x="642" y="294"/>
                  </a:lnTo>
                  <a:lnTo>
                    <a:pt x="636" y="294"/>
                  </a:lnTo>
                  <a:lnTo>
                    <a:pt x="630" y="294"/>
                  </a:lnTo>
                  <a:lnTo>
                    <a:pt x="630" y="288"/>
                  </a:lnTo>
                  <a:lnTo>
                    <a:pt x="624" y="294"/>
                  </a:lnTo>
                  <a:lnTo>
                    <a:pt x="618" y="294"/>
                  </a:lnTo>
                  <a:lnTo>
                    <a:pt x="618" y="300"/>
                  </a:lnTo>
                  <a:lnTo>
                    <a:pt x="612" y="300"/>
                  </a:lnTo>
                  <a:lnTo>
                    <a:pt x="612" y="294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6" y="294"/>
                  </a:lnTo>
                  <a:lnTo>
                    <a:pt x="606" y="300"/>
                  </a:lnTo>
                  <a:lnTo>
                    <a:pt x="600" y="300"/>
                  </a:lnTo>
                  <a:lnTo>
                    <a:pt x="600" y="294"/>
                  </a:lnTo>
                  <a:lnTo>
                    <a:pt x="594" y="294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8" y="294"/>
                  </a:lnTo>
                  <a:lnTo>
                    <a:pt x="588" y="288"/>
                  </a:lnTo>
                  <a:lnTo>
                    <a:pt x="582" y="288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6" y="288"/>
                  </a:lnTo>
                  <a:lnTo>
                    <a:pt x="576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70" y="288"/>
                  </a:lnTo>
                  <a:lnTo>
                    <a:pt x="570" y="294"/>
                  </a:lnTo>
                  <a:lnTo>
                    <a:pt x="564" y="294"/>
                  </a:lnTo>
                  <a:lnTo>
                    <a:pt x="564" y="288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8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0" y="288"/>
                  </a:lnTo>
                  <a:lnTo>
                    <a:pt x="540" y="294"/>
                  </a:lnTo>
                  <a:lnTo>
                    <a:pt x="546" y="294"/>
                  </a:lnTo>
                  <a:lnTo>
                    <a:pt x="540" y="294"/>
                  </a:lnTo>
                  <a:lnTo>
                    <a:pt x="540" y="300"/>
                  </a:lnTo>
                  <a:lnTo>
                    <a:pt x="534" y="300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8" y="300"/>
                  </a:lnTo>
                  <a:lnTo>
                    <a:pt x="522" y="300"/>
                  </a:lnTo>
                  <a:lnTo>
                    <a:pt x="522" y="306"/>
                  </a:lnTo>
                  <a:lnTo>
                    <a:pt x="516" y="306"/>
                  </a:lnTo>
                  <a:lnTo>
                    <a:pt x="510" y="306"/>
                  </a:lnTo>
                  <a:lnTo>
                    <a:pt x="510" y="300"/>
                  </a:lnTo>
                  <a:lnTo>
                    <a:pt x="504" y="300"/>
                  </a:lnTo>
                  <a:lnTo>
                    <a:pt x="504" y="294"/>
                  </a:lnTo>
                  <a:lnTo>
                    <a:pt x="498" y="294"/>
                  </a:lnTo>
                  <a:lnTo>
                    <a:pt x="498" y="300"/>
                  </a:lnTo>
                  <a:lnTo>
                    <a:pt x="498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8" y="300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6" y="300"/>
                  </a:lnTo>
                  <a:lnTo>
                    <a:pt x="486" y="306"/>
                  </a:lnTo>
                  <a:lnTo>
                    <a:pt x="480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68" y="312"/>
                  </a:lnTo>
                  <a:lnTo>
                    <a:pt x="462" y="312"/>
                  </a:lnTo>
                  <a:lnTo>
                    <a:pt x="456" y="312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50" y="324"/>
                  </a:lnTo>
                  <a:lnTo>
                    <a:pt x="444" y="324"/>
                  </a:lnTo>
                  <a:lnTo>
                    <a:pt x="444" y="318"/>
                  </a:lnTo>
                  <a:lnTo>
                    <a:pt x="438" y="318"/>
                  </a:lnTo>
                  <a:lnTo>
                    <a:pt x="438" y="312"/>
                  </a:lnTo>
                  <a:lnTo>
                    <a:pt x="432" y="312"/>
                  </a:lnTo>
                  <a:lnTo>
                    <a:pt x="432" y="318"/>
                  </a:lnTo>
                  <a:lnTo>
                    <a:pt x="426" y="312"/>
                  </a:lnTo>
                  <a:lnTo>
                    <a:pt x="420" y="312"/>
                  </a:lnTo>
                  <a:lnTo>
                    <a:pt x="420" y="318"/>
                  </a:lnTo>
                  <a:lnTo>
                    <a:pt x="420" y="312"/>
                  </a:lnTo>
                  <a:lnTo>
                    <a:pt x="414" y="312"/>
                  </a:lnTo>
                  <a:lnTo>
                    <a:pt x="414" y="318"/>
                  </a:lnTo>
                  <a:lnTo>
                    <a:pt x="414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8" y="324"/>
                  </a:lnTo>
                  <a:lnTo>
                    <a:pt x="408" y="330"/>
                  </a:lnTo>
                  <a:lnTo>
                    <a:pt x="408" y="336"/>
                  </a:lnTo>
                  <a:lnTo>
                    <a:pt x="402" y="336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48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8" y="342"/>
                  </a:lnTo>
                  <a:lnTo>
                    <a:pt x="378" y="336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36"/>
                  </a:lnTo>
                  <a:lnTo>
                    <a:pt x="360" y="336"/>
                  </a:lnTo>
                  <a:lnTo>
                    <a:pt x="354" y="336"/>
                  </a:lnTo>
                  <a:lnTo>
                    <a:pt x="348" y="336"/>
                  </a:lnTo>
                  <a:lnTo>
                    <a:pt x="342" y="336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18" y="330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24"/>
                  </a:lnTo>
                  <a:lnTo>
                    <a:pt x="300" y="318"/>
                  </a:lnTo>
                  <a:lnTo>
                    <a:pt x="294" y="318"/>
                  </a:lnTo>
                  <a:lnTo>
                    <a:pt x="294" y="312"/>
                  </a:lnTo>
                  <a:lnTo>
                    <a:pt x="288" y="312"/>
                  </a:lnTo>
                  <a:lnTo>
                    <a:pt x="288" y="306"/>
                  </a:lnTo>
                  <a:lnTo>
                    <a:pt x="282" y="306"/>
                  </a:lnTo>
                  <a:lnTo>
                    <a:pt x="276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64" y="294"/>
                  </a:lnTo>
                  <a:lnTo>
                    <a:pt x="258" y="294"/>
                  </a:lnTo>
                  <a:lnTo>
                    <a:pt x="252" y="294"/>
                  </a:lnTo>
                  <a:lnTo>
                    <a:pt x="246" y="294"/>
                  </a:lnTo>
                  <a:lnTo>
                    <a:pt x="246" y="300"/>
                  </a:lnTo>
                  <a:lnTo>
                    <a:pt x="240" y="300"/>
                  </a:lnTo>
                  <a:lnTo>
                    <a:pt x="240" y="306"/>
                  </a:lnTo>
                  <a:lnTo>
                    <a:pt x="234" y="306"/>
                  </a:lnTo>
                  <a:lnTo>
                    <a:pt x="228" y="306"/>
                  </a:lnTo>
                  <a:lnTo>
                    <a:pt x="228" y="312"/>
                  </a:lnTo>
                  <a:lnTo>
                    <a:pt x="222" y="318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6" y="330"/>
                  </a:lnTo>
                  <a:lnTo>
                    <a:pt x="210" y="336"/>
                  </a:lnTo>
                  <a:lnTo>
                    <a:pt x="210" y="330"/>
                  </a:lnTo>
                  <a:lnTo>
                    <a:pt x="204" y="336"/>
                  </a:lnTo>
                  <a:lnTo>
                    <a:pt x="210" y="342"/>
                  </a:lnTo>
                  <a:lnTo>
                    <a:pt x="210" y="348"/>
                  </a:lnTo>
                  <a:lnTo>
                    <a:pt x="210" y="354"/>
                  </a:lnTo>
                  <a:lnTo>
                    <a:pt x="210" y="360"/>
                  </a:lnTo>
                  <a:lnTo>
                    <a:pt x="204" y="360"/>
                  </a:lnTo>
                  <a:lnTo>
                    <a:pt x="210" y="366"/>
                  </a:lnTo>
                  <a:lnTo>
                    <a:pt x="210" y="372"/>
                  </a:lnTo>
                  <a:lnTo>
                    <a:pt x="210" y="378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198" y="372"/>
                  </a:lnTo>
                  <a:lnTo>
                    <a:pt x="192" y="372"/>
                  </a:lnTo>
                  <a:lnTo>
                    <a:pt x="192" y="378"/>
                  </a:lnTo>
                  <a:lnTo>
                    <a:pt x="186" y="378"/>
                  </a:lnTo>
                  <a:lnTo>
                    <a:pt x="186" y="372"/>
                  </a:lnTo>
                  <a:lnTo>
                    <a:pt x="180" y="372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8" y="366"/>
                  </a:lnTo>
                  <a:lnTo>
                    <a:pt x="162" y="366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2" y="372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08" y="378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02" y="390"/>
                  </a:lnTo>
                  <a:lnTo>
                    <a:pt x="102" y="396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102" y="408"/>
                  </a:lnTo>
                  <a:lnTo>
                    <a:pt x="90" y="438"/>
                  </a:lnTo>
                  <a:lnTo>
                    <a:pt x="84" y="438"/>
                  </a:lnTo>
                  <a:lnTo>
                    <a:pt x="84" y="432"/>
                  </a:lnTo>
                  <a:lnTo>
                    <a:pt x="84" y="426"/>
                  </a:lnTo>
                  <a:lnTo>
                    <a:pt x="84" y="420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396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54" y="378"/>
                  </a:lnTo>
                  <a:lnTo>
                    <a:pt x="48" y="372"/>
                  </a:lnTo>
                  <a:lnTo>
                    <a:pt x="42" y="366"/>
                  </a:lnTo>
                  <a:lnTo>
                    <a:pt x="36" y="354"/>
                  </a:lnTo>
                  <a:lnTo>
                    <a:pt x="36" y="348"/>
                  </a:lnTo>
                  <a:lnTo>
                    <a:pt x="30" y="348"/>
                  </a:lnTo>
                  <a:lnTo>
                    <a:pt x="36" y="348"/>
                  </a:lnTo>
                  <a:lnTo>
                    <a:pt x="36" y="342"/>
                  </a:lnTo>
                  <a:lnTo>
                    <a:pt x="36" y="336"/>
                  </a:lnTo>
                  <a:lnTo>
                    <a:pt x="30" y="336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24" y="324"/>
                  </a:lnTo>
                  <a:lnTo>
                    <a:pt x="18" y="324"/>
                  </a:lnTo>
                  <a:lnTo>
                    <a:pt x="18" y="318"/>
                  </a:lnTo>
                  <a:lnTo>
                    <a:pt x="12" y="312"/>
                  </a:lnTo>
                  <a:lnTo>
                    <a:pt x="18" y="312"/>
                  </a:lnTo>
                  <a:lnTo>
                    <a:pt x="12" y="306"/>
                  </a:lnTo>
                  <a:lnTo>
                    <a:pt x="12" y="300"/>
                  </a:lnTo>
                  <a:lnTo>
                    <a:pt x="12" y="294"/>
                  </a:lnTo>
                  <a:lnTo>
                    <a:pt x="12" y="288"/>
                  </a:lnTo>
                  <a:lnTo>
                    <a:pt x="6" y="288"/>
                  </a:lnTo>
                  <a:lnTo>
                    <a:pt x="6" y="282"/>
                  </a:lnTo>
                  <a:lnTo>
                    <a:pt x="12" y="282"/>
                  </a:lnTo>
                  <a:lnTo>
                    <a:pt x="12" y="276"/>
                  </a:lnTo>
                  <a:lnTo>
                    <a:pt x="12" y="270"/>
                  </a:lnTo>
                  <a:lnTo>
                    <a:pt x="6" y="270"/>
                  </a:lnTo>
                  <a:lnTo>
                    <a:pt x="12" y="270"/>
                  </a:lnTo>
                  <a:lnTo>
                    <a:pt x="12" y="264"/>
                  </a:lnTo>
                  <a:lnTo>
                    <a:pt x="12" y="258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2" y="240"/>
                  </a:lnTo>
                  <a:lnTo>
                    <a:pt x="18" y="240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36" y="204"/>
                  </a:lnTo>
                  <a:lnTo>
                    <a:pt x="36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54" y="180"/>
                  </a:lnTo>
                  <a:lnTo>
                    <a:pt x="54" y="17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8" name="Freeform 41"/>
            <p:cNvSpPr>
              <a:spLocks noChangeAspect="1"/>
            </p:cNvSpPr>
            <p:nvPr>
              <p:custDataLst>
                <p:tags r:id="rId23"/>
              </p:custDataLst>
            </p:nvPr>
          </p:nvSpPr>
          <p:spPr bwMode="auto">
            <a:xfrm>
              <a:off x="2172" y="1779"/>
              <a:ext cx="505" cy="403"/>
            </a:xfrm>
            <a:custGeom>
              <a:avLst/>
              <a:gdLst>
                <a:gd name="T0" fmla="*/ 26 w 594"/>
                <a:gd name="T1" fmla="*/ 35 h 474"/>
                <a:gd name="T2" fmla="*/ 47 w 594"/>
                <a:gd name="T3" fmla="*/ 3 h 474"/>
                <a:gd name="T4" fmla="*/ 71 w 594"/>
                <a:gd name="T5" fmla="*/ 0 h 474"/>
                <a:gd name="T6" fmla="*/ 104 w 594"/>
                <a:gd name="T7" fmla="*/ 12 h 474"/>
                <a:gd name="T8" fmla="*/ 128 w 594"/>
                <a:gd name="T9" fmla="*/ 16 h 474"/>
                <a:gd name="T10" fmla="*/ 150 w 594"/>
                <a:gd name="T11" fmla="*/ 19 h 474"/>
                <a:gd name="T12" fmla="*/ 173 w 594"/>
                <a:gd name="T13" fmla="*/ 26 h 474"/>
                <a:gd name="T14" fmla="*/ 195 w 594"/>
                <a:gd name="T15" fmla="*/ 16 h 474"/>
                <a:gd name="T16" fmla="*/ 232 w 594"/>
                <a:gd name="T17" fmla="*/ 12 h 474"/>
                <a:gd name="T18" fmla="*/ 244 w 594"/>
                <a:gd name="T19" fmla="*/ 19 h 474"/>
                <a:gd name="T20" fmla="*/ 257 w 594"/>
                <a:gd name="T21" fmla="*/ 16 h 474"/>
                <a:gd name="T22" fmla="*/ 267 w 594"/>
                <a:gd name="T23" fmla="*/ 9 h 474"/>
                <a:gd name="T24" fmla="*/ 270 w 594"/>
                <a:gd name="T25" fmla="*/ 9 h 474"/>
                <a:gd name="T26" fmla="*/ 279 w 594"/>
                <a:gd name="T27" fmla="*/ 3 h 474"/>
                <a:gd name="T28" fmla="*/ 298 w 594"/>
                <a:gd name="T29" fmla="*/ 37 h 474"/>
                <a:gd name="T30" fmla="*/ 310 w 594"/>
                <a:gd name="T31" fmla="*/ 51 h 474"/>
                <a:gd name="T32" fmla="*/ 307 w 594"/>
                <a:gd name="T33" fmla="*/ 63 h 474"/>
                <a:gd name="T34" fmla="*/ 292 w 594"/>
                <a:gd name="T35" fmla="*/ 69 h 474"/>
                <a:gd name="T36" fmla="*/ 282 w 594"/>
                <a:gd name="T37" fmla="*/ 84 h 474"/>
                <a:gd name="T38" fmla="*/ 273 w 594"/>
                <a:gd name="T39" fmla="*/ 100 h 474"/>
                <a:gd name="T40" fmla="*/ 273 w 594"/>
                <a:gd name="T41" fmla="*/ 110 h 474"/>
                <a:gd name="T42" fmla="*/ 263 w 594"/>
                <a:gd name="T43" fmla="*/ 122 h 474"/>
                <a:gd name="T44" fmla="*/ 257 w 594"/>
                <a:gd name="T45" fmla="*/ 134 h 474"/>
                <a:gd name="T46" fmla="*/ 248 w 594"/>
                <a:gd name="T47" fmla="*/ 150 h 474"/>
                <a:gd name="T48" fmla="*/ 241 w 594"/>
                <a:gd name="T49" fmla="*/ 167 h 474"/>
                <a:gd name="T50" fmla="*/ 232 w 594"/>
                <a:gd name="T51" fmla="*/ 176 h 474"/>
                <a:gd name="T52" fmla="*/ 229 w 594"/>
                <a:gd name="T53" fmla="*/ 185 h 474"/>
                <a:gd name="T54" fmla="*/ 223 w 594"/>
                <a:gd name="T55" fmla="*/ 188 h 474"/>
                <a:gd name="T56" fmla="*/ 210 w 594"/>
                <a:gd name="T57" fmla="*/ 179 h 474"/>
                <a:gd name="T58" fmla="*/ 200 w 594"/>
                <a:gd name="T59" fmla="*/ 179 h 474"/>
                <a:gd name="T60" fmla="*/ 185 w 594"/>
                <a:gd name="T61" fmla="*/ 185 h 474"/>
                <a:gd name="T62" fmla="*/ 182 w 594"/>
                <a:gd name="T63" fmla="*/ 190 h 474"/>
                <a:gd name="T64" fmla="*/ 173 w 594"/>
                <a:gd name="T65" fmla="*/ 197 h 474"/>
                <a:gd name="T66" fmla="*/ 160 w 594"/>
                <a:gd name="T67" fmla="*/ 210 h 474"/>
                <a:gd name="T68" fmla="*/ 156 w 594"/>
                <a:gd name="T69" fmla="*/ 229 h 474"/>
                <a:gd name="T70" fmla="*/ 147 w 594"/>
                <a:gd name="T71" fmla="*/ 236 h 474"/>
                <a:gd name="T72" fmla="*/ 145 w 594"/>
                <a:gd name="T73" fmla="*/ 241 h 474"/>
                <a:gd name="T74" fmla="*/ 125 w 594"/>
                <a:gd name="T75" fmla="*/ 244 h 474"/>
                <a:gd name="T76" fmla="*/ 110 w 594"/>
                <a:gd name="T77" fmla="*/ 244 h 474"/>
                <a:gd name="T78" fmla="*/ 97 w 594"/>
                <a:gd name="T79" fmla="*/ 248 h 474"/>
                <a:gd name="T80" fmla="*/ 79 w 594"/>
                <a:gd name="T81" fmla="*/ 241 h 474"/>
                <a:gd name="T82" fmla="*/ 69 w 594"/>
                <a:gd name="T83" fmla="*/ 223 h 474"/>
                <a:gd name="T84" fmla="*/ 63 w 594"/>
                <a:gd name="T85" fmla="*/ 210 h 474"/>
                <a:gd name="T86" fmla="*/ 41 w 594"/>
                <a:gd name="T87" fmla="*/ 195 h 474"/>
                <a:gd name="T88" fmla="*/ 19 w 594"/>
                <a:gd name="T89" fmla="*/ 195 h 474"/>
                <a:gd name="T90" fmla="*/ 0 w 594"/>
                <a:gd name="T91" fmla="*/ 188 h 474"/>
                <a:gd name="T92" fmla="*/ 3 w 594"/>
                <a:gd name="T93" fmla="*/ 176 h 474"/>
                <a:gd name="T94" fmla="*/ 0 w 594"/>
                <a:gd name="T95" fmla="*/ 162 h 474"/>
                <a:gd name="T96" fmla="*/ 0 w 594"/>
                <a:gd name="T97" fmla="*/ 142 h 474"/>
                <a:gd name="T98" fmla="*/ 3 w 594"/>
                <a:gd name="T99" fmla="*/ 128 h 474"/>
                <a:gd name="T100" fmla="*/ 9 w 594"/>
                <a:gd name="T101" fmla="*/ 119 h 474"/>
                <a:gd name="T102" fmla="*/ 19 w 594"/>
                <a:gd name="T103" fmla="*/ 104 h 474"/>
                <a:gd name="T104" fmla="*/ 22 w 594"/>
                <a:gd name="T105" fmla="*/ 91 h 474"/>
                <a:gd name="T106" fmla="*/ 28 w 594"/>
                <a:gd name="T107" fmla="*/ 79 h 474"/>
                <a:gd name="T108" fmla="*/ 22 w 594"/>
                <a:gd name="T109" fmla="*/ 56 h 47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94" h="474">
                  <a:moveTo>
                    <a:pt x="42" y="108"/>
                  </a:moveTo>
                  <a:lnTo>
                    <a:pt x="48" y="102"/>
                  </a:lnTo>
                  <a:lnTo>
                    <a:pt x="48" y="96"/>
                  </a:lnTo>
                  <a:lnTo>
                    <a:pt x="48" y="90"/>
                  </a:lnTo>
                  <a:lnTo>
                    <a:pt x="48" y="84"/>
                  </a:lnTo>
                  <a:lnTo>
                    <a:pt x="48" y="78"/>
                  </a:lnTo>
                  <a:lnTo>
                    <a:pt x="48" y="66"/>
                  </a:lnTo>
                  <a:lnTo>
                    <a:pt x="54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72" y="42"/>
                  </a:lnTo>
                  <a:lnTo>
                    <a:pt x="72" y="36"/>
                  </a:lnTo>
                  <a:lnTo>
                    <a:pt x="72" y="18"/>
                  </a:lnTo>
                  <a:lnTo>
                    <a:pt x="90" y="6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50" y="0"/>
                  </a:lnTo>
                  <a:lnTo>
                    <a:pt x="168" y="6"/>
                  </a:lnTo>
                  <a:lnTo>
                    <a:pt x="174" y="12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12"/>
                  </a:lnTo>
                  <a:lnTo>
                    <a:pt x="198" y="24"/>
                  </a:lnTo>
                  <a:lnTo>
                    <a:pt x="204" y="36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36"/>
                  </a:lnTo>
                  <a:lnTo>
                    <a:pt x="234" y="36"/>
                  </a:lnTo>
                  <a:lnTo>
                    <a:pt x="246" y="30"/>
                  </a:lnTo>
                  <a:lnTo>
                    <a:pt x="252" y="24"/>
                  </a:lnTo>
                  <a:lnTo>
                    <a:pt x="264" y="24"/>
                  </a:lnTo>
                  <a:lnTo>
                    <a:pt x="270" y="30"/>
                  </a:lnTo>
                  <a:lnTo>
                    <a:pt x="276" y="30"/>
                  </a:lnTo>
                  <a:lnTo>
                    <a:pt x="276" y="36"/>
                  </a:lnTo>
                  <a:lnTo>
                    <a:pt x="282" y="36"/>
                  </a:lnTo>
                  <a:lnTo>
                    <a:pt x="288" y="36"/>
                  </a:lnTo>
                  <a:lnTo>
                    <a:pt x="294" y="42"/>
                  </a:lnTo>
                  <a:lnTo>
                    <a:pt x="300" y="48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8" y="54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36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84" y="30"/>
                  </a:lnTo>
                  <a:lnTo>
                    <a:pt x="396" y="24"/>
                  </a:lnTo>
                  <a:lnTo>
                    <a:pt x="414" y="24"/>
                  </a:lnTo>
                  <a:lnTo>
                    <a:pt x="420" y="24"/>
                  </a:lnTo>
                  <a:lnTo>
                    <a:pt x="432" y="24"/>
                  </a:lnTo>
                  <a:lnTo>
                    <a:pt x="438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30"/>
                  </a:lnTo>
                  <a:lnTo>
                    <a:pt x="462" y="30"/>
                  </a:lnTo>
                  <a:lnTo>
                    <a:pt x="462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68" y="36"/>
                  </a:lnTo>
                  <a:lnTo>
                    <a:pt x="474" y="36"/>
                  </a:lnTo>
                  <a:lnTo>
                    <a:pt x="480" y="36"/>
                  </a:lnTo>
                  <a:lnTo>
                    <a:pt x="486" y="36"/>
                  </a:lnTo>
                  <a:lnTo>
                    <a:pt x="492" y="36"/>
                  </a:lnTo>
                  <a:lnTo>
                    <a:pt x="492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24"/>
                  </a:lnTo>
                  <a:lnTo>
                    <a:pt x="492" y="30"/>
                  </a:lnTo>
                  <a:lnTo>
                    <a:pt x="498" y="30"/>
                  </a:lnTo>
                  <a:lnTo>
                    <a:pt x="498" y="24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510" y="18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16" y="12"/>
                  </a:lnTo>
                  <a:lnTo>
                    <a:pt x="516" y="18"/>
                  </a:lnTo>
                  <a:lnTo>
                    <a:pt x="522" y="18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28" y="6"/>
                  </a:lnTo>
                  <a:lnTo>
                    <a:pt x="534" y="6"/>
                  </a:lnTo>
                  <a:lnTo>
                    <a:pt x="540" y="6"/>
                  </a:lnTo>
                  <a:lnTo>
                    <a:pt x="546" y="6"/>
                  </a:lnTo>
                  <a:lnTo>
                    <a:pt x="546" y="12"/>
                  </a:lnTo>
                  <a:lnTo>
                    <a:pt x="558" y="24"/>
                  </a:lnTo>
                  <a:lnTo>
                    <a:pt x="564" y="36"/>
                  </a:lnTo>
                  <a:lnTo>
                    <a:pt x="570" y="66"/>
                  </a:lnTo>
                  <a:lnTo>
                    <a:pt x="570" y="72"/>
                  </a:lnTo>
                  <a:lnTo>
                    <a:pt x="576" y="72"/>
                  </a:lnTo>
                  <a:lnTo>
                    <a:pt x="582" y="72"/>
                  </a:lnTo>
                  <a:lnTo>
                    <a:pt x="588" y="72"/>
                  </a:lnTo>
                  <a:lnTo>
                    <a:pt x="588" y="78"/>
                  </a:lnTo>
                  <a:lnTo>
                    <a:pt x="594" y="84"/>
                  </a:lnTo>
                  <a:lnTo>
                    <a:pt x="594" y="90"/>
                  </a:lnTo>
                  <a:lnTo>
                    <a:pt x="594" y="96"/>
                  </a:lnTo>
                  <a:lnTo>
                    <a:pt x="594" y="102"/>
                  </a:lnTo>
                  <a:lnTo>
                    <a:pt x="588" y="102"/>
                  </a:lnTo>
                  <a:lnTo>
                    <a:pt x="588" y="108"/>
                  </a:lnTo>
                  <a:lnTo>
                    <a:pt x="594" y="108"/>
                  </a:lnTo>
                  <a:lnTo>
                    <a:pt x="594" y="114"/>
                  </a:lnTo>
                  <a:lnTo>
                    <a:pt x="588" y="114"/>
                  </a:lnTo>
                  <a:lnTo>
                    <a:pt x="588" y="120"/>
                  </a:lnTo>
                  <a:lnTo>
                    <a:pt x="582" y="120"/>
                  </a:lnTo>
                  <a:lnTo>
                    <a:pt x="576" y="120"/>
                  </a:lnTo>
                  <a:lnTo>
                    <a:pt x="576" y="126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26"/>
                  </a:lnTo>
                  <a:lnTo>
                    <a:pt x="558" y="132"/>
                  </a:lnTo>
                  <a:lnTo>
                    <a:pt x="552" y="132"/>
                  </a:lnTo>
                  <a:lnTo>
                    <a:pt x="552" y="138"/>
                  </a:lnTo>
                  <a:lnTo>
                    <a:pt x="546" y="144"/>
                  </a:lnTo>
                  <a:lnTo>
                    <a:pt x="546" y="150"/>
                  </a:lnTo>
                  <a:lnTo>
                    <a:pt x="540" y="150"/>
                  </a:lnTo>
                  <a:lnTo>
                    <a:pt x="540" y="156"/>
                  </a:lnTo>
                  <a:lnTo>
                    <a:pt x="540" y="162"/>
                  </a:lnTo>
                  <a:lnTo>
                    <a:pt x="540" y="168"/>
                  </a:lnTo>
                  <a:lnTo>
                    <a:pt x="540" y="174"/>
                  </a:lnTo>
                  <a:lnTo>
                    <a:pt x="534" y="174"/>
                  </a:lnTo>
                  <a:lnTo>
                    <a:pt x="534" y="180"/>
                  </a:lnTo>
                  <a:lnTo>
                    <a:pt x="534" y="186"/>
                  </a:lnTo>
                  <a:lnTo>
                    <a:pt x="528" y="186"/>
                  </a:lnTo>
                  <a:lnTo>
                    <a:pt x="522" y="192"/>
                  </a:lnTo>
                  <a:lnTo>
                    <a:pt x="528" y="192"/>
                  </a:lnTo>
                  <a:lnTo>
                    <a:pt x="522" y="192"/>
                  </a:lnTo>
                  <a:lnTo>
                    <a:pt x="522" y="198"/>
                  </a:lnTo>
                  <a:lnTo>
                    <a:pt x="528" y="198"/>
                  </a:lnTo>
                  <a:lnTo>
                    <a:pt x="528" y="204"/>
                  </a:lnTo>
                  <a:lnTo>
                    <a:pt x="522" y="204"/>
                  </a:lnTo>
                  <a:lnTo>
                    <a:pt x="522" y="210"/>
                  </a:lnTo>
                  <a:lnTo>
                    <a:pt x="522" y="216"/>
                  </a:lnTo>
                  <a:lnTo>
                    <a:pt x="516" y="216"/>
                  </a:lnTo>
                  <a:lnTo>
                    <a:pt x="510" y="216"/>
                  </a:lnTo>
                  <a:lnTo>
                    <a:pt x="510" y="222"/>
                  </a:lnTo>
                  <a:lnTo>
                    <a:pt x="504" y="222"/>
                  </a:lnTo>
                  <a:lnTo>
                    <a:pt x="504" y="228"/>
                  </a:lnTo>
                  <a:lnTo>
                    <a:pt x="504" y="234"/>
                  </a:lnTo>
                  <a:lnTo>
                    <a:pt x="504" y="240"/>
                  </a:lnTo>
                  <a:lnTo>
                    <a:pt x="504" y="246"/>
                  </a:lnTo>
                  <a:lnTo>
                    <a:pt x="498" y="246"/>
                  </a:lnTo>
                  <a:lnTo>
                    <a:pt x="504" y="252"/>
                  </a:lnTo>
                  <a:lnTo>
                    <a:pt x="498" y="252"/>
                  </a:lnTo>
                  <a:lnTo>
                    <a:pt x="498" y="258"/>
                  </a:lnTo>
                  <a:lnTo>
                    <a:pt x="492" y="258"/>
                  </a:lnTo>
                  <a:lnTo>
                    <a:pt x="486" y="258"/>
                  </a:lnTo>
                  <a:lnTo>
                    <a:pt x="486" y="264"/>
                  </a:lnTo>
                  <a:lnTo>
                    <a:pt x="480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74" y="282"/>
                  </a:lnTo>
                  <a:lnTo>
                    <a:pt x="474" y="288"/>
                  </a:lnTo>
                  <a:lnTo>
                    <a:pt x="474" y="294"/>
                  </a:lnTo>
                  <a:lnTo>
                    <a:pt x="468" y="294"/>
                  </a:lnTo>
                  <a:lnTo>
                    <a:pt x="468" y="300"/>
                  </a:lnTo>
                  <a:lnTo>
                    <a:pt x="462" y="300"/>
                  </a:lnTo>
                  <a:lnTo>
                    <a:pt x="462" y="306"/>
                  </a:lnTo>
                  <a:lnTo>
                    <a:pt x="462" y="312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30"/>
                  </a:lnTo>
                  <a:lnTo>
                    <a:pt x="456" y="336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44" y="342"/>
                  </a:lnTo>
                  <a:lnTo>
                    <a:pt x="438" y="342"/>
                  </a:lnTo>
                  <a:lnTo>
                    <a:pt x="438" y="348"/>
                  </a:lnTo>
                  <a:lnTo>
                    <a:pt x="444" y="348"/>
                  </a:lnTo>
                  <a:lnTo>
                    <a:pt x="438" y="348"/>
                  </a:lnTo>
                  <a:lnTo>
                    <a:pt x="444" y="354"/>
                  </a:lnTo>
                  <a:lnTo>
                    <a:pt x="438" y="354"/>
                  </a:lnTo>
                  <a:lnTo>
                    <a:pt x="438" y="360"/>
                  </a:lnTo>
                  <a:lnTo>
                    <a:pt x="432" y="360"/>
                  </a:lnTo>
                  <a:lnTo>
                    <a:pt x="432" y="366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6" y="36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20" y="354"/>
                  </a:lnTo>
                  <a:lnTo>
                    <a:pt x="414" y="354"/>
                  </a:lnTo>
                  <a:lnTo>
                    <a:pt x="408" y="354"/>
                  </a:lnTo>
                  <a:lnTo>
                    <a:pt x="408" y="348"/>
                  </a:lnTo>
                  <a:lnTo>
                    <a:pt x="402" y="348"/>
                  </a:lnTo>
                  <a:lnTo>
                    <a:pt x="402" y="342"/>
                  </a:lnTo>
                  <a:lnTo>
                    <a:pt x="396" y="342"/>
                  </a:lnTo>
                  <a:lnTo>
                    <a:pt x="396" y="336"/>
                  </a:lnTo>
                  <a:lnTo>
                    <a:pt x="390" y="336"/>
                  </a:lnTo>
                  <a:lnTo>
                    <a:pt x="390" y="330"/>
                  </a:lnTo>
                  <a:lnTo>
                    <a:pt x="390" y="336"/>
                  </a:lnTo>
                  <a:lnTo>
                    <a:pt x="390" y="342"/>
                  </a:lnTo>
                  <a:lnTo>
                    <a:pt x="384" y="342"/>
                  </a:lnTo>
                  <a:lnTo>
                    <a:pt x="372" y="348"/>
                  </a:lnTo>
                  <a:lnTo>
                    <a:pt x="372" y="342"/>
                  </a:lnTo>
                  <a:lnTo>
                    <a:pt x="372" y="336"/>
                  </a:lnTo>
                  <a:lnTo>
                    <a:pt x="366" y="342"/>
                  </a:lnTo>
                  <a:lnTo>
                    <a:pt x="360" y="342"/>
                  </a:lnTo>
                  <a:lnTo>
                    <a:pt x="360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48" y="366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24" y="384"/>
                  </a:lnTo>
                  <a:lnTo>
                    <a:pt x="318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06" y="396"/>
                  </a:lnTo>
                  <a:lnTo>
                    <a:pt x="306" y="402"/>
                  </a:lnTo>
                  <a:lnTo>
                    <a:pt x="306" y="408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26"/>
                  </a:lnTo>
                  <a:lnTo>
                    <a:pt x="306" y="432"/>
                  </a:lnTo>
                  <a:lnTo>
                    <a:pt x="300" y="432"/>
                  </a:lnTo>
                  <a:lnTo>
                    <a:pt x="300" y="438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82" y="456"/>
                  </a:lnTo>
                  <a:lnTo>
                    <a:pt x="276" y="456"/>
                  </a:lnTo>
                  <a:lnTo>
                    <a:pt x="276" y="462"/>
                  </a:lnTo>
                  <a:lnTo>
                    <a:pt x="270" y="462"/>
                  </a:lnTo>
                  <a:lnTo>
                    <a:pt x="264" y="462"/>
                  </a:lnTo>
                  <a:lnTo>
                    <a:pt x="258" y="462"/>
                  </a:lnTo>
                  <a:lnTo>
                    <a:pt x="252" y="462"/>
                  </a:lnTo>
                  <a:lnTo>
                    <a:pt x="246" y="462"/>
                  </a:lnTo>
                  <a:lnTo>
                    <a:pt x="240" y="462"/>
                  </a:lnTo>
                  <a:lnTo>
                    <a:pt x="240" y="468"/>
                  </a:lnTo>
                  <a:lnTo>
                    <a:pt x="234" y="468"/>
                  </a:lnTo>
                  <a:lnTo>
                    <a:pt x="228" y="468"/>
                  </a:lnTo>
                  <a:lnTo>
                    <a:pt x="222" y="468"/>
                  </a:lnTo>
                  <a:lnTo>
                    <a:pt x="222" y="462"/>
                  </a:lnTo>
                  <a:lnTo>
                    <a:pt x="222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16" y="468"/>
                  </a:lnTo>
                  <a:lnTo>
                    <a:pt x="210" y="468"/>
                  </a:lnTo>
                  <a:lnTo>
                    <a:pt x="204" y="468"/>
                  </a:lnTo>
                  <a:lnTo>
                    <a:pt x="204" y="474"/>
                  </a:lnTo>
                  <a:lnTo>
                    <a:pt x="198" y="474"/>
                  </a:lnTo>
                  <a:lnTo>
                    <a:pt x="192" y="474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56"/>
                  </a:lnTo>
                  <a:lnTo>
                    <a:pt x="144" y="450"/>
                  </a:lnTo>
                  <a:lnTo>
                    <a:pt x="138" y="450"/>
                  </a:lnTo>
                  <a:lnTo>
                    <a:pt x="138" y="444"/>
                  </a:lnTo>
                  <a:lnTo>
                    <a:pt x="138" y="438"/>
                  </a:lnTo>
                  <a:lnTo>
                    <a:pt x="132" y="432"/>
                  </a:lnTo>
                  <a:lnTo>
                    <a:pt x="132" y="426"/>
                  </a:lnTo>
                  <a:lnTo>
                    <a:pt x="132" y="420"/>
                  </a:lnTo>
                  <a:lnTo>
                    <a:pt x="126" y="420"/>
                  </a:lnTo>
                  <a:lnTo>
                    <a:pt x="126" y="414"/>
                  </a:lnTo>
                  <a:lnTo>
                    <a:pt x="120" y="414"/>
                  </a:lnTo>
                  <a:lnTo>
                    <a:pt x="126" y="414"/>
                  </a:lnTo>
                  <a:lnTo>
                    <a:pt x="120" y="408"/>
                  </a:lnTo>
                  <a:lnTo>
                    <a:pt x="120" y="402"/>
                  </a:lnTo>
                  <a:lnTo>
                    <a:pt x="114" y="402"/>
                  </a:lnTo>
                  <a:lnTo>
                    <a:pt x="114" y="396"/>
                  </a:lnTo>
                  <a:lnTo>
                    <a:pt x="108" y="390"/>
                  </a:lnTo>
                  <a:lnTo>
                    <a:pt x="102" y="384"/>
                  </a:lnTo>
                  <a:lnTo>
                    <a:pt x="90" y="372"/>
                  </a:lnTo>
                  <a:lnTo>
                    <a:pt x="84" y="372"/>
                  </a:lnTo>
                  <a:lnTo>
                    <a:pt x="78" y="372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12" y="372"/>
                  </a:lnTo>
                  <a:lnTo>
                    <a:pt x="6" y="372"/>
                  </a:lnTo>
                  <a:lnTo>
                    <a:pt x="0" y="372"/>
                  </a:lnTo>
                  <a:lnTo>
                    <a:pt x="0" y="366"/>
                  </a:lnTo>
                  <a:lnTo>
                    <a:pt x="0" y="360"/>
                  </a:lnTo>
                  <a:lnTo>
                    <a:pt x="0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0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0" y="324"/>
                  </a:lnTo>
                  <a:lnTo>
                    <a:pt x="0" y="318"/>
                  </a:lnTo>
                  <a:lnTo>
                    <a:pt x="6" y="318"/>
                  </a:lnTo>
                  <a:lnTo>
                    <a:pt x="0" y="312"/>
                  </a:lnTo>
                  <a:lnTo>
                    <a:pt x="0" y="306"/>
                  </a:lnTo>
                  <a:lnTo>
                    <a:pt x="0" y="300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0" y="276"/>
                  </a:lnTo>
                  <a:lnTo>
                    <a:pt x="0" y="270"/>
                  </a:lnTo>
                  <a:lnTo>
                    <a:pt x="0" y="264"/>
                  </a:lnTo>
                  <a:lnTo>
                    <a:pt x="0" y="258"/>
                  </a:lnTo>
                  <a:lnTo>
                    <a:pt x="0" y="252"/>
                  </a:lnTo>
                  <a:lnTo>
                    <a:pt x="6" y="252"/>
                  </a:lnTo>
                  <a:lnTo>
                    <a:pt x="0" y="252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24" y="222"/>
                  </a:lnTo>
                  <a:lnTo>
                    <a:pt x="24" y="216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6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8" y="192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48" y="174"/>
                  </a:lnTo>
                  <a:lnTo>
                    <a:pt x="48" y="168"/>
                  </a:lnTo>
                  <a:lnTo>
                    <a:pt x="54" y="168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8"/>
                  </a:lnTo>
                  <a:lnTo>
                    <a:pt x="48" y="138"/>
                  </a:lnTo>
                  <a:lnTo>
                    <a:pt x="48" y="132"/>
                  </a:lnTo>
                  <a:lnTo>
                    <a:pt x="42" y="126"/>
                  </a:lnTo>
                  <a:lnTo>
                    <a:pt x="42" y="114"/>
                  </a:lnTo>
                  <a:lnTo>
                    <a:pt x="42" y="10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89" name="Freeform 42"/>
            <p:cNvSpPr>
              <a:spLocks noChangeAspect="1"/>
            </p:cNvSpPr>
            <p:nvPr>
              <p:custDataLst>
                <p:tags r:id="rId24"/>
              </p:custDataLst>
            </p:nvPr>
          </p:nvSpPr>
          <p:spPr bwMode="auto">
            <a:xfrm>
              <a:off x="2427" y="2264"/>
              <a:ext cx="245" cy="270"/>
            </a:xfrm>
            <a:custGeom>
              <a:avLst/>
              <a:gdLst>
                <a:gd name="T0" fmla="*/ 26 w 288"/>
                <a:gd name="T1" fmla="*/ 56 h 318"/>
                <a:gd name="T2" fmla="*/ 28 w 288"/>
                <a:gd name="T3" fmla="*/ 56 h 318"/>
                <a:gd name="T4" fmla="*/ 22 w 288"/>
                <a:gd name="T5" fmla="*/ 53 h 318"/>
                <a:gd name="T6" fmla="*/ 19 w 288"/>
                <a:gd name="T7" fmla="*/ 43 h 318"/>
                <a:gd name="T8" fmla="*/ 22 w 288"/>
                <a:gd name="T9" fmla="*/ 37 h 318"/>
                <a:gd name="T10" fmla="*/ 31 w 288"/>
                <a:gd name="T11" fmla="*/ 35 h 318"/>
                <a:gd name="T12" fmla="*/ 69 w 288"/>
                <a:gd name="T13" fmla="*/ 6 h 318"/>
                <a:gd name="T14" fmla="*/ 72 w 288"/>
                <a:gd name="T15" fmla="*/ 0 h 318"/>
                <a:gd name="T16" fmla="*/ 76 w 288"/>
                <a:gd name="T17" fmla="*/ 3 h 318"/>
                <a:gd name="T18" fmla="*/ 85 w 288"/>
                <a:gd name="T19" fmla="*/ 3 h 318"/>
                <a:gd name="T20" fmla="*/ 100 w 288"/>
                <a:gd name="T21" fmla="*/ 3 h 318"/>
                <a:gd name="T22" fmla="*/ 117 w 288"/>
                <a:gd name="T23" fmla="*/ 3 h 318"/>
                <a:gd name="T24" fmla="*/ 117 w 288"/>
                <a:gd name="T25" fmla="*/ 12 h 318"/>
                <a:gd name="T26" fmla="*/ 117 w 288"/>
                <a:gd name="T27" fmla="*/ 22 h 318"/>
                <a:gd name="T28" fmla="*/ 126 w 288"/>
                <a:gd name="T29" fmla="*/ 28 h 318"/>
                <a:gd name="T30" fmla="*/ 132 w 288"/>
                <a:gd name="T31" fmla="*/ 25 h 318"/>
                <a:gd name="T32" fmla="*/ 145 w 288"/>
                <a:gd name="T33" fmla="*/ 28 h 318"/>
                <a:gd name="T34" fmla="*/ 148 w 288"/>
                <a:gd name="T35" fmla="*/ 37 h 318"/>
                <a:gd name="T36" fmla="*/ 142 w 288"/>
                <a:gd name="T37" fmla="*/ 47 h 318"/>
                <a:gd name="T38" fmla="*/ 134 w 288"/>
                <a:gd name="T39" fmla="*/ 56 h 318"/>
                <a:gd name="T40" fmla="*/ 134 w 288"/>
                <a:gd name="T41" fmla="*/ 65 h 318"/>
                <a:gd name="T42" fmla="*/ 148 w 288"/>
                <a:gd name="T43" fmla="*/ 71 h 318"/>
                <a:gd name="T44" fmla="*/ 148 w 288"/>
                <a:gd name="T45" fmla="*/ 87 h 318"/>
                <a:gd name="T46" fmla="*/ 151 w 288"/>
                <a:gd name="T47" fmla="*/ 99 h 318"/>
                <a:gd name="T48" fmla="*/ 145 w 288"/>
                <a:gd name="T49" fmla="*/ 112 h 318"/>
                <a:gd name="T50" fmla="*/ 138 w 288"/>
                <a:gd name="T51" fmla="*/ 125 h 318"/>
                <a:gd name="T52" fmla="*/ 132 w 288"/>
                <a:gd name="T53" fmla="*/ 119 h 318"/>
                <a:gd name="T54" fmla="*/ 123 w 288"/>
                <a:gd name="T55" fmla="*/ 125 h 318"/>
                <a:gd name="T56" fmla="*/ 110 w 288"/>
                <a:gd name="T57" fmla="*/ 121 h 318"/>
                <a:gd name="T58" fmla="*/ 107 w 288"/>
                <a:gd name="T59" fmla="*/ 112 h 318"/>
                <a:gd name="T60" fmla="*/ 97 w 288"/>
                <a:gd name="T61" fmla="*/ 115 h 318"/>
                <a:gd name="T62" fmla="*/ 85 w 288"/>
                <a:gd name="T63" fmla="*/ 121 h 318"/>
                <a:gd name="T64" fmla="*/ 76 w 288"/>
                <a:gd name="T65" fmla="*/ 125 h 318"/>
                <a:gd name="T66" fmla="*/ 79 w 288"/>
                <a:gd name="T67" fmla="*/ 134 h 318"/>
                <a:gd name="T68" fmla="*/ 85 w 288"/>
                <a:gd name="T69" fmla="*/ 143 h 318"/>
                <a:gd name="T70" fmla="*/ 82 w 288"/>
                <a:gd name="T71" fmla="*/ 153 h 318"/>
                <a:gd name="T72" fmla="*/ 76 w 288"/>
                <a:gd name="T73" fmla="*/ 156 h 318"/>
                <a:gd name="T74" fmla="*/ 66 w 288"/>
                <a:gd name="T75" fmla="*/ 160 h 318"/>
                <a:gd name="T76" fmla="*/ 60 w 288"/>
                <a:gd name="T77" fmla="*/ 162 h 318"/>
                <a:gd name="T78" fmla="*/ 56 w 288"/>
                <a:gd name="T79" fmla="*/ 153 h 318"/>
                <a:gd name="T80" fmla="*/ 48 w 288"/>
                <a:gd name="T81" fmla="*/ 143 h 318"/>
                <a:gd name="T82" fmla="*/ 37 w 288"/>
                <a:gd name="T83" fmla="*/ 134 h 318"/>
                <a:gd name="T84" fmla="*/ 31 w 288"/>
                <a:gd name="T85" fmla="*/ 132 h 318"/>
                <a:gd name="T86" fmla="*/ 22 w 288"/>
                <a:gd name="T87" fmla="*/ 125 h 318"/>
                <a:gd name="T88" fmla="*/ 16 w 288"/>
                <a:gd name="T89" fmla="*/ 112 h 318"/>
                <a:gd name="T90" fmla="*/ 12 w 288"/>
                <a:gd name="T91" fmla="*/ 99 h 318"/>
                <a:gd name="T92" fmla="*/ 7 w 288"/>
                <a:gd name="T93" fmla="*/ 91 h 318"/>
                <a:gd name="T94" fmla="*/ 3 w 288"/>
                <a:gd name="T95" fmla="*/ 87 h 318"/>
                <a:gd name="T96" fmla="*/ 0 w 288"/>
                <a:gd name="T97" fmla="*/ 81 h 318"/>
                <a:gd name="T98" fmla="*/ 9 w 288"/>
                <a:gd name="T99" fmla="*/ 81 h 318"/>
                <a:gd name="T100" fmla="*/ 12 w 288"/>
                <a:gd name="T101" fmla="*/ 75 h 318"/>
                <a:gd name="T102" fmla="*/ 16 w 288"/>
                <a:gd name="T103" fmla="*/ 63 h 3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88" h="318">
                  <a:moveTo>
                    <a:pt x="30" y="102"/>
                  </a:moveTo>
                  <a:lnTo>
                    <a:pt x="30" y="108"/>
                  </a:lnTo>
                  <a:lnTo>
                    <a:pt x="36" y="108"/>
                  </a:lnTo>
                  <a:lnTo>
                    <a:pt x="42" y="108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48" y="114"/>
                  </a:lnTo>
                  <a:lnTo>
                    <a:pt x="48" y="108"/>
                  </a:lnTo>
                  <a:lnTo>
                    <a:pt x="54" y="108"/>
                  </a:lnTo>
                  <a:lnTo>
                    <a:pt x="60" y="108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2" y="108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36" y="84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54" y="66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114" y="66"/>
                  </a:lnTo>
                  <a:lnTo>
                    <a:pt x="120" y="66"/>
                  </a:lnTo>
                  <a:lnTo>
                    <a:pt x="126" y="66"/>
                  </a:lnTo>
                  <a:lnTo>
                    <a:pt x="126" y="12"/>
                  </a:lnTo>
                  <a:lnTo>
                    <a:pt x="132" y="12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38" y="6"/>
                  </a:lnTo>
                  <a:lnTo>
                    <a:pt x="138" y="0"/>
                  </a:lnTo>
                  <a:lnTo>
                    <a:pt x="144" y="6"/>
                  </a:lnTo>
                  <a:lnTo>
                    <a:pt x="144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62" y="6"/>
                  </a:lnTo>
                  <a:lnTo>
                    <a:pt x="168" y="6"/>
                  </a:lnTo>
                  <a:lnTo>
                    <a:pt x="174" y="6"/>
                  </a:lnTo>
                  <a:lnTo>
                    <a:pt x="180" y="6"/>
                  </a:lnTo>
                  <a:lnTo>
                    <a:pt x="186" y="6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10" y="6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22" y="24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36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22" y="54"/>
                  </a:lnTo>
                  <a:lnTo>
                    <a:pt x="228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34" y="54"/>
                  </a:lnTo>
                  <a:lnTo>
                    <a:pt x="240" y="54"/>
                  </a:lnTo>
                  <a:lnTo>
                    <a:pt x="240" y="48"/>
                  </a:lnTo>
                  <a:lnTo>
                    <a:pt x="246" y="48"/>
                  </a:lnTo>
                  <a:lnTo>
                    <a:pt x="252" y="48"/>
                  </a:lnTo>
                  <a:lnTo>
                    <a:pt x="258" y="48"/>
                  </a:lnTo>
                  <a:lnTo>
                    <a:pt x="264" y="48"/>
                  </a:lnTo>
                  <a:lnTo>
                    <a:pt x="270" y="48"/>
                  </a:lnTo>
                  <a:lnTo>
                    <a:pt x="276" y="48"/>
                  </a:lnTo>
                  <a:lnTo>
                    <a:pt x="276" y="54"/>
                  </a:lnTo>
                  <a:lnTo>
                    <a:pt x="276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88" y="72"/>
                  </a:lnTo>
                  <a:lnTo>
                    <a:pt x="282" y="72"/>
                  </a:lnTo>
                  <a:lnTo>
                    <a:pt x="288" y="78"/>
                  </a:lnTo>
                  <a:lnTo>
                    <a:pt x="282" y="78"/>
                  </a:lnTo>
                  <a:lnTo>
                    <a:pt x="282" y="84"/>
                  </a:lnTo>
                  <a:lnTo>
                    <a:pt x="276" y="90"/>
                  </a:lnTo>
                  <a:lnTo>
                    <a:pt x="270" y="90"/>
                  </a:lnTo>
                  <a:lnTo>
                    <a:pt x="264" y="90"/>
                  </a:lnTo>
                  <a:lnTo>
                    <a:pt x="264" y="96"/>
                  </a:lnTo>
                  <a:lnTo>
                    <a:pt x="258" y="96"/>
                  </a:lnTo>
                  <a:lnTo>
                    <a:pt x="258" y="102"/>
                  </a:lnTo>
                  <a:lnTo>
                    <a:pt x="258" y="108"/>
                  </a:lnTo>
                  <a:lnTo>
                    <a:pt x="258" y="114"/>
                  </a:lnTo>
                  <a:lnTo>
                    <a:pt x="258" y="120"/>
                  </a:lnTo>
                  <a:lnTo>
                    <a:pt x="258" y="126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64" y="132"/>
                  </a:lnTo>
                  <a:lnTo>
                    <a:pt x="270" y="132"/>
                  </a:lnTo>
                  <a:lnTo>
                    <a:pt x="270" y="138"/>
                  </a:lnTo>
                  <a:lnTo>
                    <a:pt x="276" y="138"/>
                  </a:lnTo>
                  <a:lnTo>
                    <a:pt x="282" y="138"/>
                  </a:lnTo>
                  <a:lnTo>
                    <a:pt x="282" y="144"/>
                  </a:lnTo>
                  <a:lnTo>
                    <a:pt x="288" y="150"/>
                  </a:lnTo>
                  <a:lnTo>
                    <a:pt x="282" y="156"/>
                  </a:lnTo>
                  <a:lnTo>
                    <a:pt x="282" y="162"/>
                  </a:lnTo>
                  <a:lnTo>
                    <a:pt x="282" y="168"/>
                  </a:lnTo>
                  <a:lnTo>
                    <a:pt x="288" y="180"/>
                  </a:lnTo>
                  <a:lnTo>
                    <a:pt x="282" y="186"/>
                  </a:lnTo>
                  <a:lnTo>
                    <a:pt x="288" y="186"/>
                  </a:lnTo>
                  <a:lnTo>
                    <a:pt x="282" y="192"/>
                  </a:lnTo>
                  <a:lnTo>
                    <a:pt x="288" y="192"/>
                  </a:lnTo>
                  <a:lnTo>
                    <a:pt x="282" y="192"/>
                  </a:lnTo>
                  <a:lnTo>
                    <a:pt x="282" y="198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76" y="222"/>
                  </a:lnTo>
                  <a:lnTo>
                    <a:pt x="270" y="222"/>
                  </a:lnTo>
                  <a:lnTo>
                    <a:pt x="270" y="228"/>
                  </a:lnTo>
                  <a:lnTo>
                    <a:pt x="270" y="234"/>
                  </a:lnTo>
                  <a:lnTo>
                    <a:pt x="264" y="240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58" y="234"/>
                  </a:lnTo>
                  <a:lnTo>
                    <a:pt x="258" y="228"/>
                  </a:lnTo>
                  <a:lnTo>
                    <a:pt x="252" y="228"/>
                  </a:lnTo>
                  <a:lnTo>
                    <a:pt x="252" y="222"/>
                  </a:lnTo>
                  <a:lnTo>
                    <a:pt x="246" y="222"/>
                  </a:lnTo>
                  <a:lnTo>
                    <a:pt x="246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40"/>
                  </a:lnTo>
                  <a:lnTo>
                    <a:pt x="228" y="234"/>
                  </a:lnTo>
                  <a:lnTo>
                    <a:pt x="222" y="234"/>
                  </a:lnTo>
                  <a:lnTo>
                    <a:pt x="216" y="234"/>
                  </a:lnTo>
                  <a:lnTo>
                    <a:pt x="210" y="234"/>
                  </a:lnTo>
                  <a:lnTo>
                    <a:pt x="216" y="228"/>
                  </a:lnTo>
                  <a:lnTo>
                    <a:pt x="210" y="228"/>
                  </a:lnTo>
                  <a:lnTo>
                    <a:pt x="210" y="222"/>
                  </a:lnTo>
                  <a:lnTo>
                    <a:pt x="204" y="222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2" y="210"/>
                  </a:lnTo>
                  <a:lnTo>
                    <a:pt x="186" y="210"/>
                  </a:lnTo>
                  <a:lnTo>
                    <a:pt x="186" y="216"/>
                  </a:lnTo>
                  <a:lnTo>
                    <a:pt x="186" y="222"/>
                  </a:lnTo>
                  <a:lnTo>
                    <a:pt x="186" y="228"/>
                  </a:lnTo>
                  <a:lnTo>
                    <a:pt x="186" y="234"/>
                  </a:lnTo>
                  <a:lnTo>
                    <a:pt x="186" y="240"/>
                  </a:lnTo>
                  <a:lnTo>
                    <a:pt x="168" y="240"/>
                  </a:lnTo>
                  <a:lnTo>
                    <a:pt x="162" y="234"/>
                  </a:lnTo>
                  <a:lnTo>
                    <a:pt x="156" y="234"/>
                  </a:lnTo>
                  <a:lnTo>
                    <a:pt x="150" y="234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44" y="246"/>
                  </a:lnTo>
                  <a:lnTo>
                    <a:pt x="150" y="252"/>
                  </a:lnTo>
                  <a:lnTo>
                    <a:pt x="144" y="252"/>
                  </a:lnTo>
                  <a:lnTo>
                    <a:pt x="144" y="258"/>
                  </a:lnTo>
                  <a:lnTo>
                    <a:pt x="150" y="258"/>
                  </a:lnTo>
                  <a:lnTo>
                    <a:pt x="162" y="264"/>
                  </a:lnTo>
                  <a:lnTo>
                    <a:pt x="168" y="264"/>
                  </a:lnTo>
                  <a:lnTo>
                    <a:pt x="162" y="264"/>
                  </a:lnTo>
                  <a:lnTo>
                    <a:pt x="162" y="270"/>
                  </a:lnTo>
                  <a:lnTo>
                    <a:pt x="162" y="276"/>
                  </a:lnTo>
                  <a:lnTo>
                    <a:pt x="156" y="276"/>
                  </a:lnTo>
                  <a:lnTo>
                    <a:pt x="162" y="276"/>
                  </a:lnTo>
                  <a:lnTo>
                    <a:pt x="162" y="282"/>
                  </a:lnTo>
                  <a:lnTo>
                    <a:pt x="162" y="288"/>
                  </a:lnTo>
                  <a:lnTo>
                    <a:pt x="156" y="294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6" y="306"/>
                  </a:lnTo>
                  <a:lnTo>
                    <a:pt x="150" y="300"/>
                  </a:lnTo>
                  <a:lnTo>
                    <a:pt x="144" y="300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6" y="300"/>
                  </a:lnTo>
                  <a:lnTo>
                    <a:pt x="126" y="306"/>
                  </a:lnTo>
                  <a:lnTo>
                    <a:pt x="126" y="312"/>
                  </a:lnTo>
                  <a:lnTo>
                    <a:pt x="120" y="312"/>
                  </a:lnTo>
                  <a:lnTo>
                    <a:pt x="120" y="318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20" y="312"/>
                  </a:lnTo>
                  <a:lnTo>
                    <a:pt x="114" y="312"/>
                  </a:lnTo>
                  <a:lnTo>
                    <a:pt x="114" y="306"/>
                  </a:lnTo>
                  <a:lnTo>
                    <a:pt x="108" y="300"/>
                  </a:lnTo>
                  <a:lnTo>
                    <a:pt x="108" y="294"/>
                  </a:lnTo>
                  <a:lnTo>
                    <a:pt x="102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0" y="282"/>
                  </a:lnTo>
                  <a:lnTo>
                    <a:pt x="90" y="276"/>
                  </a:lnTo>
                  <a:lnTo>
                    <a:pt x="84" y="276"/>
                  </a:lnTo>
                  <a:lnTo>
                    <a:pt x="84" y="270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60" y="252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48" y="246"/>
                  </a:lnTo>
                  <a:lnTo>
                    <a:pt x="48" y="240"/>
                  </a:lnTo>
                  <a:lnTo>
                    <a:pt x="42" y="240"/>
                  </a:lnTo>
                  <a:lnTo>
                    <a:pt x="42" y="234"/>
                  </a:lnTo>
                  <a:lnTo>
                    <a:pt x="42" y="228"/>
                  </a:lnTo>
                  <a:lnTo>
                    <a:pt x="36" y="222"/>
                  </a:lnTo>
                  <a:lnTo>
                    <a:pt x="30" y="222"/>
                  </a:lnTo>
                  <a:lnTo>
                    <a:pt x="30" y="216"/>
                  </a:lnTo>
                  <a:lnTo>
                    <a:pt x="30" y="210"/>
                  </a:lnTo>
                  <a:lnTo>
                    <a:pt x="24" y="210"/>
                  </a:lnTo>
                  <a:lnTo>
                    <a:pt x="24" y="204"/>
                  </a:lnTo>
                  <a:lnTo>
                    <a:pt x="24" y="198"/>
                  </a:lnTo>
                  <a:lnTo>
                    <a:pt x="24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12" y="180"/>
                  </a:lnTo>
                  <a:lnTo>
                    <a:pt x="12" y="174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6" y="168"/>
                  </a:lnTo>
                  <a:lnTo>
                    <a:pt x="6" y="162"/>
                  </a:lnTo>
                  <a:lnTo>
                    <a:pt x="0" y="162"/>
                  </a:lnTo>
                  <a:lnTo>
                    <a:pt x="0" y="156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6" y="156"/>
                  </a:lnTo>
                  <a:lnTo>
                    <a:pt x="12" y="156"/>
                  </a:lnTo>
                  <a:lnTo>
                    <a:pt x="12" y="150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24" y="144"/>
                  </a:lnTo>
                  <a:lnTo>
                    <a:pt x="24" y="138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0" name="Freeform 43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2529" y="2208"/>
              <a:ext cx="316" cy="367"/>
            </a:xfrm>
            <a:custGeom>
              <a:avLst/>
              <a:gdLst>
                <a:gd name="T0" fmla="*/ 6 w 372"/>
                <a:gd name="T1" fmla="*/ 188 h 432"/>
                <a:gd name="T2" fmla="*/ 19 w 372"/>
                <a:gd name="T3" fmla="*/ 190 h 432"/>
                <a:gd name="T4" fmla="*/ 19 w 372"/>
                <a:gd name="T5" fmla="*/ 178 h 432"/>
                <a:gd name="T6" fmla="*/ 15 w 372"/>
                <a:gd name="T7" fmla="*/ 169 h 432"/>
                <a:gd name="T8" fmla="*/ 12 w 372"/>
                <a:gd name="T9" fmla="*/ 156 h 432"/>
                <a:gd name="T10" fmla="*/ 35 w 372"/>
                <a:gd name="T11" fmla="*/ 160 h 432"/>
                <a:gd name="T12" fmla="*/ 37 w 372"/>
                <a:gd name="T13" fmla="*/ 144 h 432"/>
                <a:gd name="T14" fmla="*/ 50 w 372"/>
                <a:gd name="T15" fmla="*/ 153 h 432"/>
                <a:gd name="T16" fmla="*/ 59 w 372"/>
                <a:gd name="T17" fmla="*/ 160 h 432"/>
                <a:gd name="T18" fmla="*/ 71 w 372"/>
                <a:gd name="T19" fmla="*/ 153 h 432"/>
                <a:gd name="T20" fmla="*/ 78 w 372"/>
                <a:gd name="T21" fmla="*/ 153 h 432"/>
                <a:gd name="T22" fmla="*/ 84 w 372"/>
                <a:gd name="T23" fmla="*/ 137 h 432"/>
                <a:gd name="T24" fmla="*/ 87 w 372"/>
                <a:gd name="T25" fmla="*/ 128 h 432"/>
                <a:gd name="T26" fmla="*/ 84 w 372"/>
                <a:gd name="T27" fmla="*/ 106 h 432"/>
                <a:gd name="T28" fmla="*/ 71 w 372"/>
                <a:gd name="T29" fmla="*/ 103 h 432"/>
                <a:gd name="T30" fmla="*/ 71 w 372"/>
                <a:gd name="T31" fmla="*/ 84 h 432"/>
                <a:gd name="T32" fmla="*/ 84 w 372"/>
                <a:gd name="T33" fmla="*/ 75 h 432"/>
                <a:gd name="T34" fmla="*/ 82 w 372"/>
                <a:gd name="T35" fmla="*/ 65 h 432"/>
                <a:gd name="T36" fmla="*/ 69 w 372"/>
                <a:gd name="T37" fmla="*/ 59 h 432"/>
                <a:gd name="T38" fmla="*/ 59 w 372"/>
                <a:gd name="T39" fmla="*/ 63 h 432"/>
                <a:gd name="T40" fmla="*/ 50 w 372"/>
                <a:gd name="T41" fmla="*/ 54 h 432"/>
                <a:gd name="T42" fmla="*/ 56 w 372"/>
                <a:gd name="T43" fmla="*/ 41 h 432"/>
                <a:gd name="T44" fmla="*/ 91 w 372"/>
                <a:gd name="T45" fmla="*/ 37 h 432"/>
                <a:gd name="T46" fmla="*/ 97 w 372"/>
                <a:gd name="T47" fmla="*/ 43 h 432"/>
                <a:gd name="T48" fmla="*/ 109 w 372"/>
                <a:gd name="T49" fmla="*/ 47 h 432"/>
                <a:gd name="T50" fmla="*/ 122 w 372"/>
                <a:gd name="T51" fmla="*/ 47 h 432"/>
                <a:gd name="T52" fmla="*/ 128 w 372"/>
                <a:gd name="T53" fmla="*/ 47 h 432"/>
                <a:gd name="T54" fmla="*/ 132 w 372"/>
                <a:gd name="T55" fmla="*/ 37 h 432"/>
                <a:gd name="T56" fmla="*/ 141 w 372"/>
                <a:gd name="T57" fmla="*/ 12 h 432"/>
                <a:gd name="T58" fmla="*/ 153 w 372"/>
                <a:gd name="T59" fmla="*/ 3 h 432"/>
                <a:gd name="T60" fmla="*/ 172 w 372"/>
                <a:gd name="T61" fmla="*/ 0 h 432"/>
                <a:gd name="T62" fmla="*/ 184 w 372"/>
                <a:gd name="T63" fmla="*/ 6 h 432"/>
                <a:gd name="T64" fmla="*/ 194 w 372"/>
                <a:gd name="T65" fmla="*/ 9 h 432"/>
                <a:gd name="T66" fmla="*/ 188 w 372"/>
                <a:gd name="T67" fmla="*/ 22 h 432"/>
                <a:gd name="T68" fmla="*/ 178 w 372"/>
                <a:gd name="T69" fmla="*/ 37 h 432"/>
                <a:gd name="T70" fmla="*/ 178 w 372"/>
                <a:gd name="T71" fmla="*/ 56 h 432"/>
                <a:gd name="T72" fmla="*/ 172 w 372"/>
                <a:gd name="T73" fmla="*/ 69 h 432"/>
                <a:gd name="T74" fmla="*/ 175 w 372"/>
                <a:gd name="T75" fmla="*/ 88 h 432"/>
                <a:gd name="T76" fmla="*/ 169 w 372"/>
                <a:gd name="T77" fmla="*/ 99 h 432"/>
                <a:gd name="T78" fmla="*/ 166 w 372"/>
                <a:gd name="T79" fmla="*/ 116 h 432"/>
                <a:gd name="T80" fmla="*/ 150 w 372"/>
                <a:gd name="T81" fmla="*/ 125 h 432"/>
                <a:gd name="T82" fmla="*/ 141 w 372"/>
                <a:gd name="T83" fmla="*/ 144 h 432"/>
                <a:gd name="T84" fmla="*/ 132 w 372"/>
                <a:gd name="T85" fmla="*/ 156 h 432"/>
                <a:gd name="T86" fmla="*/ 132 w 372"/>
                <a:gd name="T87" fmla="*/ 175 h 432"/>
                <a:gd name="T88" fmla="*/ 125 w 372"/>
                <a:gd name="T89" fmla="*/ 194 h 432"/>
                <a:gd name="T90" fmla="*/ 112 w 372"/>
                <a:gd name="T91" fmla="*/ 203 h 432"/>
                <a:gd name="T92" fmla="*/ 99 w 372"/>
                <a:gd name="T93" fmla="*/ 213 h 432"/>
                <a:gd name="T94" fmla="*/ 91 w 372"/>
                <a:gd name="T95" fmla="*/ 223 h 432"/>
                <a:gd name="T96" fmla="*/ 82 w 372"/>
                <a:gd name="T97" fmla="*/ 213 h 432"/>
                <a:gd name="T98" fmla="*/ 82 w 372"/>
                <a:gd name="T99" fmla="*/ 206 h 432"/>
                <a:gd name="T100" fmla="*/ 69 w 372"/>
                <a:gd name="T101" fmla="*/ 213 h 432"/>
                <a:gd name="T102" fmla="*/ 63 w 372"/>
                <a:gd name="T103" fmla="*/ 218 h 432"/>
                <a:gd name="T104" fmla="*/ 50 w 372"/>
                <a:gd name="T105" fmla="*/ 216 h 432"/>
                <a:gd name="T106" fmla="*/ 41 w 372"/>
                <a:gd name="T107" fmla="*/ 213 h 432"/>
                <a:gd name="T108" fmla="*/ 25 w 372"/>
                <a:gd name="T109" fmla="*/ 223 h 432"/>
                <a:gd name="T110" fmla="*/ 15 w 372"/>
                <a:gd name="T111" fmla="*/ 216 h 432"/>
                <a:gd name="T112" fmla="*/ 6 w 372"/>
                <a:gd name="T113" fmla="*/ 206 h 4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372" h="432">
                  <a:moveTo>
                    <a:pt x="0" y="384"/>
                  </a:moveTo>
                  <a:lnTo>
                    <a:pt x="0" y="378"/>
                  </a:lnTo>
                  <a:lnTo>
                    <a:pt x="6" y="378"/>
                  </a:lnTo>
                  <a:lnTo>
                    <a:pt x="6" y="372"/>
                  </a:lnTo>
                  <a:lnTo>
                    <a:pt x="6" y="366"/>
                  </a:lnTo>
                  <a:lnTo>
                    <a:pt x="12" y="360"/>
                  </a:lnTo>
                  <a:lnTo>
                    <a:pt x="18" y="360"/>
                  </a:lnTo>
                  <a:lnTo>
                    <a:pt x="24" y="360"/>
                  </a:lnTo>
                  <a:lnTo>
                    <a:pt x="24" y="366"/>
                  </a:lnTo>
                  <a:lnTo>
                    <a:pt x="30" y="366"/>
                  </a:lnTo>
                  <a:lnTo>
                    <a:pt x="36" y="372"/>
                  </a:lnTo>
                  <a:lnTo>
                    <a:pt x="36" y="366"/>
                  </a:lnTo>
                  <a:lnTo>
                    <a:pt x="42" y="366"/>
                  </a:lnTo>
                  <a:lnTo>
                    <a:pt x="36" y="360"/>
                  </a:lnTo>
                  <a:lnTo>
                    <a:pt x="42" y="354"/>
                  </a:lnTo>
                  <a:lnTo>
                    <a:pt x="42" y="348"/>
                  </a:lnTo>
                  <a:lnTo>
                    <a:pt x="42" y="342"/>
                  </a:lnTo>
                  <a:lnTo>
                    <a:pt x="36" y="342"/>
                  </a:lnTo>
                  <a:lnTo>
                    <a:pt x="42" y="342"/>
                  </a:lnTo>
                  <a:lnTo>
                    <a:pt x="42" y="336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42" y="330"/>
                  </a:lnTo>
                  <a:lnTo>
                    <a:pt x="30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18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24" y="300"/>
                  </a:lnTo>
                  <a:lnTo>
                    <a:pt x="30" y="306"/>
                  </a:lnTo>
                  <a:lnTo>
                    <a:pt x="30" y="300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6" y="306"/>
                  </a:lnTo>
                  <a:lnTo>
                    <a:pt x="66" y="300"/>
                  </a:lnTo>
                  <a:lnTo>
                    <a:pt x="66" y="294"/>
                  </a:lnTo>
                  <a:lnTo>
                    <a:pt x="66" y="288"/>
                  </a:lnTo>
                  <a:lnTo>
                    <a:pt x="66" y="282"/>
                  </a:lnTo>
                  <a:lnTo>
                    <a:pt x="66" y="276"/>
                  </a:lnTo>
                  <a:lnTo>
                    <a:pt x="72" y="276"/>
                  </a:lnTo>
                  <a:lnTo>
                    <a:pt x="78" y="276"/>
                  </a:lnTo>
                  <a:lnTo>
                    <a:pt x="84" y="282"/>
                  </a:lnTo>
                  <a:lnTo>
                    <a:pt x="84" y="288"/>
                  </a:lnTo>
                  <a:lnTo>
                    <a:pt x="90" y="288"/>
                  </a:lnTo>
                  <a:lnTo>
                    <a:pt x="90" y="294"/>
                  </a:lnTo>
                  <a:lnTo>
                    <a:pt x="96" y="294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26" y="288"/>
                  </a:lnTo>
                  <a:lnTo>
                    <a:pt x="132" y="288"/>
                  </a:lnTo>
                  <a:lnTo>
                    <a:pt x="132" y="294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2" y="306"/>
                  </a:lnTo>
                  <a:lnTo>
                    <a:pt x="138" y="306"/>
                  </a:lnTo>
                  <a:lnTo>
                    <a:pt x="144" y="306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50" y="288"/>
                  </a:lnTo>
                  <a:lnTo>
                    <a:pt x="156" y="288"/>
                  </a:lnTo>
                  <a:lnTo>
                    <a:pt x="156" y="282"/>
                  </a:lnTo>
                  <a:lnTo>
                    <a:pt x="162" y="276"/>
                  </a:lnTo>
                  <a:lnTo>
                    <a:pt x="162" y="270"/>
                  </a:lnTo>
                  <a:lnTo>
                    <a:pt x="162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2" y="258"/>
                  </a:lnTo>
                  <a:lnTo>
                    <a:pt x="168" y="252"/>
                  </a:lnTo>
                  <a:lnTo>
                    <a:pt x="162" y="252"/>
                  </a:lnTo>
                  <a:lnTo>
                    <a:pt x="168" y="246"/>
                  </a:lnTo>
                  <a:lnTo>
                    <a:pt x="162" y="234"/>
                  </a:lnTo>
                  <a:lnTo>
                    <a:pt x="162" y="228"/>
                  </a:lnTo>
                  <a:lnTo>
                    <a:pt x="162" y="222"/>
                  </a:lnTo>
                  <a:lnTo>
                    <a:pt x="168" y="216"/>
                  </a:lnTo>
                  <a:lnTo>
                    <a:pt x="162" y="210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50" y="204"/>
                  </a:lnTo>
                  <a:lnTo>
                    <a:pt x="150" y="198"/>
                  </a:lnTo>
                  <a:lnTo>
                    <a:pt x="144" y="198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38" y="186"/>
                  </a:lnTo>
                  <a:lnTo>
                    <a:pt x="138" y="180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8" y="162"/>
                  </a:lnTo>
                  <a:lnTo>
                    <a:pt x="144" y="162"/>
                  </a:lnTo>
                  <a:lnTo>
                    <a:pt x="144" y="156"/>
                  </a:lnTo>
                  <a:lnTo>
                    <a:pt x="150" y="156"/>
                  </a:lnTo>
                  <a:lnTo>
                    <a:pt x="156" y="156"/>
                  </a:lnTo>
                  <a:lnTo>
                    <a:pt x="162" y="150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62" y="132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6" y="114"/>
                  </a:lnTo>
                  <a:lnTo>
                    <a:pt x="150" y="114"/>
                  </a:lnTo>
                  <a:lnTo>
                    <a:pt x="144" y="114"/>
                  </a:lnTo>
                  <a:lnTo>
                    <a:pt x="138" y="114"/>
                  </a:lnTo>
                  <a:lnTo>
                    <a:pt x="132" y="114"/>
                  </a:lnTo>
                  <a:lnTo>
                    <a:pt x="126" y="114"/>
                  </a:lnTo>
                  <a:lnTo>
                    <a:pt x="120" y="114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20" y="120"/>
                  </a:lnTo>
                  <a:lnTo>
                    <a:pt x="114" y="120"/>
                  </a:lnTo>
                  <a:lnTo>
                    <a:pt x="108" y="120"/>
                  </a:lnTo>
                  <a:lnTo>
                    <a:pt x="102" y="120"/>
                  </a:lnTo>
                  <a:lnTo>
                    <a:pt x="102" y="114"/>
                  </a:lnTo>
                  <a:lnTo>
                    <a:pt x="102" y="108"/>
                  </a:lnTo>
                  <a:lnTo>
                    <a:pt x="96" y="108"/>
                  </a:lnTo>
                  <a:lnTo>
                    <a:pt x="96" y="102"/>
                  </a:lnTo>
                  <a:lnTo>
                    <a:pt x="96" y="96"/>
                  </a:lnTo>
                  <a:lnTo>
                    <a:pt x="102" y="96"/>
                  </a:lnTo>
                  <a:lnTo>
                    <a:pt x="102" y="90"/>
                  </a:lnTo>
                  <a:lnTo>
                    <a:pt x="102" y="84"/>
                  </a:lnTo>
                  <a:lnTo>
                    <a:pt x="108" y="84"/>
                  </a:lnTo>
                  <a:lnTo>
                    <a:pt x="108" y="78"/>
                  </a:lnTo>
                  <a:lnTo>
                    <a:pt x="156" y="78"/>
                  </a:lnTo>
                  <a:lnTo>
                    <a:pt x="156" y="72"/>
                  </a:lnTo>
                  <a:lnTo>
                    <a:pt x="162" y="72"/>
                  </a:lnTo>
                  <a:lnTo>
                    <a:pt x="162" y="78"/>
                  </a:lnTo>
                  <a:lnTo>
                    <a:pt x="168" y="72"/>
                  </a:lnTo>
                  <a:lnTo>
                    <a:pt x="174" y="72"/>
                  </a:lnTo>
                  <a:lnTo>
                    <a:pt x="174" y="78"/>
                  </a:lnTo>
                  <a:lnTo>
                    <a:pt x="180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86" y="84"/>
                  </a:lnTo>
                  <a:lnTo>
                    <a:pt x="192" y="84"/>
                  </a:lnTo>
                  <a:lnTo>
                    <a:pt x="198" y="84"/>
                  </a:lnTo>
                  <a:lnTo>
                    <a:pt x="204" y="84"/>
                  </a:lnTo>
                  <a:lnTo>
                    <a:pt x="204" y="90"/>
                  </a:lnTo>
                  <a:lnTo>
                    <a:pt x="210" y="84"/>
                  </a:lnTo>
                  <a:lnTo>
                    <a:pt x="210" y="90"/>
                  </a:lnTo>
                  <a:lnTo>
                    <a:pt x="210" y="84"/>
                  </a:lnTo>
                  <a:lnTo>
                    <a:pt x="216" y="84"/>
                  </a:lnTo>
                  <a:lnTo>
                    <a:pt x="222" y="84"/>
                  </a:lnTo>
                  <a:lnTo>
                    <a:pt x="222" y="90"/>
                  </a:lnTo>
                  <a:lnTo>
                    <a:pt x="228" y="90"/>
                  </a:lnTo>
                  <a:lnTo>
                    <a:pt x="234" y="90"/>
                  </a:lnTo>
                  <a:lnTo>
                    <a:pt x="234" y="96"/>
                  </a:lnTo>
                  <a:lnTo>
                    <a:pt x="240" y="96"/>
                  </a:lnTo>
                  <a:lnTo>
                    <a:pt x="240" y="102"/>
                  </a:lnTo>
                  <a:lnTo>
                    <a:pt x="246" y="102"/>
                  </a:lnTo>
                  <a:lnTo>
                    <a:pt x="246" y="96"/>
                  </a:lnTo>
                  <a:lnTo>
                    <a:pt x="246" y="90"/>
                  </a:lnTo>
                  <a:lnTo>
                    <a:pt x="246" y="84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64" y="42"/>
                  </a:lnTo>
                  <a:lnTo>
                    <a:pt x="264" y="36"/>
                  </a:lnTo>
                  <a:lnTo>
                    <a:pt x="270" y="30"/>
                  </a:lnTo>
                  <a:lnTo>
                    <a:pt x="264" y="30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0" y="18"/>
                  </a:lnTo>
                  <a:lnTo>
                    <a:pt x="270" y="12"/>
                  </a:lnTo>
                  <a:lnTo>
                    <a:pt x="276" y="6"/>
                  </a:lnTo>
                  <a:lnTo>
                    <a:pt x="282" y="6"/>
                  </a:lnTo>
                  <a:lnTo>
                    <a:pt x="288" y="6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12" y="0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30" y="0"/>
                  </a:lnTo>
                  <a:lnTo>
                    <a:pt x="330" y="6"/>
                  </a:lnTo>
                  <a:lnTo>
                    <a:pt x="336" y="6"/>
                  </a:lnTo>
                  <a:lnTo>
                    <a:pt x="342" y="6"/>
                  </a:lnTo>
                  <a:lnTo>
                    <a:pt x="348" y="6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6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66" y="36"/>
                  </a:lnTo>
                  <a:lnTo>
                    <a:pt x="360" y="36"/>
                  </a:lnTo>
                  <a:lnTo>
                    <a:pt x="360" y="42"/>
                  </a:lnTo>
                  <a:lnTo>
                    <a:pt x="360" y="48"/>
                  </a:lnTo>
                  <a:lnTo>
                    <a:pt x="354" y="54"/>
                  </a:lnTo>
                  <a:lnTo>
                    <a:pt x="354" y="60"/>
                  </a:lnTo>
                  <a:lnTo>
                    <a:pt x="348" y="66"/>
                  </a:lnTo>
                  <a:lnTo>
                    <a:pt x="348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2" y="96"/>
                  </a:lnTo>
                  <a:lnTo>
                    <a:pt x="342" y="102"/>
                  </a:lnTo>
                  <a:lnTo>
                    <a:pt x="342" y="108"/>
                  </a:lnTo>
                  <a:lnTo>
                    <a:pt x="342" y="114"/>
                  </a:lnTo>
                  <a:lnTo>
                    <a:pt x="336" y="114"/>
                  </a:lnTo>
                  <a:lnTo>
                    <a:pt x="336" y="120"/>
                  </a:lnTo>
                  <a:lnTo>
                    <a:pt x="336" y="126"/>
                  </a:lnTo>
                  <a:lnTo>
                    <a:pt x="336" y="132"/>
                  </a:lnTo>
                  <a:lnTo>
                    <a:pt x="330" y="132"/>
                  </a:lnTo>
                  <a:lnTo>
                    <a:pt x="330" y="138"/>
                  </a:lnTo>
                  <a:lnTo>
                    <a:pt x="336" y="144"/>
                  </a:lnTo>
                  <a:lnTo>
                    <a:pt x="336" y="150"/>
                  </a:lnTo>
                  <a:lnTo>
                    <a:pt x="336" y="156"/>
                  </a:lnTo>
                  <a:lnTo>
                    <a:pt x="336" y="162"/>
                  </a:lnTo>
                  <a:lnTo>
                    <a:pt x="336" y="168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30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30" y="204"/>
                  </a:lnTo>
                  <a:lnTo>
                    <a:pt x="324" y="210"/>
                  </a:lnTo>
                  <a:lnTo>
                    <a:pt x="324" y="216"/>
                  </a:lnTo>
                  <a:lnTo>
                    <a:pt x="318" y="216"/>
                  </a:lnTo>
                  <a:lnTo>
                    <a:pt x="318" y="222"/>
                  </a:lnTo>
                  <a:lnTo>
                    <a:pt x="312" y="228"/>
                  </a:lnTo>
                  <a:lnTo>
                    <a:pt x="306" y="234"/>
                  </a:lnTo>
                  <a:lnTo>
                    <a:pt x="300" y="234"/>
                  </a:lnTo>
                  <a:lnTo>
                    <a:pt x="294" y="234"/>
                  </a:lnTo>
                  <a:lnTo>
                    <a:pt x="294" y="240"/>
                  </a:lnTo>
                  <a:lnTo>
                    <a:pt x="288" y="240"/>
                  </a:lnTo>
                  <a:lnTo>
                    <a:pt x="288" y="246"/>
                  </a:lnTo>
                  <a:lnTo>
                    <a:pt x="282" y="246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70"/>
                  </a:lnTo>
                  <a:lnTo>
                    <a:pt x="270" y="276"/>
                  </a:lnTo>
                  <a:lnTo>
                    <a:pt x="264" y="282"/>
                  </a:lnTo>
                  <a:lnTo>
                    <a:pt x="258" y="282"/>
                  </a:lnTo>
                  <a:lnTo>
                    <a:pt x="258" y="288"/>
                  </a:lnTo>
                  <a:lnTo>
                    <a:pt x="252" y="288"/>
                  </a:lnTo>
                  <a:lnTo>
                    <a:pt x="252" y="294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52" y="312"/>
                  </a:lnTo>
                  <a:lnTo>
                    <a:pt x="252" y="318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6"/>
                  </a:lnTo>
                  <a:lnTo>
                    <a:pt x="252" y="342"/>
                  </a:lnTo>
                  <a:lnTo>
                    <a:pt x="252" y="348"/>
                  </a:lnTo>
                  <a:lnTo>
                    <a:pt x="252" y="354"/>
                  </a:lnTo>
                  <a:lnTo>
                    <a:pt x="246" y="354"/>
                  </a:lnTo>
                  <a:lnTo>
                    <a:pt x="246" y="360"/>
                  </a:lnTo>
                  <a:lnTo>
                    <a:pt x="240" y="372"/>
                  </a:lnTo>
                  <a:lnTo>
                    <a:pt x="240" y="378"/>
                  </a:lnTo>
                  <a:lnTo>
                    <a:pt x="234" y="378"/>
                  </a:lnTo>
                  <a:lnTo>
                    <a:pt x="228" y="384"/>
                  </a:lnTo>
                  <a:lnTo>
                    <a:pt x="222" y="384"/>
                  </a:lnTo>
                  <a:lnTo>
                    <a:pt x="216" y="384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0" y="396"/>
                  </a:lnTo>
                  <a:lnTo>
                    <a:pt x="204" y="396"/>
                  </a:lnTo>
                  <a:lnTo>
                    <a:pt x="198" y="402"/>
                  </a:lnTo>
                  <a:lnTo>
                    <a:pt x="198" y="408"/>
                  </a:lnTo>
                  <a:lnTo>
                    <a:pt x="192" y="408"/>
                  </a:lnTo>
                  <a:lnTo>
                    <a:pt x="192" y="414"/>
                  </a:lnTo>
                  <a:lnTo>
                    <a:pt x="186" y="414"/>
                  </a:lnTo>
                  <a:lnTo>
                    <a:pt x="186" y="420"/>
                  </a:lnTo>
                  <a:lnTo>
                    <a:pt x="186" y="426"/>
                  </a:lnTo>
                  <a:lnTo>
                    <a:pt x="180" y="426"/>
                  </a:lnTo>
                  <a:lnTo>
                    <a:pt x="174" y="426"/>
                  </a:lnTo>
                  <a:lnTo>
                    <a:pt x="168" y="426"/>
                  </a:lnTo>
                  <a:lnTo>
                    <a:pt x="162" y="426"/>
                  </a:lnTo>
                  <a:lnTo>
                    <a:pt x="162" y="420"/>
                  </a:lnTo>
                  <a:lnTo>
                    <a:pt x="162" y="414"/>
                  </a:lnTo>
                  <a:lnTo>
                    <a:pt x="156" y="414"/>
                  </a:lnTo>
                  <a:lnTo>
                    <a:pt x="156" y="408"/>
                  </a:lnTo>
                  <a:lnTo>
                    <a:pt x="162" y="408"/>
                  </a:lnTo>
                  <a:lnTo>
                    <a:pt x="162" y="402"/>
                  </a:lnTo>
                  <a:lnTo>
                    <a:pt x="168" y="402"/>
                  </a:lnTo>
                  <a:lnTo>
                    <a:pt x="162" y="402"/>
                  </a:lnTo>
                  <a:lnTo>
                    <a:pt x="162" y="396"/>
                  </a:lnTo>
                  <a:lnTo>
                    <a:pt x="156" y="396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44" y="402"/>
                  </a:lnTo>
                  <a:lnTo>
                    <a:pt x="144" y="408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02"/>
                  </a:lnTo>
                  <a:lnTo>
                    <a:pt x="126" y="402"/>
                  </a:lnTo>
                  <a:lnTo>
                    <a:pt x="126" y="408"/>
                  </a:lnTo>
                  <a:lnTo>
                    <a:pt x="126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20"/>
                  </a:lnTo>
                  <a:lnTo>
                    <a:pt x="102" y="420"/>
                  </a:lnTo>
                  <a:lnTo>
                    <a:pt x="102" y="414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90" y="408"/>
                  </a:lnTo>
                  <a:lnTo>
                    <a:pt x="84" y="408"/>
                  </a:lnTo>
                  <a:lnTo>
                    <a:pt x="84" y="402"/>
                  </a:lnTo>
                  <a:lnTo>
                    <a:pt x="78" y="402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66" y="414"/>
                  </a:lnTo>
                  <a:lnTo>
                    <a:pt x="60" y="414"/>
                  </a:lnTo>
                  <a:lnTo>
                    <a:pt x="60" y="420"/>
                  </a:lnTo>
                  <a:lnTo>
                    <a:pt x="54" y="420"/>
                  </a:lnTo>
                  <a:lnTo>
                    <a:pt x="48" y="426"/>
                  </a:lnTo>
                  <a:lnTo>
                    <a:pt x="42" y="432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30" y="420"/>
                  </a:lnTo>
                  <a:lnTo>
                    <a:pt x="36" y="420"/>
                  </a:lnTo>
                  <a:lnTo>
                    <a:pt x="30" y="414"/>
                  </a:lnTo>
                  <a:lnTo>
                    <a:pt x="30" y="408"/>
                  </a:lnTo>
                  <a:lnTo>
                    <a:pt x="24" y="408"/>
                  </a:lnTo>
                  <a:lnTo>
                    <a:pt x="30" y="408"/>
                  </a:lnTo>
                  <a:lnTo>
                    <a:pt x="24" y="402"/>
                  </a:lnTo>
                  <a:lnTo>
                    <a:pt x="18" y="396"/>
                  </a:lnTo>
                  <a:lnTo>
                    <a:pt x="12" y="396"/>
                  </a:lnTo>
                  <a:lnTo>
                    <a:pt x="12" y="390"/>
                  </a:lnTo>
                  <a:lnTo>
                    <a:pt x="6" y="384"/>
                  </a:lnTo>
                  <a:lnTo>
                    <a:pt x="0" y="384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1" name="Freeform 44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2453" y="2264"/>
              <a:ext cx="81" cy="61"/>
            </a:xfrm>
            <a:custGeom>
              <a:avLst/>
              <a:gdLst>
                <a:gd name="T0" fmla="*/ 12 w 96"/>
                <a:gd name="T1" fmla="*/ 0 h 72"/>
                <a:gd name="T2" fmla="*/ 12 w 96"/>
                <a:gd name="T3" fmla="*/ 3 h 72"/>
                <a:gd name="T4" fmla="*/ 15 w 96"/>
                <a:gd name="T5" fmla="*/ 3 h 72"/>
                <a:gd name="T6" fmla="*/ 15 w 96"/>
                <a:gd name="T7" fmla="*/ 6 h 72"/>
                <a:gd name="T8" fmla="*/ 18 w 96"/>
                <a:gd name="T9" fmla="*/ 6 h 72"/>
                <a:gd name="T10" fmla="*/ 18 w 96"/>
                <a:gd name="T11" fmla="*/ 3 h 72"/>
                <a:gd name="T12" fmla="*/ 18 w 96"/>
                <a:gd name="T13" fmla="*/ 6 h 72"/>
                <a:gd name="T14" fmla="*/ 21 w 96"/>
                <a:gd name="T15" fmla="*/ 6 h 72"/>
                <a:gd name="T16" fmla="*/ 46 w 96"/>
                <a:gd name="T17" fmla="*/ 6 h 72"/>
                <a:gd name="T18" fmla="*/ 46 w 96"/>
                <a:gd name="T19" fmla="*/ 3 h 72"/>
                <a:gd name="T20" fmla="*/ 48 w 96"/>
                <a:gd name="T21" fmla="*/ 6 h 72"/>
                <a:gd name="T22" fmla="*/ 48 w 96"/>
                <a:gd name="T23" fmla="*/ 34 h 72"/>
                <a:gd name="T24" fmla="*/ 46 w 96"/>
                <a:gd name="T25" fmla="*/ 34 h 72"/>
                <a:gd name="T26" fmla="*/ 43 w 96"/>
                <a:gd name="T27" fmla="*/ 34 h 72"/>
                <a:gd name="T28" fmla="*/ 15 w 96"/>
                <a:gd name="T29" fmla="*/ 34 h 72"/>
                <a:gd name="T30" fmla="*/ 15 w 96"/>
                <a:gd name="T31" fmla="*/ 37 h 72"/>
                <a:gd name="T32" fmla="*/ 12 w 96"/>
                <a:gd name="T33" fmla="*/ 34 h 72"/>
                <a:gd name="T34" fmla="*/ 9 w 96"/>
                <a:gd name="T35" fmla="*/ 34 h 72"/>
                <a:gd name="T36" fmla="*/ 6 w 96"/>
                <a:gd name="T37" fmla="*/ 34 h 72"/>
                <a:gd name="T38" fmla="*/ 6 w 96"/>
                <a:gd name="T39" fmla="*/ 31 h 72"/>
                <a:gd name="T40" fmla="*/ 3 w 96"/>
                <a:gd name="T41" fmla="*/ 31 h 72"/>
                <a:gd name="T42" fmla="*/ 0 w 96"/>
                <a:gd name="T43" fmla="*/ 31 h 72"/>
                <a:gd name="T44" fmla="*/ 0 w 96"/>
                <a:gd name="T45" fmla="*/ 28 h 72"/>
                <a:gd name="T46" fmla="*/ 3 w 96"/>
                <a:gd name="T47" fmla="*/ 28 h 72"/>
                <a:gd name="T48" fmla="*/ 3 w 96"/>
                <a:gd name="T49" fmla="*/ 25 h 72"/>
                <a:gd name="T50" fmla="*/ 6 w 96"/>
                <a:gd name="T51" fmla="*/ 22 h 72"/>
                <a:gd name="T52" fmla="*/ 6 w 96"/>
                <a:gd name="T53" fmla="*/ 25 h 72"/>
                <a:gd name="T54" fmla="*/ 6 w 96"/>
                <a:gd name="T55" fmla="*/ 22 h 72"/>
                <a:gd name="T56" fmla="*/ 6 w 96"/>
                <a:gd name="T57" fmla="*/ 19 h 72"/>
                <a:gd name="T58" fmla="*/ 9 w 96"/>
                <a:gd name="T59" fmla="*/ 15 h 72"/>
                <a:gd name="T60" fmla="*/ 9 w 96"/>
                <a:gd name="T61" fmla="*/ 12 h 72"/>
                <a:gd name="T62" fmla="*/ 12 w 96"/>
                <a:gd name="T63" fmla="*/ 12 h 72"/>
                <a:gd name="T64" fmla="*/ 9 w 96"/>
                <a:gd name="T65" fmla="*/ 6 h 72"/>
                <a:gd name="T66" fmla="*/ 12 w 96"/>
                <a:gd name="T67" fmla="*/ 6 h 72"/>
                <a:gd name="T68" fmla="*/ 12 w 96"/>
                <a:gd name="T69" fmla="*/ 3 h 72"/>
                <a:gd name="T70" fmla="*/ 12 w 96"/>
                <a:gd name="T71" fmla="*/ 0 h 7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6" h="72">
                  <a:moveTo>
                    <a:pt x="24" y="0"/>
                  </a:moveTo>
                  <a:lnTo>
                    <a:pt x="24" y="6"/>
                  </a:lnTo>
                  <a:lnTo>
                    <a:pt x="30" y="6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96" y="12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30" y="66"/>
                  </a:lnTo>
                  <a:lnTo>
                    <a:pt x="30" y="72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6" y="60"/>
                  </a:lnTo>
                  <a:lnTo>
                    <a:pt x="0" y="60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2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2" name="Freeform 45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346" y="1779"/>
              <a:ext cx="128" cy="31"/>
            </a:xfrm>
            <a:custGeom>
              <a:avLst/>
              <a:gdLst>
                <a:gd name="T0" fmla="*/ 28 w 150"/>
                <a:gd name="T1" fmla="*/ 7 h 36"/>
                <a:gd name="T2" fmla="*/ 38 w 150"/>
                <a:gd name="T3" fmla="*/ 3 h 36"/>
                <a:gd name="T4" fmla="*/ 42 w 150"/>
                <a:gd name="T5" fmla="*/ 0 h 36"/>
                <a:gd name="T6" fmla="*/ 44 w 150"/>
                <a:gd name="T7" fmla="*/ 3 h 36"/>
                <a:gd name="T8" fmla="*/ 48 w 150"/>
                <a:gd name="T9" fmla="*/ 0 h 36"/>
                <a:gd name="T10" fmla="*/ 54 w 150"/>
                <a:gd name="T11" fmla="*/ 3 h 36"/>
                <a:gd name="T12" fmla="*/ 57 w 150"/>
                <a:gd name="T13" fmla="*/ 7 h 36"/>
                <a:gd name="T14" fmla="*/ 63 w 150"/>
                <a:gd name="T15" fmla="*/ 7 h 36"/>
                <a:gd name="T16" fmla="*/ 67 w 150"/>
                <a:gd name="T17" fmla="*/ 10 h 36"/>
                <a:gd name="T18" fmla="*/ 73 w 150"/>
                <a:gd name="T19" fmla="*/ 7 h 36"/>
                <a:gd name="T20" fmla="*/ 79 w 150"/>
                <a:gd name="T21" fmla="*/ 10 h 36"/>
                <a:gd name="T22" fmla="*/ 77 w 150"/>
                <a:gd name="T23" fmla="*/ 14 h 36"/>
                <a:gd name="T24" fmla="*/ 73 w 150"/>
                <a:gd name="T25" fmla="*/ 16 h 36"/>
                <a:gd name="T26" fmla="*/ 67 w 150"/>
                <a:gd name="T27" fmla="*/ 16 h 36"/>
                <a:gd name="T28" fmla="*/ 63 w 150"/>
                <a:gd name="T29" fmla="*/ 14 h 36"/>
                <a:gd name="T30" fmla="*/ 57 w 150"/>
                <a:gd name="T31" fmla="*/ 14 h 36"/>
                <a:gd name="T32" fmla="*/ 54 w 150"/>
                <a:gd name="T33" fmla="*/ 10 h 36"/>
                <a:gd name="T34" fmla="*/ 48 w 150"/>
                <a:gd name="T35" fmla="*/ 10 h 36"/>
                <a:gd name="T36" fmla="*/ 44 w 150"/>
                <a:gd name="T37" fmla="*/ 7 h 36"/>
                <a:gd name="T38" fmla="*/ 44 w 150"/>
                <a:gd name="T39" fmla="*/ 14 h 36"/>
                <a:gd name="T40" fmla="*/ 38 w 150"/>
                <a:gd name="T41" fmla="*/ 14 h 36"/>
                <a:gd name="T42" fmla="*/ 32 w 150"/>
                <a:gd name="T43" fmla="*/ 14 h 36"/>
                <a:gd name="T44" fmla="*/ 28 w 150"/>
                <a:gd name="T45" fmla="*/ 20 h 36"/>
                <a:gd name="T46" fmla="*/ 13 w 150"/>
                <a:gd name="T47" fmla="*/ 20 h 36"/>
                <a:gd name="T48" fmla="*/ 3 w 150"/>
                <a:gd name="T49" fmla="*/ 16 h 36"/>
                <a:gd name="T50" fmla="*/ 0 w 150"/>
                <a:gd name="T51" fmla="*/ 14 h 36"/>
                <a:gd name="T52" fmla="*/ 3 w 150"/>
                <a:gd name="T53" fmla="*/ 10 h 36"/>
                <a:gd name="T54" fmla="*/ 7 w 150"/>
                <a:gd name="T55" fmla="*/ 14 h 36"/>
                <a:gd name="T56" fmla="*/ 13 w 150"/>
                <a:gd name="T57" fmla="*/ 16 h 36"/>
                <a:gd name="T58" fmla="*/ 19 w 150"/>
                <a:gd name="T59" fmla="*/ 14 h 36"/>
                <a:gd name="T60" fmla="*/ 19 w 150"/>
                <a:gd name="T61" fmla="*/ 14 h 36"/>
                <a:gd name="T62" fmla="*/ 22 w 150"/>
                <a:gd name="T63" fmla="*/ 10 h 36"/>
                <a:gd name="T64" fmla="*/ 22 w 150"/>
                <a:gd name="T65" fmla="*/ 10 h 36"/>
                <a:gd name="T66" fmla="*/ 28 w 150"/>
                <a:gd name="T67" fmla="*/ 10 h 36"/>
                <a:gd name="T68" fmla="*/ 35 w 150"/>
                <a:gd name="T69" fmla="*/ 10 h 36"/>
                <a:gd name="T70" fmla="*/ 28 w 150"/>
                <a:gd name="T71" fmla="*/ 10 h 36"/>
                <a:gd name="T72" fmla="*/ 22 w 150"/>
                <a:gd name="T73" fmla="*/ 10 h 36"/>
                <a:gd name="T74" fmla="*/ 16 w 150"/>
                <a:gd name="T75" fmla="*/ 14 h 36"/>
                <a:gd name="T76" fmla="*/ 9 w 150"/>
                <a:gd name="T77" fmla="*/ 14 h 36"/>
                <a:gd name="T78" fmla="*/ 9 w 150"/>
                <a:gd name="T79" fmla="*/ 7 h 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50" h="36">
                  <a:moveTo>
                    <a:pt x="18" y="12"/>
                  </a:moveTo>
                  <a:lnTo>
                    <a:pt x="54" y="12"/>
                  </a:lnTo>
                  <a:lnTo>
                    <a:pt x="66" y="12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90" y="0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8" y="12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20" y="30"/>
                  </a:lnTo>
                  <a:lnTo>
                    <a:pt x="120" y="24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90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60" y="24"/>
                  </a:lnTo>
                  <a:lnTo>
                    <a:pt x="54" y="24"/>
                  </a:lnTo>
                  <a:lnTo>
                    <a:pt x="54" y="36"/>
                  </a:lnTo>
                  <a:lnTo>
                    <a:pt x="42" y="36"/>
                  </a:lnTo>
                  <a:lnTo>
                    <a:pt x="24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12" y="18"/>
                  </a:lnTo>
                  <a:lnTo>
                    <a:pt x="12" y="24"/>
                  </a:lnTo>
                  <a:lnTo>
                    <a:pt x="18" y="30"/>
                  </a:lnTo>
                  <a:lnTo>
                    <a:pt x="24" y="30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0" y="18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8" y="12"/>
                  </a:lnTo>
                  <a:close/>
                </a:path>
              </a:pathLst>
            </a:custGeom>
            <a:solidFill>
              <a:srgbClr val="E2E2E2"/>
            </a:solidFill>
            <a:ln w="6350" cmpd="sng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3" name="Freeform 46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1351" y="1830"/>
              <a:ext cx="133" cy="72"/>
            </a:xfrm>
            <a:custGeom>
              <a:avLst/>
              <a:gdLst>
                <a:gd name="T0" fmla="*/ 7 w 156"/>
                <a:gd name="T1" fmla="*/ 7 h 84"/>
                <a:gd name="T2" fmla="*/ 16 w 156"/>
                <a:gd name="T3" fmla="*/ 3 h 84"/>
                <a:gd name="T4" fmla="*/ 28 w 156"/>
                <a:gd name="T5" fmla="*/ 7 h 84"/>
                <a:gd name="T6" fmla="*/ 38 w 156"/>
                <a:gd name="T7" fmla="*/ 0 h 84"/>
                <a:gd name="T8" fmla="*/ 51 w 156"/>
                <a:gd name="T9" fmla="*/ 0 h 84"/>
                <a:gd name="T10" fmla="*/ 82 w 156"/>
                <a:gd name="T11" fmla="*/ 3 h 84"/>
                <a:gd name="T12" fmla="*/ 79 w 156"/>
                <a:gd name="T13" fmla="*/ 9 h 84"/>
                <a:gd name="T14" fmla="*/ 73 w 156"/>
                <a:gd name="T15" fmla="*/ 13 h 84"/>
                <a:gd name="T16" fmla="*/ 79 w 156"/>
                <a:gd name="T17" fmla="*/ 16 h 84"/>
                <a:gd name="T18" fmla="*/ 79 w 156"/>
                <a:gd name="T19" fmla="*/ 26 h 84"/>
                <a:gd name="T20" fmla="*/ 77 w 156"/>
                <a:gd name="T21" fmla="*/ 26 h 84"/>
                <a:gd name="T22" fmla="*/ 67 w 156"/>
                <a:gd name="T23" fmla="*/ 26 h 84"/>
                <a:gd name="T24" fmla="*/ 54 w 156"/>
                <a:gd name="T25" fmla="*/ 28 h 84"/>
                <a:gd name="T26" fmla="*/ 51 w 156"/>
                <a:gd name="T27" fmla="*/ 36 h 84"/>
                <a:gd name="T28" fmla="*/ 44 w 156"/>
                <a:gd name="T29" fmla="*/ 45 h 84"/>
                <a:gd name="T30" fmla="*/ 44 w 156"/>
                <a:gd name="T31" fmla="*/ 39 h 84"/>
                <a:gd name="T32" fmla="*/ 42 w 156"/>
                <a:gd name="T33" fmla="*/ 39 h 84"/>
                <a:gd name="T34" fmla="*/ 38 w 156"/>
                <a:gd name="T35" fmla="*/ 39 h 84"/>
                <a:gd name="T36" fmla="*/ 35 w 156"/>
                <a:gd name="T37" fmla="*/ 39 h 84"/>
                <a:gd name="T38" fmla="*/ 38 w 156"/>
                <a:gd name="T39" fmla="*/ 33 h 84"/>
                <a:gd name="T40" fmla="*/ 32 w 156"/>
                <a:gd name="T41" fmla="*/ 36 h 84"/>
                <a:gd name="T42" fmla="*/ 32 w 156"/>
                <a:gd name="T43" fmla="*/ 33 h 84"/>
                <a:gd name="T44" fmla="*/ 35 w 156"/>
                <a:gd name="T45" fmla="*/ 28 h 84"/>
                <a:gd name="T46" fmla="*/ 38 w 156"/>
                <a:gd name="T47" fmla="*/ 28 h 84"/>
                <a:gd name="T48" fmla="*/ 42 w 156"/>
                <a:gd name="T49" fmla="*/ 28 h 84"/>
                <a:gd name="T50" fmla="*/ 42 w 156"/>
                <a:gd name="T51" fmla="*/ 26 h 84"/>
                <a:gd name="T52" fmla="*/ 42 w 156"/>
                <a:gd name="T53" fmla="*/ 28 h 84"/>
                <a:gd name="T54" fmla="*/ 44 w 156"/>
                <a:gd name="T55" fmla="*/ 28 h 84"/>
                <a:gd name="T56" fmla="*/ 44 w 156"/>
                <a:gd name="T57" fmla="*/ 26 h 84"/>
                <a:gd name="T58" fmla="*/ 42 w 156"/>
                <a:gd name="T59" fmla="*/ 26 h 84"/>
                <a:gd name="T60" fmla="*/ 38 w 156"/>
                <a:gd name="T61" fmla="*/ 26 h 84"/>
                <a:gd name="T62" fmla="*/ 42 w 156"/>
                <a:gd name="T63" fmla="*/ 26 h 84"/>
                <a:gd name="T64" fmla="*/ 42 w 156"/>
                <a:gd name="T65" fmla="*/ 23 h 84"/>
                <a:gd name="T66" fmla="*/ 38 w 156"/>
                <a:gd name="T67" fmla="*/ 26 h 84"/>
                <a:gd name="T68" fmla="*/ 35 w 156"/>
                <a:gd name="T69" fmla="*/ 26 h 84"/>
                <a:gd name="T70" fmla="*/ 35 w 156"/>
                <a:gd name="T71" fmla="*/ 26 h 84"/>
                <a:gd name="T72" fmla="*/ 32 w 156"/>
                <a:gd name="T73" fmla="*/ 26 h 84"/>
                <a:gd name="T74" fmla="*/ 35 w 156"/>
                <a:gd name="T75" fmla="*/ 20 h 84"/>
                <a:gd name="T76" fmla="*/ 44 w 156"/>
                <a:gd name="T77" fmla="*/ 20 h 84"/>
                <a:gd name="T78" fmla="*/ 42 w 156"/>
                <a:gd name="T79" fmla="*/ 20 h 84"/>
                <a:gd name="T80" fmla="*/ 35 w 156"/>
                <a:gd name="T81" fmla="*/ 20 h 84"/>
                <a:gd name="T82" fmla="*/ 26 w 156"/>
                <a:gd name="T83" fmla="*/ 23 h 84"/>
                <a:gd name="T84" fmla="*/ 22 w 156"/>
                <a:gd name="T85" fmla="*/ 23 h 84"/>
                <a:gd name="T86" fmla="*/ 16 w 156"/>
                <a:gd name="T87" fmla="*/ 20 h 84"/>
                <a:gd name="T88" fmla="*/ 9 w 156"/>
                <a:gd name="T89" fmla="*/ 16 h 84"/>
                <a:gd name="T90" fmla="*/ 12 w 156"/>
                <a:gd name="T91" fmla="*/ 9 h 84"/>
                <a:gd name="T92" fmla="*/ 9 w 156"/>
                <a:gd name="T93" fmla="*/ 13 h 84"/>
                <a:gd name="T94" fmla="*/ 3 w 156"/>
                <a:gd name="T95" fmla="*/ 9 h 8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56" h="84">
                  <a:moveTo>
                    <a:pt x="0" y="12"/>
                  </a:move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42" y="12"/>
                  </a:lnTo>
                  <a:lnTo>
                    <a:pt x="54" y="12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150" y="0"/>
                  </a:lnTo>
                  <a:lnTo>
                    <a:pt x="150" y="6"/>
                  </a:lnTo>
                  <a:lnTo>
                    <a:pt x="156" y="6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18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44" y="30"/>
                  </a:lnTo>
                  <a:lnTo>
                    <a:pt x="150" y="30"/>
                  </a:lnTo>
                  <a:lnTo>
                    <a:pt x="150" y="36"/>
                  </a:lnTo>
                  <a:lnTo>
                    <a:pt x="150" y="42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44" y="42"/>
                  </a:lnTo>
                  <a:lnTo>
                    <a:pt x="144" y="48"/>
                  </a:lnTo>
                  <a:lnTo>
                    <a:pt x="138" y="48"/>
                  </a:lnTo>
                  <a:lnTo>
                    <a:pt x="132" y="48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90" y="84"/>
                  </a:lnTo>
                  <a:lnTo>
                    <a:pt x="84" y="84"/>
                  </a:lnTo>
                  <a:lnTo>
                    <a:pt x="78" y="84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90" y="72"/>
                  </a:lnTo>
                  <a:lnTo>
                    <a:pt x="84" y="72"/>
                  </a:lnTo>
                  <a:lnTo>
                    <a:pt x="78" y="72"/>
                  </a:lnTo>
                  <a:lnTo>
                    <a:pt x="78" y="78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78" y="72"/>
                  </a:lnTo>
                  <a:lnTo>
                    <a:pt x="72" y="72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66" y="60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6" y="54"/>
                  </a:lnTo>
                  <a:lnTo>
                    <a:pt x="66" y="60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2" y="54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84" y="54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8" y="48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72" y="48"/>
                  </a:lnTo>
                  <a:lnTo>
                    <a:pt x="72" y="42"/>
                  </a:lnTo>
                  <a:lnTo>
                    <a:pt x="72" y="48"/>
                  </a:lnTo>
                  <a:lnTo>
                    <a:pt x="66" y="48"/>
                  </a:lnTo>
                  <a:lnTo>
                    <a:pt x="72" y="54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6" y="54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66" y="42"/>
                  </a:lnTo>
                  <a:lnTo>
                    <a:pt x="66" y="36"/>
                  </a:lnTo>
                  <a:lnTo>
                    <a:pt x="72" y="36"/>
                  </a:lnTo>
                  <a:lnTo>
                    <a:pt x="78" y="36"/>
                  </a:lnTo>
                  <a:lnTo>
                    <a:pt x="84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78" y="36"/>
                  </a:lnTo>
                  <a:lnTo>
                    <a:pt x="72" y="36"/>
                  </a:lnTo>
                  <a:lnTo>
                    <a:pt x="66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42"/>
                  </a:lnTo>
                  <a:lnTo>
                    <a:pt x="48" y="42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30" y="18"/>
                  </a:lnTo>
                  <a:lnTo>
                    <a:pt x="24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4" name="Freeform 47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2575" y="2136"/>
              <a:ext cx="806" cy="796"/>
            </a:xfrm>
            <a:custGeom>
              <a:avLst/>
              <a:gdLst>
                <a:gd name="T0" fmla="*/ 19 w 948"/>
                <a:gd name="T1" fmla="*/ 264 h 936"/>
                <a:gd name="T2" fmla="*/ 41 w 948"/>
                <a:gd name="T3" fmla="*/ 254 h 936"/>
                <a:gd name="T4" fmla="*/ 54 w 948"/>
                <a:gd name="T5" fmla="*/ 257 h 936"/>
                <a:gd name="T6" fmla="*/ 75 w 948"/>
                <a:gd name="T7" fmla="*/ 257 h 936"/>
                <a:gd name="T8" fmla="*/ 100 w 948"/>
                <a:gd name="T9" fmla="*/ 229 h 936"/>
                <a:gd name="T10" fmla="*/ 106 w 948"/>
                <a:gd name="T11" fmla="*/ 195 h 936"/>
                <a:gd name="T12" fmla="*/ 132 w 948"/>
                <a:gd name="T13" fmla="*/ 167 h 936"/>
                <a:gd name="T14" fmla="*/ 145 w 948"/>
                <a:gd name="T15" fmla="*/ 132 h 936"/>
                <a:gd name="T16" fmla="*/ 150 w 948"/>
                <a:gd name="T17" fmla="*/ 100 h 936"/>
                <a:gd name="T18" fmla="*/ 160 w 948"/>
                <a:gd name="T19" fmla="*/ 63 h 936"/>
                <a:gd name="T20" fmla="*/ 167 w 948"/>
                <a:gd name="T21" fmla="*/ 31 h 936"/>
                <a:gd name="T22" fmla="*/ 185 w 948"/>
                <a:gd name="T23" fmla="*/ 9 h 936"/>
                <a:gd name="T24" fmla="*/ 213 w 948"/>
                <a:gd name="T25" fmla="*/ 19 h 936"/>
                <a:gd name="T26" fmla="*/ 248 w 948"/>
                <a:gd name="T27" fmla="*/ 28 h 936"/>
                <a:gd name="T28" fmla="*/ 270 w 948"/>
                <a:gd name="T29" fmla="*/ 22 h 936"/>
                <a:gd name="T30" fmla="*/ 285 w 948"/>
                <a:gd name="T31" fmla="*/ 19 h 936"/>
                <a:gd name="T32" fmla="*/ 310 w 948"/>
                <a:gd name="T33" fmla="*/ 9 h 936"/>
                <a:gd name="T34" fmla="*/ 322 w 948"/>
                <a:gd name="T35" fmla="*/ 12 h 936"/>
                <a:gd name="T36" fmla="*/ 342 w 948"/>
                <a:gd name="T37" fmla="*/ 3 h 936"/>
                <a:gd name="T38" fmla="*/ 355 w 948"/>
                <a:gd name="T39" fmla="*/ 7 h 936"/>
                <a:gd name="T40" fmla="*/ 370 w 948"/>
                <a:gd name="T41" fmla="*/ 9 h 936"/>
                <a:gd name="T42" fmla="*/ 379 w 948"/>
                <a:gd name="T43" fmla="*/ 9 h 936"/>
                <a:gd name="T44" fmla="*/ 404 w 948"/>
                <a:gd name="T45" fmla="*/ 19 h 936"/>
                <a:gd name="T46" fmla="*/ 423 w 948"/>
                <a:gd name="T47" fmla="*/ 28 h 936"/>
                <a:gd name="T48" fmla="*/ 436 w 948"/>
                <a:gd name="T49" fmla="*/ 26 h 936"/>
                <a:gd name="T50" fmla="*/ 455 w 948"/>
                <a:gd name="T51" fmla="*/ 22 h 936"/>
                <a:gd name="T52" fmla="*/ 476 w 948"/>
                <a:gd name="T53" fmla="*/ 47 h 936"/>
                <a:gd name="T54" fmla="*/ 483 w 948"/>
                <a:gd name="T55" fmla="*/ 63 h 936"/>
                <a:gd name="T56" fmla="*/ 490 w 948"/>
                <a:gd name="T57" fmla="*/ 91 h 936"/>
                <a:gd name="T58" fmla="*/ 457 w 948"/>
                <a:gd name="T59" fmla="*/ 128 h 936"/>
                <a:gd name="T60" fmla="*/ 448 w 948"/>
                <a:gd name="T61" fmla="*/ 170 h 936"/>
                <a:gd name="T62" fmla="*/ 439 w 948"/>
                <a:gd name="T63" fmla="*/ 191 h 936"/>
                <a:gd name="T64" fmla="*/ 439 w 948"/>
                <a:gd name="T65" fmla="*/ 220 h 936"/>
                <a:gd name="T66" fmla="*/ 441 w 948"/>
                <a:gd name="T67" fmla="*/ 239 h 936"/>
                <a:gd name="T68" fmla="*/ 448 w 948"/>
                <a:gd name="T69" fmla="*/ 279 h 936"/>
                <a:gd name="T70" fmla="*/ 464 w 948"/>
                <a:gd name="T71" fmla="*/ 320 h 936"/>
                <a:gd name="T72" fmla="*/ 461 w 948"/>
                <a:gd name="T73" fmla="*/ 355 h 936"/>
                <a:gd name="T74" fmla="*/ 421 w 948"/>
                <a:gd name="T75" fmla="*/ 386 h 936"/>
                <a:gd name="T76" fmla="*/ 427 w 948"/>
                <a:gd name="T77" fmla="*/ 405 h 936"/>
                <a:gd name="T78" fmla="*/ 423 w 948"/>
                <a:gd name="T79" fmla="*/ 429 h 936"/>
                <a:gd name="T80" fmla="*/ 429 w 948"/>
                <a:gd name="T81" fmla="*/ 455 h 936"/>
                <a:gd name="T82" fmla="*/ 455 w 948"/>
                <a:gd name="T83" fmla="*/ 455 h 936"/>
                <a:gd name="T84" fmla="*/ 436 w 948"/>
                <a:gd name="T85" fmla="*/ 486 h 936"/>
                <a:gd name="T86" fmla="*/ 421 w 948"/>
                <a:gd name="T87" fmla="*/ 464 h 936"/>
                <a:gd name="T88" fmla="*/ 392 w 948"/>
                <a:gd name="T89" fmla="*/ 449 h 936"/>
                <a:gd name="T90" fmla="*/ 370 w 948"/>
                <a:gd name="T91" fmla="*/ 452 h 936"/>
                <a:gd name="T92" fmla="*/ 345 w 948"/>
                <a:gd name="T93" fmla="*/ 442 h 936"/>
                <a:gd name="T94" fmla="*/ 320 w 948"/>
                <a:gd name="T95" fmla="*/ 436 h 936"/>
                <a:gd name="T96" fmla="*/ 304 w 948"/>
                <a:gd name="T97" fmla="*/ 424 h 936"/>
                <a:gd name="T98" fmla="*/ 276 w 948"/>
                <a:gd name="T99" fmla="*/ 427 h 936"/>
                <a:gd name="T100" fmla="*/ 260 w 948"/>
                <a:gd name="T101" fmla="*/ 421 h 936"/>
                <a:gd name="T102" fmla="*/ 251 w 948"/>
                <a:gd name="T103" fmla="*/ 393 h 936"/>
                <a:gd name="T104" fmla="*/ 251 w 948"/>
                <a:gd name="T105" fmla="*/ 361 h 936"/>
                <a:gd name="T106" fmla="*/ 251 w 948"/>
                <a:gd name="T107" fmla="*/ 333 h 936"/>
                <a:gd name="T108" fmla="*/ 188 w 948"/>
                <a:gd name="T109" fmla="*/ 327 h 936"/>
                <a:gd name="T110" fmla="*/ 160 w 948"/>
                <a:gd name="T111" fmla="*/ 348 h 936"/>
                <a:gd name="T112" fmla="*/ 134 w 948"/>
                <a:gd name="T113" fmla="*/ 342 h 936"/>
                <a:gd name="T114" fmla="*/ 119 w 948"/>
                <a:gd name="T115" fmla="*/ 316 h 936"/>
                <a:gd name="T116" fmla="*/ 94 w 948"/>
                <a:gd name="T117" fmla="*/ 293 h 936"/>
                <a:gd name="T118" fmla="*/ 41 w 948"/>
                <a:gd name="T119" fmla="*/ 293 h 936"/>
                <a:gd name="T120" fmla="*/ 7 w 948"/>
                <a:gd name="T121" fmla="*/ 298 h 9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948" h="936">
                  <a:moveTo>
                    <a:pt x="0" y="552"/>
                  </a:moveTo>
                  <a:lnTo>
                    <a:pt x="12" y="552"/>
                  </a:lnTo>
                  <a:lnTo>
                    <a:pt x="12" y="528"/>
                  </a:lnTo>
                  <a:lnTo>
                    <a:pt x="12" y="522"/>
                  </a:lnTo>
                  <a:lnTo>
                    <a:pt x="12" y="516"/>
                  </a:lnTo>
                  <a:lnTo>
                    <a:pt x="18" y="516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24" y="516"/>
                  </a:lnTo>
                  <a:lnTo>
                    <a:pt x="24" y="510"/>
                  </a:lnTo>
                  <a:lnTo>
                    <a:pt x="30" y="510"/>
                  </a:lnTo>
                  <a:lnTo>
                    <a:pt x="30" y="504"/>
                  </a:lnTo>
                  <a:lnTo>
                    <a:pt x="36" y="504"/>
                  </a:lnTo>
                  <a:lnTo>
                    <a:pt x="36" y="498"/>
                  </a:lnTo>
                  <a:lnTo>
                    <a:pt x="42" y="498"/>
                  </a:lnTo>
                  <a:lnTo>
                    <a:pt x="48" y="498"/>
                  </a:lnTo>
                  <a:lnTo>
                    <a:pt x="48" y="504"/>
                  </a:lnTo>
                  <a:lnTo>
                    <a:pt x="54" y="504"/>
                  </a:lnTo>
                  <a:lnTo>
                    <a:pt x="54" y="510"/>
                  </a:lnTo>
                  <a:lnTo>
                    <a:pt x="60" y="510"/>
                  </a:lnTo>
                  <a:lnTo>
                    <a:pt x="66" y="504"/>
                  </a:lnTo>
                  <a:lnTo>
                    <a:pt x="72" y="504"/>
                  </a:lnTo>
                  <a:lnTo>
                    <a:pt x="72" y="498"/>
                  </a:lnTo>
                  <a:lnTo>
                    <a:pt x="72" y="492"/>
                  </a:lnTo>
                  <a:lnTo>
                    <a:pt x="72" y="486"/>
                  </a:lnTo>
                  <a:lnTo>
                    <a:pt x="78" y="486"/>
                  </a:lnTo>
                  <a:lnTo>
                    <a:pt x="78" y="492"/>
                  </a:lnTo>
                  <a:lnTo>
                    <a:pt x="84" y="492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6" y="486"/>
                  </a:lnTo>
                  <a:lnTo>
                    <a:pt x="102" y="486"/>
                  </a:lnTo>
                  <a:lnTo>
                    <a:pt x="102" y="480"/>
                  </a:lnTo>
                  <a:lnTo>
                    <a:pt x="108" y="480"/>
                  </a:lnTo>
                  <a:lnTo>
                    <a:pt x="108" y="486"/>
                  </a:lnTo>
                  <a:lnTo>
                    <a:pt x="114" y="486"/>
                  </a:lnTo>
                  <a:lnTo>
                    <a:pt x="108" y="486"/>
                  </a:lnTo>
                  <a:lnTo>
                    <a:pt x="108" y="492"/>
                  </a:lnTo>
                  <a:lnTo>
                    <a:pt x="102" y="492"/>
                  </a:lnTo>
                  <a:lnTo>
                    <a:pt x="102" y="498"/>
                  </a:lnTo>
                  <a:lnTo>
                    <a:pt x="108" y="498"/>
                  </a:lnTo>
                  <a:lnTo>
                    <a:pt x="108" y="504"/>
                  </a:lnTo>
                  <a:lnTo>
                    <a:pt x="108" y="510"/>
                  </a:lnTo>
                  <a:lnTo>
                    <a:pt x="114" y="510"/>
                  </a:lnTo>
                  <a:lnTo>
                    <a:pt x="120" y="510"/>
                  </a:lnTo>
                  <a:lnTo>
                    <a:pt x="126" y="510"/>
                  </a:lnTo>
                  <a:lnTo>
                    <a:pt x="132" y="510"/>
                  </a:lnTo>
                  <a:lnTo>
                    <a:pt x="132" y="504"/>
                  </a:lnTo>
                  <a:lnTo>
                    <a:pt x="132" y="498"/>
                  </a:lnTo>
                  <a:lnTo>
                    <a:pt x="138" y="498"/>
                  </a:lnTo>
                  <a:lnTo>
                    <a:pt x="138" y="492"/>
                  </a:lnTo>
                  <a:lnTo>
                    <a:pt x="144" y="492"/>
                  </a:lnTo>
                  <a:lnTo>
                    <a:pt x="144" y="486"/>
                  </a:lnTo>
                  <a:lnTo>
                    <a:pt x="150" y="480"/>
                  </a:lnTo>
                  <a:lnTo>
                    <a:pt x="156" y="480"/>
                  </a:lnTo>
                  <a:lnTo>
                    <a:pt x="162" y="480"/>
                  </a:lnTo>
                  <a:lnTo>
                    <a:pt x="162" y="474"/>
                  </a:lnTo>
                  <a:lnTo>
                    <a:pt x="162" y="468"/>
                  </a:lnTo>
                  <a:lnTo>
                    <a:pt x="168" y="468"/>
                  </a:lnTo>
                  <a:lnTo>
                    <a:pt x="174" y="468"/>
                  </a:lnTo>
                  <a:lnTo>
                    <a:pt x="180" y="462"/>
                  </a:lnTo>
                  <a:lnTo>
                    <a:pt x="186" y="462"/>
                  </a:lnTo>
                  <a:lnTo>
                    <a:pt x="186" y="456"/>
                  </a:lnTo>
                  <a:lnTo>
                    <a:pt x="192" y="444"/>
                  </a:lnTo>
                  <a:lnTo>
                    <a:pt x="192" y="438"/>
                  </a:lnTo>
                  <a:lnTo>
                    <a:pt x="198" y="438"/>
                  </a:lnTo>
                  <a:lnTo>
                    <a:pt x="198" y="432"/>
                  </a:lnTo>
                  <a:lnTo>
                    <a:pt x="198" y="426"/>
                  </a:lnTo>
                  <a:lnTo>
                    <a:pt x="198" y="420"/>
                  </a:lnTo>
                  <a:lnTo>
                    <a:pt x="198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198" y="396"/>
                  </a:lnTo>
                  <a:lnTo>
                    <a:pt x="198" y="390"/>
                  </a:lnTo>
                  <a:lnTo>
                    <a:pt x="198" y="384"/>
                  </a:lnTo>
                  <a:lnTo>
                    <a:pt x="198" y="378"/>
                  </a:lnTo>
                  <a:lnTo>
                    <a:pt x="198" y="372"/>
                  </a:lnTo>
                  <a:lnTo>
                    <a:pt x="204" y="372"/>
                  </a:lnTo>
                  <a:lnTo>
                    <a:pt x="204" y="366"/>
                  </a:lnTo>
                  <a:lnTo>
                    <a:pt x="210" y="366"/>
                  </a:lnTo>
                  <a:lnTo>
                    <a:pt x="216" y="360"/>
                  </a:lnTo>
                  <a:lnTo>
                    <a:pt x="216" y="354"/>
                  </a:lnTo>
                  <a:lnTo>
                    <a:pt x="222" y="336"/>
                  </a:lnTo>
                  <a:lnTo>
                    <a:pt x="228" y="336"/>
                  </a:lnTo>
                  <a:lnTo>
                    <a:pt x="228" y="330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40" y="324"/>
                  </a:lnTo>
                  <a:lnTo>
                    <a:pt x="240" y="318"/>
                  </a:lnTo>
                  <a:lnTo>
                    <a:pt x="246" y="318"/>
                  </a:lnTo>
                  <a:lnTo>
                    <a:pt x="252" y="318"/>
                  </a:lnTo>
                  <a:lnTo>
                    <a:pt x="258" y="312"/>
                  </a:lnTo>
                  <a:lnTo>
                    <a:pt x="264" y="306"/>
                  </a:lnTo>
                  <a:lnTo>
                    <a:pt x="264" y="300"/>
                  </a:lnTo>
                  <a:lnTo>
                    <a:pt x="270" y="300"/>
                  </a:lnTo>
                  <a:lnTo>
                    <a:pt x="270" y="294"/>
                  </a:lnTo>
                  <a:lnTo>
                    <a:pt x="276" y="288"/>
                  </a:lnTo>
                  <a:lnTo>
                    <a:pt x="270" y="282"/>
                  </a:lnTo>
                  <a:lnTo>
                    <a:pt x="270" y="276"/>
                  </a:lnTo>
                  <a:lnTo>
                    <a:pt x="270" y="270"/>
                  </a:lnTo>
                  <a:lnTo>
                    <a:pt x="276" y="270"/>
                  </a:lnTo>
                  <a:lnTo>
                    <a:pt x="276" y="264"/>
                  </a:lnTo>
                  <a:lnTo>
                    <a:pt x="276" y="258"/>
                  </a:lnTo>
                  <a:lnTo>
                    <a:pt x="276" y="252"/>
                  </a:lnTo>
                  <a:lnTo>
                    <a:pt x="282" y="252"/>
                  </a:lnTo>
                  <a:lnTo>
                    <a:pt x="282" y="246"/>
                  </a:lnTo>
                  <a:lnTo>
                    <a:pt x="282" y="240"/>
                  </a:lnTo>
                  <a:lnTo>
                    <a:pt x="282" y="234"/>
                  </a:lnTo>
                  <a:lnTo>
                    <a:pt x="282" y="228"/>
                  </a:lnTo>
                  <a:lnTo>
                    <a:pt x="276" y="222"/>
                  </a:lnTo>
                  <a:lnTo>
                    <a:pt x="276" y="216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2" y="204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288" y="186"/>
                  </a:lnTo>
                  <a:lnTo>
                    <a:pt x="288" y="180"/>
                  </a:lnTo>
                  <a:lnTo>
                    <a:pt x="288" y="174"/>
                  </a:lnTo>
                  <a:lnTo>
                    <a:pt x="288" y="168"/>
                  </a:lnTo>
                  <a:lnTo>
                    <a:pt x="288" y="162"/>
                  </a:lnTo>
                  <a:lnTo>
                    <a:pt x="288" y="156"/>
                  </a:lnTo>
                  <a:lnTo>
                    <a:pt x="294" y="156"/>
                  </a:lnTo>
                  <a:lnTo>
                    <a:pt x="294" y="150"/>
                  </a:lnTo>
                  <a:lnTo>
                    <a:pt x="300" y="144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306" y="120"/>
                  </a:lnTo>
                  <a:lnTo>
                    <a:pt x="312" y="120"/>
                  </a:lnTo>
                  <a:lnTo>
                    <a:pt x="312" y="114"/>
                  </a:lnTo>
                  <a:lnTo>
                    <a:pt x="318" y="114"/>
                  </a:lnTo>
                  <a:lnTo>
                    <a:pt x="318" y="108"/>
                  </a:lnTo>
                  <a:lnTo>
                    <a:pt x="318" y="102"/>
                  </a:lnTo>
                  <a:lnTo>
                    <a:pt x="318" y="96"/>
                  </a:lnTo>
                  <a:lnTo>
                    <a:pt x="318" y="90"/>
                  </a:lnTo>
                  <a:lnTo>
                    <a:pt x="318" y="84"/>
                  </a:lnTo>
                  <a:lnTo>
                    <a:pt x="312" y="78"/>
                  </a:lnTo>
                  <a:lnTo>
                    <a:pt x="318" y="78"/>
                  </a:lnTo>
                  <a:lnTo>
                    <a:pt x="318" y="72"/>
                  </a:lnTo>
                  <a:lnTo>
                    <a:pt x="318" y="66"/>
                  </a:lnTo>
                  <a:lnTo>
                    <a:pt x="318" y="60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54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0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48" y="18"/>
                  </a:lnTo>
                  <a:lnTo>
                    <a:pt x="354" y="18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72" y="12"/>
                  </a:lnTo>
                  <a:lnTo>
                    <a:pt x="378" y="12"/>
                  </a:lnTo>
                  <a:lnTo>
                    <a:pt x="378" y="18"/>
                  </a:lnTo>
                  <a:lnTo>
                    <a:pt x="384" y="18"/>
                  </a:lnTo>
                  <a:lnTo>
                    <a:pt x="390" y="24"/>
                  </a:lnTo>
                  <a:lnTo>
                    <a:pt x="396" y="24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08" y="42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38" y="54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62" y="54"/>
                  </a:lnTo>
                  <a:lnTo>
                    <a:pt x="468" y="54"/>
                  </a:lnTo>
                  <a:lnTo>
                    <a:pt x="474" y="54"/>
                  </a:lnTo>
                  <a:lnTo>
                    <a:pt x="480" y="54"/>
                  </a:lnTo>
                  <a:lnTo>
                    <a:pt x="480" y="60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8" y="60"/>
                  </a:lnTo>
                  <a:lnTo>
                    <a:pt x="504" y="66"/>
                  </a:lnTo>
                  <a:lnTo>
                    <a:pt x="504" y="60"/>
                  </a:lnTo>
                  <a:lnTo>
                    <a:pt x="510" y="60"/>
                  </a:lnTo>
                  <a:lnTo>
                    <a:pt x="510" y="54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16" y="42"/>
                  </a:lnTo>
                  <a:lnTo>
                    <a:pt x="516" y="48"/>
                  </a:lnTo>
                  <a:lnTo>
                    <a:pt x="522" y="48"/>
                  </a:lnTo>
                  <a:lnTo>
                    <a:pt x="522" y="42"/>
                  </a:lnTo>
                  <a:lnTo>
                    <a:pt x="522" y="36"/>
                  </a:lnTo>
                  <a:lnTo>
                    <a:pt x="522" y="30"/>
                  </a:lnTo>
                  <a:lnTo>
                    <a:pt x="528" y="30"/>
                  </a:lnTo>
                  <a:lnTo>
                    <a:pt x="528" y="36"/>
                  </a:lnTo>
                  <a:lnTo>
                    <a:pt x="528" y="30"/>
                  </a:lnTo>
                  <a:lnTo>
                    <a:pt x="534" y="30"/>
                  </a:lnTo>
                  <a:lnTo>
                    <a:pt x="540" y="36"/>
                  </a:lnTo>
                  <a:lnTo>
                    <a:pt x="540" y="30"/>
                  </a:lnTo>
                  <a:lnTo>
                    <a:pt x="546" y="30"/>
                  </a:lnTo>
                  <a:lnTo>
                    <a:pt x="546" y="36"/>
                  </a:lnTo>
                  <a:lnTo>
                    <a:pt x="552" y="36"/>
                  </a:lnTo>
                  <a:lnTo>
                    <a:pt x="552" y="42"/>
                  </a:lnTo>
                  <a:lnTo>
                    <a:pt x="558" y="42"/>
                  </a:lnTo>
                  <a:lnTo>
                    <a:pt x="558" y="36"/>
                  </a:lnTo>
                  <a:lnTo>
                    <a:pt x="564" y="36"/>
                  </a:lnTo>
                  <a:lnTo>
                    <a:pt x="564" y="30"/>
                  </a:lnTo>
                  <a:lnTo>
                    <a:pt x="570" y="30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94" y="24"/>
                  </a:lnTo>
                  <a:lnTo>
                    <a:pt x="594" y="18"/>
                  </a:lnTo>
                  <a:lnTo>
                    <a:pt x="594" y="24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00" y="18"/>
                  </a:lnTo>
                  <a:lnTo>
                    <a:pt x="600" y="12"/>
                  </a:lnTo>
                  <a:lnTo>
                    <a:pt x="606" y="12"/>
                  </a:lnTo>
                  <a:lnTo>
                    <a:pt x="606" y="18"/>
                  </a:lnTo>
                  <a:lnTo>
                    <a:pt x="606" y="12"/>
                  </a:lnTo>
                  <a:lnTo>
                    <a:pt x="612" y="12"/>
                  </a:lnTo>
                  <a:lnTo>
                    <a:pt x="612" y="18"/>
                  </a:lnTo>
                  <a:lnTo>
                    <a:pt x="618" y="18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18"/>
                  </a:lnTo>
                  <a:lnTo>
                    <a:pt x="636" y="18"/>
                  </a:lnTo>
                  <a:lnTo>
                    <a:pt x="636" y="24"/>
                  </a:lnTo>
                  <a:lnTo>
                    <a:pt x="636" y="18"/>
                  </a:lnTo>
                  <a:lnTo>
                    <a:pt x="642" y="18"/>
                  </a:lnTo>
                  <a:lnTo>
                    <a:pt x="648" y="18"/>
                  </a:lnTo>
                  <a:lnTo>
                    <a:pt x="648" y="12"/>
                  </a:lnTo>
                  <a:lnTo>
                    <a:pt x="654" y="12"/>
                  </a:lnTo>
                  <a:lnTo>
                    <a:pt x="648" y="12"/>
                  </a:lnTo>
                  <a:lnTo>
                    <a:pt x="648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72" y="6"/>
                  </a:lnTo>
                  <a:lnTo>
                    <a:pt x="672" y="12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78" y="12"/>
                  </a:lnTo>
                  <a:lnTo>
                    <a:pt x="678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84" y="6"/>
                  </a:lnTo>
                  <a:lnTo>
                    <a:pt x="690" y="6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696" y="6"/>
                  </a:lnTo>
                  <a:lnTo>
                    <a:pt x="696" y="12"/>
                  </a:lnTo>
                  <a:lnTo>
                    <a:pt x="702" y="12"/>
                  </a:lnTo>
                  <a:lnTo>
                    <a:pt x="708" y="12"/>
                  </a:lnTo>
                  <a:lnTo>
                    <a:pt x="708" y="18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14" y="18"/>
                  </a:lnTo>
                  <a:lnTo>
                    <a:pt x="714" y="12"/>
                  </a:lnTo>
                  <a:lnTo>
                    <a:pt x="720" y="12"/>
                  </a:lnTo>
                  <a:lnTo>
                    <a:pt x="720" y="18"/>
                  </a:lnTo>
                  <a:lnTo>
                    <a:pt x="726" y="18"/>
                  </a:lnTo>
                  <a:lnTo>
                    <a:pt x="726" y="12"/>
                  </a:lnTo>
                  <a:lnTo>
                    <a:pt x="732" y="12"/>
                  </a:lnTo>
                  <a:lnTo>
                    <a:pt x="738" y="6"/>
                  </a:lnTo>
                  <a:lnTo>
                    <a:pt x="738" y="12"/>
                  </a:lnTo>
                  <a:lnTo>
                    <a:pt x="744" y="12"/>
                  </a:lnTo>
                  <a:lnTo>
                    <a:pt x="750" y="12"/>
                  </a:lnTo>
                  <a:lnTo>
                    <a:pt x="756" y="12"/>
                  </a:lnTo>
                  <a:lnTo>
                    <a:pt x="756" y="18"/>
                  </a:lnTo>
                  <a:lnTo>
                    <a:pt x="762" y="24"/>
                  </a:lnTo>
                  <a:lnTo>
                    <a:pt x="768" y="24"/>
                  </a:lnTo>
                  <a:lnTo>
                    <a:pt x="768" y="30"/>
                  </a:lnTo>
                  <a:lnTo>
                    <a:pt x="774" y="30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74" y="36"/>
                  </a:lnTo>
                  <a:lnTo>
                    <a:pt x="774" y="42"/>
                  </a:lnTo>
                  <a:lnTo>
                    <a:pt x="780" y="42"/>
                  </a:lnTo>
                  <a:lnTo>
                    <a:pt x="786" y="42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86" y="48"/>
                  </a:lnTo>
                  <a:lnTo>
                    <a:pt x="792" y="48"/>
                  </a:lnTo>
                  <a:lnTo>
                    <a:pt x="792" y="54"/>
                  </a:lnTo>
                  <a:lnTo>
                    <a:pt x="798" y="54"/>
                  </a:lnTo>
                  <a:lnTo>
                    <a:pt x="804" y="54"/>
                  </a:lnTo>
                  <a:lnTo>
                    <a:pt x="810" y="54"/>
                  </a:lnTo>
                  <a:lnTo>
                    <a:pt x="810" y="48"/>
                  </a:lnTo>
                  <a:lnTo>
                    <a:pt x="816" y="48"/>
                  </a:lnTo>
                  <a:lnTo>
                    <a:pt x="816" y="42"/>
                  </a:lnTo>
                  <a:lnTo>
                    <a:pt x="822" y="42"/>
                  </a:lnTo>
                  <a:lnTo>
                    <a:pt x="822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28" y="42"/>
                  </a:lnTo>
                  <a:lnTo>
                    <a:pt x="828" y="48"/>
                  </a:lnTo>
                  <a:lnTo>
                    <a:pt x="834" y="42"/>
                  </a:lnTo>
                  <a:lnTo>
                    <a:pt x="834" y="48"/>
                  </a:lnTo>
                  <a:lnTo>
                    <a:pt x="840" y="48"/>
                  </a:lnTo>
                  <a:lnTo>
                    <a:pt x="840" y="54"/>
                  </a:lnTo>
                  <a:lnTo>
                    <a:pt x="846" y="54"/>
                  </a:lnTo>
                  <a:lnTo>
                    <a:pt x="846" y="48"/>
                  </a:lnTo>
                  <a:lnTo>
                    <a:pt x="852" y="48"/>
                  </a:lnTo>
                  <a:lnTo>
                    <a:pt x="852" y="42"/>
                  </a:lnTo>
                  <a:lnTo>
                    <a:pt x="858" y="42"/>
                  </a:lnTo>
                  <a:lnTo>
                    <a:pt x="858" y="36"/>
                  </a:lnTo>
                  <a:lnTo>
                    <a:pt x="864" y="36"/>
                  </a:lnTo>
                  <a:lnTo>
                    <a:pt x="870" y="36"/>
                  </a:lnTo>
                  <a:lnTo>
                    <a:pt x="870" y="42"/>
                  </a:lnTo>
                  <a:lnTo>
                    <a:pt x="876" y="42"/>
                  </a:lnTo>
                  <a:lnTo>
                    <a:pt x="870" y="42"/>
                  </a:lnTo>
                  <a:lnTo>
                    <a:pt x="870" y="48"/>
                  </a:lnTo>
                  <a:lnTo>
                    <a:pt x="876" y="54"/>
                  </a:lnTo>
                  <a:lnTo>
                    <a:pt x="882" y="54"/>
                  </a:lnTo>
                  <a:lnTo>
                    <a:pt x="882" y="60"/>
                  </a:lnTo>
                  <a:lnTo>
                    <a:pt x="888" y="66"/>
                  </a:lnTo>
                  <a:lnTo>
                    <a:pt x="894" y="66"/>
                  </a:lnTo>
                  <a:lnTo>
                    <a:pt x="894" y="72"/>
                  </a:lnTo>
                  <a:lnTo>
                    <a:pt x="900" y="72"/>
                  </a:lnTo>
                  <a:lnTo>
                    <a:pt x="906" y="72"/>
                  </a:lnTo>
                  <a:lnTo>
                    <a:pt x="906" y="78"/>
                  </a:lnTo>
                  <a:lnTo>
                    <a:pt x="912" y="78"/>
                  </a:lnTo>
                  <a:lnTo>
                    <a:pt x="912" y="84"/>
                  </a:lnTo>
                  <a:lnTo>
                    <a:pt x="912" y="90"/>
                  </a:lnTo>
                  <a:lnTo>
                    <a:pt x="912" y="84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18" y="84"/>
                  </a:lnTo>
                  <a:lnTo>
                    <a:pt x="918" y="90"/>
                  </a:lnTo>
                  <a:lnTo>
                    <a:pt x="924" y="90"/>
                  </a:lnTo>
                  <a:lnTo>
                    <a:pt x="924" y="96"/>
                  </a:lnTo>
                  <a:lnTo>
                    <a:pt x="930" y="96"/>
                  </a:lnTo>
                  <a:lnTo>
                    <a:pt x="924" y="102"/>
                  </a:lnTo>
                  <a:lnTo>
                    <a:pt x="924" y="108"/>
                  </a:lnTo>
                  <a:lnTo>
                    <a:pt x="918" y="114"/>
                  </a:lnTo>
                  <a:lnTo>
                    <a:pt x="918" y="120"/>
                  </a:lnTo>
                  <a:lnTo>
                    <a:pt x="924" y="120"/>
                  </a:lnTo>
                  <a:lnTo>
                    <a:pt x="924" y="126"/>
                  </a:lnTo>
                  <a:lnTo>
                    <a:pt x="924" y="132"/>
                  </a:lnTo>
                  <a:lnTo>
                    <a:pt x="918" y="138"/>
                  </a:lnTo>
                  <a:lnTo>
                    <a:pt x="918" y="144"/>
                  </a:lnTo>
                  <a:lnTo>
                    <a:pt x="924" y="144"/>
                  </a:lnTo>
                  <a:lnTo>
                    <a:pt x="924" y="150"/>
                  </a:lnTo>
                  <a:lnTo>
                    <a:pt x="930" y="150"/>
                  </a:lnTo>
                  <a:lnTo>
                    <a:pt x="936" y="150"/>
                  </a:lnTo>
                  <a:lnTo>
                    <a:pt x="936" y="156"/>
                  </a:lnTo>
                  <a:lnTo>
                    <a:pt x="942" y="156"/>
                  </a:lnTo>
                  <a:lnTo>
                    <a:pt x="948" y="162"/>
                  </a:lnTo>
                  <a:lnTo>
                    <a:pt x="942" y="168"/>
                  </a:lnTo>
                  <a:lnTo>
                    <a:pt x="936" y="174"/>
                  </a:lnTo>
                  <a:lnTo>
                    <a:pt x="930" y="180"/>
                  </a:lnTo>
                  <a:lnTo>
                    <a:pt x="918" y="192"/>
                  </a:lnTo>
                  <a:lnTo>
                    <a:pt x="906" y="210"/>
                  </a:lnTo>
                  <a:lnTo>
                    <a:pt x="900" y="210"/>
                  </a:lnTo>
                  <a:lnTo>
                    <a:pt x="894" y="210"/>
                  </a:lnTo>
                  <a:lnTo>
                    <a:pt x="894" y="216"/>
                  </a:lnTo>
                  <a:lnTo>
                    <a:pt x="894" y="222"/>
                  </a:lnTo>
                  <a:lnTo>
                    <a:pt x="888" y="222"/>
                  </a:lnTo>
                  <a:lnTo>
                    <a:pt x="882" y="222"/>
                  </a:lnTo>
                  <a:lnTo>
                    <a:pt x="882" y="228"/>
                  </a:lnTo>
                  <a:lnTo>
                    <a:pt x="882" y="234"/>
                  </a:lnTo>
                  <a:lnTo>
                    <a:pt x="882" y="240"/>
                  </a:lnTo>
                  <a:lnTo>
                    <a:pt x="876" y="246"/>
                  </a:lnTo>
                  <a:lnTo>
                    <a:pt x="876" y="252"/>
                  </a:lnTo>
                  <a:lnTo>
                    <a:pt x="876" y="258"/>
                  </a:lnTo>
                  <a:lnTo>
                    <a:pt x="870" y="258"/>
                  </a:lnTo>
                  <a:lnTo>
                    <a:pt x="870" y="264"/>
                  </a:lnTo>
                  <a:lnTo>
                    <a:pt x="870" y="270"/>
                  </a:lnTo>
                  <a:lnTo>
                    <a:pt x="864" y="288"/>
                  </a:lnTo>
                  <a:lnTo>
                    <a:pt x="864" y="294"/>
                  </a:lnTo>
                  <a:lnTo>
                    <a:pt x="864" y="300"/>
                  </a:lnTo>
                  <a:lnTo>
                    <a:pt x="864" y="306"/>
                  </a:lnTo>
                  <a:lnTo>
                    <a:pt x="864" y="312"/>
                  </a:lnTo>
                  <a:lnTo>
                    <a:pt x="864" y="318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24"/>
                  </a:lnTo>
                  <a:lnTo>
                    <a:pt x="858" y="324"/>
                  </a:lnTo>
                  <a:lnTo>
                    <a:pt x="864" y="330"/>
                  </a:lnTo>
                  <a:lnTo>
                    <a:pt x="864" y="336"/>
                  </a:lnTo>
                  <a:lnTo>
                    <a:pt x="858" y="336"/>
                  </a:lnTo>
                  <a:lnTo>
                    <a:pt x="858" y="342"/>
                  </a:lnTo>
                  <a:lnTo>
                    <a:pt x="852" y="342"/>
                  </a:lnTo>
                  <a:lnTo>
                    <a:pt x="846" y="342"/>
                  </a:lnTo>
                  <a:lnTo>
                    <a:pt x="846" y="348"/>
                  </a:lnTo>
                  <a:lnTo>
                    <a:pt x="846" y="354"/>
                  </a:lnTo>
                  <a:lnTo>
                    <a:pt x="840" y="354"/>
                  </a:lnTo>
                  <a:lnTo>
                    <a:pt x="840" y="360"/>
                  </a:lnTo>
                  <a:lnTo>
                    <a:pt x="840" y="366"/>
                  </a:lnTo>
                  <a:lnTo>
                    <a:pt x="840" y="372"/>
                  </a:lnTo>
                  <a:lnTo>
                    <a:pt x="840" y="378"/>
                  </a:lnTo>
                  <a:lnTo>
                    <a:pt x="834" y="378"/>
                  </a:lnTo>
                  <a:lnTo>
                    <a:pt x="834" y="384"/>
                  </a:lnTo>
                  <a:lnTo>
                    <a:pt x="828" y="384"/>
                  </a:lnTo>
                  <a:lnTo>
                    <a:pt x="828" y="390"/>
                  </a:lnTo>
                  <a:lnTo>
                    <a:pt x="828" y="396"/>
                  </a:lnTo>
                  <a:lnTo>
                    <a:pt x="828" y="402"/>
                  </a:lnTo>
                  <a:lnTo>
                    <a:pt x="834" y="402"/>
                  </a:lnTo>
                  <a:lnTo>
                    <a:pt x="834" y="408"/>
                  </a:lnTo>
                  <a:lnTo>
                    <a:pt x="834" y="414"/>
                  </a:lnTo>
                  <a:lnTo>
                    <a:pt x="840" y="414"/>
                  </a:lnTo>
                  <a:lnTo>
                    <a:pt x="840" y="420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6" y="420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26"/>
                  </a:lnTo>
                  <a:lnTo>
                    <a:pt x="840" y="426"/>
                  </a:lnTo>
                  <a:lnTo>
                    <a:pt x="846" y="432"/>
                  </a:lnTo>
                  <a:lnTo>
                    <a:pt x="840" y="432"/>
                  </a:lnTo>
                  <a:lnTo>
                    <a:pt x="846" y="438"/>
                  </a:lnTo>
                  <a:lnTo>
                    <a:pt x="846" y="444"/>
                  </a:lnTo>
                  <a:lnTo>
                    <a:pt x="846" y="450"/>
                  </a:lnTo>
                  <a:lnTo>
                    <a:pt x="846" y="456"/>
                  </a:lnTo>
                  <a:lnTo>
                    <a:pt x="846" y="462"/>
                  </a:lnTo>
                  <a:lnTo>
                    <a:pt x="846" y="468"/>
                  </a:lnTo>
                  <a:lnTo>
                    <a:pt x="852" y="468"/>
                  </a:lnTo>
                  <a:lnTo>
                    <a:pt x="852" y="474"/>
                  </a:lnTo>
                  <a:lnTo>
                    <a:pt x="852" y="486"/>
                  </a:lnTo>
                  <a:lnTo>
                    <a:pt x="852" y="492"/>
                  </a:lnTo>
                  <a:lnTo>
                    <a:pt x="846" y="498"/>
                  </a:lnTo>
                  <a:lnTo>
                    <a:pt x="846" y="504"/>
                  </a:lnTo>
                  <a:lnTo>
                    <a:pt x="846" y="510"/>
                  </a:lnTo>
                  <a:lnTo>
                    <a:pt x="852" y="516"/>
                  </a:lnTo>
                  <a:lnTo>
                    <a:pt x="852" y="522"/>
                  </a:lnTo>
                  <a:lnTo>
                    <a:pt x="852" y="528"/>
                  </a:lnTo>
                  <a:lnTo>
                    <a:pt x="858" y="534"/>
                  </a:lnTo>
                  <a:lnTo>
                    <a:pt x="858" y="546"/>
                  </a:lnTo>
                  <a:lnTo>
                    <a:pt x="864" y="546"/>
                  </a:lnTo>
                  <a:lnTo>
                    <a:pt x="864" y="552"/>
                  </a:lnTo>
                  <a:lnTo>
                    <a:pt x="864" y="558"/>
                  </a:lnTo>
                  <a:lnTo>
                    <a:pt x="858" y="564"/>
                  </a:lnTo>
                  <a:lnTo>
                    <a:pt x="858" y="570"/>
                  </a:lnTo>
                  <a:lnTo>
                    <a:pt x="864" y="576"/>
                  </a:lnTo>
                  <a:lnTo>
                    <a:pt x="864" y="582"/>
                  </a:lnTo>
                  <a:lnTo>
                    <a:pt x="864" y="588"/>
                  </a:lnTo>
                  <a:lnTo>
                    <a:pt x="870" y="594"/>
                  </a:lnTo>
                  <a:lnTo>
                    <a:pt x="876" y="600"/>
                  </a:lnTo>
                  <a:lnTo>
                    <a:pt x="888" y="606"/>
                  </a:lnTo>
                  <a:lnTo>
                    <a:pt x="888" y="612"/>
                  </a:lnTo>
                  <a:lnTo>
                    <a:pt x="894" y="618"/>
                  </a:lnTo>
                  <a:lnTo>
                    <a:pt x="900" y="630"/>
                  </a:lnTo>
                  <a:lnTo>
                    <a:pt x="900" y="636"/>
                  </a:lnTo>
                  <a:lnTo>
                    <a:pt x="906" y="648"/>
                  </a:lnTo>
                  <a:lnTo>
                    <a:pt x="912" y="660"/>
                  </a:lnTo>
                  <a:lnTo>
                    <a:pt x="912" y="666"/>
                  </a:lnTo>
                  <a:lnTo>
                    <a:pt x="918" y="666"/>
                  </a:lnTo>
                  <a:lnTo>
                    <a:pt x="918" y="672"/>
                  </a:lnTo>
                  <a:lnTo>
                    <a:pt x="918" y="678"/>
                  </a:lnTo>
                  <a:lnTo>
                    <a:pt x="912" y="678"/>
                  </a:lnTo>
                  <a:lnTo>
                    <a:pt x="900" y="678"/>
                  </a:lnTo>
                  <a:lnTo>
                    <a:pt x="888" y="678"/>
                  </a:lnTo>
                  <a:lnTo>
                    <a:pt x="882" y="678"/>
                  </a:lnTo>
                  <a:lnTo>
                    <a:pt x="876" y="684"/>
                  </a:lnTo>
                  <a:lnTo>
                    <a:pt x="864" y="684"/>
                  </a:lnTo>
                  <a:lnTo>
                    <a:pt x="828" y="690"/>
                  </a:lnTo>
                  <a:lnTo>
                    <a:pt x="828" y="696"/>
                  </a:lnTo>
                  <a:lnTo>
                    <a:pt x="828" y="702"/>
                  </a:lnTo>
                  <a:lnTo>
                    <a:pt x="822" y="714"/>
                  </a:lnTo>
                  <a:lnTo>
                    <a:pt x="816" y="714"/>
                  </a:lnTo>
                  <a:lnTo>
                    <a:pt x="816" y="720"/>
                  </a:lnTo>
                  <a:lnTo>
                    <a:pt x="804" y="720"/>
                  </a:lnTo>
                  <a:lnTo>
                    <a:pt x="804" y="726"/>
                  </a:lnTo>
                  <a:lnTo>
                    <a:pt x="798" y="732"/>
                  </a:lnTo>
                  <a:lnTo>
                    <a:pt x="804" y="732"/>
                  </a:lnTo>
                  <a:lnTo>
                    <a:pt x="804" y="738"/>
                  </a:lnTo>
                  <a:lnTo>
                    <a:pt x="804" y="732"/>
                  </a:lnTo>
                  <a:lnTo>
                    <a:pt x="810" y="732"/>
                  </a:lnTo>
                  <a:lnTo>
                    <a:pt x="810" y="738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44"/>
                  </a:lnTo>
                  <a:lnTo>
                    <a:pt x="810" y="744"/>
                  </a:lnTo>
                  <a:lnTo>
                    <a:pt x="816" y="750"/>
                  </a:lnTo>
                  <a:lnTo>
                    <a:pt x="816" y="756"/>
                  </a:lnTo>
                  <a:lnTo>
                    <a:pt x="816" y="762"/>
                  </a:lnTo>
                  <a:lnTo>
                    <a:pt x="816" y="768"/>
                  </a:lnTo>
                  <a:lnTo>
                    <a:pt x="816" y="774"/>
                  </a:lnTo>
                  <a:lnTo>
                    <a:pt x="810" y="774"/>
                  </a:lnTo>
                  <a:lnTo>
                    <a:pt x="810" y="780"/>
                  </a:lnTo>
                  <a:lnTo>
                    <a:pt x="816" y="780"/>
                  </a:lnTo>
                  <a:lnTo>
                    <a:pt x="816" y="786"/>
                  </a:lnTo>
                  <a:lnTo>
                    <a:pt x="816" y="792"/>
                  </a:lnTo>
                  <a:lnTo>
                    <a:pt x="816" y="798"/>
                  </a:lnTo>
                  <a:lnTo>
                    <a:pt x="810" y="798"/>
                  </a:lnTo>
                  <a:lnTo>
                    <a:pt x="810" y="804"/>
                  </a:lnTo>
                  <a:lnTo>
                    <a:pt x="810" y="810"/>
                  </a:lnTo>
                  <a:lnTo>
                    <a:pt x="810" y="816"/>
                  </a:lnTo>
                  <a:lnTo>
                    <a:pt x="804" y="816"/>
                  </a:lnTo>
                  <a:lnTo>
                    <a:pt x="804" y="822"/>
                  </a:lnTo>
                  <a:lnTo>
                    <a:pt x="810" y="822"/>
                  </a:lnTo>
                  <a:lnTo>
                    <a:pt x="804" y="822"/>
                  </a:lnTo>
                  <a:lnTo>
                    <a:pt x="804" y="828"/>
                  </a:lnTo>
                  <a:lnTo>
                    <a:pt x="804" y="834"/>
                  </a:lnTo>
                  <a:lnTo>
                    <a:pt x="804" y="840"/>
                  </a:lnTo>
                  <a:lnTo>
                    <a:pt x="804" y="846"/>
                  </a:lnTo>
                  <a:lnTo>
                    <a:pt x="804" y="852"/>
                  </a:lnTo>
                  <a:lnTo>
                    <a:pt x="804" y="858"/>
                  </a:lnTo>
                  <a:lnTo>
                    <a:pt x="804" y="852"/>
                  </a:lnTo>
                  <a:lnTo>
                    <a:pt x="810" y="858"/>
                  </a:lnTo>
                  <a:lnTo>
                    <a:pt x="816" y="858"/>
                  </a:lnTo>
                  <a:lnTo>
                    <a:pt x="816" y="864"/>
                  </a:lnTo>
                  <a:lnTo>
                    <a:pt x="822" y="864"/>
                  </a:lnTo>
                  <a:lnTo>
                    <a:pt x="822" y="870"/>
                  </a:lnTo>
                  <a:lnTo>
                    <a:pt x="828" y="870"/>
                  </a:lnTo>
                  <a:lnTo>
                    <a:pt x="828" y="876"/>
                  </a:lnTo>
                  <a:lnTo>
                    <a:pt x="834" y="876"/>
                  </a:lnTo>
                  <a:lnTo>
                    <a:pt x="834" y="882"/>
                  </a:lnTo>
                  <a:lnTo>
                    <a:pt x="840" y="882"/>
                  </a:lnTo>
                  <a:lnTo>
                    <a:pt x="846" y="882"/>
                  </a:lnTo>
                  <a:lnTo>
                    <a:pt x="852" y="882"/>
                  </a:lnTo>
                  <a:lnTo>
                    <a:pt x="858" y="888"/>
                  </a:lnTo>
                  <a:lnTo>
                    <a:pt x="858" y="882"/>
                  </a:lnTo>
                  <a:lnTo>
                    <a:pt x="852" y="882"/>
                  </a:lnTo>
                  <a:lnTo>
                    <a:pt x="858" y="876"/>
                  </a:lnTo>
                  <a:lnTo>
                    <a:pt x="864" y="876"/>
                  </a:lnTo>
                  <a:lnTo>
                    <a:pt x="870" y="870"/>
                  </a:lnTo>
                  <a:lnTo>
                    <a:pt x="870" y="936"/>
                  </a:lnTo>
                  <a:lnTo>
                    <a:pt x="864" y="936"/>
                  </a:lnTo>
                  <a:lnTo>
                    <a:pt x="864" y="930"/>
                  </a:lnTo>
                  <a:lnTo>
                    <a:pt x="864" y="924"/>
                  </a:lnTo>
                  <a:lnTo>
                    <a:pt x="858" y="924"/>
                  </a:lnTo>
                  <a:lnTo>
                    <a:pt x="852" y="930"/>
                  </a:lnTo>
                  <a:lnTo>
                    <a:pt x="846" y="930"/>
                  </a:lnTo>
                  <a:lnTo>
                    <a:pt x="846" y="936"/>
                  </a:lnTo>
                  <a:lnTo>
                    <a:pt x="840" y="936"/>
                  </a:lnTo>
                  <a:lnTo>
                    <a:pt x="840" y="930"/>
                  </a:lnTo>
                  <a:lnTo>
                    <a:pt x="834" y="930"/>
                  </a:lnTo>
                  <a:lnTo>
                    <a:pt x="834" y="936"/>
                  </a:lnTo>
                  <a:lnTo>
                    <a:pt x="834" y="930"/>
                  </a:lnTo>
                  <a:lnTo>
                    <a:pt x="828" y="930"/>
                  </a:lnTo>
                  <a:lnTo>
                    <a:pt x="828" y="924"/>
                  </a:lnTo>
                  <a:lnTo>
                    <a:pt x="828" y="918"/>
                  </a:lnTo>
                  <a:lnTo>
                    <a:pt x="822" y="918"/>
                  </a:lnTo>
                  <a:lnTo>
                    <a:pt x="822" y="912"/>
                  </a:lnTo>
                  <a:lnTo>
                    <a:pt x="822" y="906"/>
                  </a:lnTo>
                  <a:lnTo>
                    <a:pt x="816" y="906"/>
                  </a:lnTo>
                  <a:lnTo>
                    <a:pt x="810" y="906"/>
                  </a:lnTo>
                  <a:lnTo>
                    <a:pt x="804" y="900"/>
                  </a:lnTo>
                  <a:lnTo>
                    <a:pt x="810" y="900"/>
                  </a:lnTo>
                  <a:lnTo>
                    <a:pt x="810" y="894"/>
                  </a:lnTo>
                  <a:lnTo>
                    <a:pt x="804" y="894"/>
                  </a:lnTo>
                  <a:lnTo>
                    <a:pt x="804" y="888"/>
                  </a:lnTo>
                  <a:lnTo>
                    <a:pt x="798" y="882"/>
                  </a:lnTo>
                  <a:lnTo>
                    <a:pt x="792" y="882"/>
                  </a:lnTo>
                  <a:lnTo>
                    <a:pt x="786" y="888"/>
                  </a:lnTo>
                  <a:lnTo>
                    <a:pt x="786" y="882"/>
                  </a:lnTo>
                  <a:lnTo>
                    <a:pt x="780" y="882"/>
                  </a:lnTo>
                  <a:lnTo>
                    <a:pt x="780" y="876"/>
                  </a:lnTo>
                  <a:lnTo>
                    <a:pt x="774" y="876"/>
                  </a:lnTo>
                  <a:lnTo>
                    <a:pt x="768" y="876"/>
                  </a:lnTo>
                  <a:lnTo>
                    <a:pt x="762" y="876"/>
                  </a:lnTo>
                  <a:lnTo>
                    <a:pt x="756" y="870"/>
                  </a:lnTo>
                  <a:lnTo>
                    <a:pt x="756" y="864"/>
                  </a:lnTo>
                  <a:lnTo>
                    <a:pt x="756" y="858"/>
                  </a:lnTo>
                  <a:lnTo>
                    <a:pt x="750" y="858"/>
                  </a:lnTo>
                  <a:lnTo>
                    <a:pt x="750" y="852"/>
                  </a:lnTo>
                  <a:lnTo>
                    <a:pt x="744" y="852"/>
                  </a:lnTo>
                  <a:lnTo>
                    <a:pt x="744" y="846"/>
                  </a:lnTo>
                  <a:lnTo>
                    <a:pt x="744" y="840"/>
                  </a:lnTo>
                  <a:lnTo>
                    <a:pt x="738" y="846"/>
                  </a:lnTo>
                  <a:lnTo>
                    <a:pt x="732" y="846"/>
                  </a:lnTo>
                  <a:lnTo>
                    <a:pt x="738" y="846"/>
                  </a:lnTo>
                  <a:lnTo>
                    <a:pt x="732" y="852"/>
                  </a:lnTo>
                  <a:lnTo>
                    <a:pt x="732" y="858"/>
                  </a:lnTo>
                  <a:lnTo>
                    <a:pt x="726" y="864"/>
                  </a:lnTo>
                  <a:lnTo>
                    <a:pt x="720" y="864"/>
                  </a:lnTo>
                  <a:lnTo>
                    <a:pt x="714" y="864"/>
                  </a:lnTo>
                  <a:lnTo>
                    <a:pt x="708" y="864"/>
                  </a:lnTo>
                  <a:lnTo>
                    <a:pt x="708" y="858"/>
                  </a:lnTo>
                  <a:lnTo>
                    <a:pt x="702" y="858"/>
                  </a:lnTo>
                  <a:lnTo>
                    <a:pt x="702" y="864"/>
                  </a:lnTo>
                  <a:lnTo>
                    <a:pt x="696" y="864"/>
                  </a:lnTo>
                  <a:lnTo>
                    <a:pt x="696" y="858"/>
                  </a:lnTo>
                  <a:lnTo>
                    <a:pt x="690" y="858"/>
                  </a:lnTo>
                  <a:lnTo>
                    <a:pt x="684" y="858"/>
                  </a:lnTo>
                  <a:lnTo>
                    <a:pt x="678" y="858"/>
                  </a:lnTo>
                  <a:lnTo>
                    <a:pt x="678" y="852"/>
                  </a:lnTo>
                  <a:lnTo>
                    <a:pt x="672" y="852"/>
                  </a:lnTo>
                  <a:lnTo>
                    <a:pt x="666" y="852"/>
                  </a:lnTo>
                  <a:lnTo>
                    <a:pt x="660" y="852"/>
                  </a:lnTo>
                  <a:lnTo>
                    <a:pt x="660" y="846"/>
                  </a:lnTo>
                  <a:lnTo>
                    <a:pt x="654" y="846"/>
                  </a:lnTo>
                  <a:lnTo>
                    <a:pt x="648" y="846"/>
                  </a:lnTo>
                  <a:lnTo>
                    <a:pt x="648" y="840"/>
                  </a:lnTo>
                  <a:lnTo>
                    <a:pt x="648" y="834"/>
                  </a:lnTo>
                  <a:lnTo>
                    <a:pt x="648" y="828"/>
                  </a:lnTo>
                  <a:lnTo>
                    <a:pt x="648" y="822"/>
                  </a:lnTo>
                  <a:lnTo>
                    <a:pt x="642" y="828"/>
                  </a:lnTo>
                  <a:lnTo>
                    <a:pt x="636" y="828"/>
                  </a:lnTo>
                  <a:lnTo>
                    <a:pt x="630" y="828"/>
                  </a:lnTo>
                  <a:lnTo>
                    <a:pt x="624" y="828"/>
                  </a:lnTo>
                  <a:lnTo>
                    <a:pt x="618" y="828"/>
                  </a:lnTo>
                  <a:lnTo>
                    <a:pt x="618" y="834"/>
                  </a:lnTo>
                  <a:lnTo>
                    <a:pt x="612" y="834"/>
                  </a:lnTo>
                  <a:lnTo>
                    <a:pt x="606" y="834"/>
                  </a:lnTo>
                  <a:lnTo>
                    <a:pt x="606" y="840"/>
                  </a:lnTo>
                  <a:lnTo>
                    <a:pt x="606" y="834"/>
                  </a:lnTo>
                  <a:lnTo>
                    <a:pt x="600" y="834"/>
                  </a:lnTo>
                  <a:lnTo>
                    <a:pt x="600" y="828"/>
                  </a:lnTo>
                  <a:lnTo>
                    <a:pt x="606" y="828"/>
                  </a:lnTo>
                  <a:lnTo>
                    <a:pt x="606" y="822"/>
                  </a:lnTo>
                  <a:lnTo>
                    <a:pt x="600" y="816"/>
                  </a:lnTo>
                  <a:lnTo>
                    <a:pt x="594" y="816"/>
                  </a:lnTo>
                  <a:lnTo>
                    <a:pt x="588" y="816"/>
                  </a:lnTo>
                  <a:lnTo>
                    <a:pt x="594" y="810"/>
                  </a:lnTo>
                  <a:lnTo>
                    <a:pt x="588" y="810"/>
                  </a:lnTo>
                  <a:lnTo>
                    <a:pt x="582" y="810"/>
                  </a:lnTo>
                  <a:lnTo>
                    <a:pt x="576" y="816"/>
                  </a:lnTo>
                  <a:lnTo>
                    <a:pt x="570" y="816"/>
                  </a:lnTo>
                  <a:lnTo>
                    <a:pt x="564" y="816"/>
                  </a:lnTo>
                  <a:lnTo>
                    <a:pt x="564" y="810"/>
                  </a:lnTo>
                  <a:lnTo>
                    <a:pt x="558" y="810"/>
                  </a:lnTo>
                  <a:lnTo>
                    <a:pt x="552" y="810"/>
                  </a:lnTo>
                  <a:lnTo>
                    <a:pt x="552" y="816"/>
                  </a:lnTo>
                  <a:lnTo>
                    <a:pt x="546" y="816"/>
                  </a:lnTo>
                  <a:lnTo>
                    <a:pt x="540" y="816"/>
                  </a:lnTo>
                  <a:lnTo>
                    <a:pt x="540" y="822"/>
                  </a:lnTo>
                  <a:lnTo>
                    <a:pt x="534" y="822"/>
                  </a:lnTo>
                  <a:lnTo>
                    <a:pt x="534" y="816"/>
                  </a:lnTo>
                  <a:lnTo>
                    <a:pt x="528" y="816"/>
                  </a:lnTo>
                  <a:lnTo>
                    <a:pt x="522" y="816"/>
                  </a:lnTo>
                  <a:lnTo>
                    <a:pt x="522" y="822"/>
                  </a:lnTo>
                  <a:lnTo>
                    <a:pt x="516" y="816"/>
                  </a:lnTo>
                  <a:lnTo>
                    <a:pt x="510" y="816"/>
                  </a:lnTo>
                  <a:lnTo>
                    <a:pt x="510" y="822"/>
                  </a:lnTo>
                  <a:lnTo>
                    <a:pt x="504" y="822"/>
                  </a:lnTo>
                  <a:lnTo>
                    <a:pt x="498" y="828"/>
                  </a:lnTo>
                  <a:lnTo>
                    <a:pt x="498" y="822"/>
                  </a:lnTo>
                  <a:lnTo>
                    <a:pt x="498" y="816"/>
                  </a:lnTo>
                  <a:lnTo>
                    <a:pt x="492" y="816"/>
                  </a:lnTo>
                  <a:lnTo>
                    <a:pt x="492" y="810"/>
                  </a:lnTo>
                  <a:lnTo>
                    <a:pt x="492" y="804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04" y="798"/>
                  </a:lnTo>
                  <a:lnTo>
                    <a:pt x="498" y="798"/>
                  </a:lnTo>
                  <a:lnTo>
                    <a:pt x="498" y="792"/>
                  </a:lnTo>
                  <a:lnTo>
                    <a:pt x="498" y="786"/>
                  </a:lnTo>
                  <a:lnTo>
                    <a:pt x="498" y="780"/>
                  </a:lnTo>
                  <a:lnTo>
                    <a:pt x="498" y="774"/>
                  </a:lnTo>
                  <a:lnTo>
                    <a:pt x="498" y="768"/>
                  </a:lnTo>
                  <a:lnTo>
                    <a:pt x="492" y="762"/>
                  </a:lnTo>
                  <a:lnTo>
                    <a:pt x="492" y="756"/>
                  </a:lnTo>
                  <a:lnTo>
                    <a:pt x="486" y="756"/>
                  </a:lnTo>
                  <a:lnTo>
                    <a:pt x="486" y="750"/>
                  </a:lnTo>
                  <a:lnTo>
                    <a:pt x="480" y="750"/>
                  </a:lnTo>
                  <a:lnTo>
                    <a:pt x="480" y="744"/>
                  </a:lnTo>
                  <a:lnTo>
                    <a:pt x="474" y="744"/>
                  </a:lnTo>
                  <a:lnTo>
                    <a:pt x="474" y="738"/>
                  </a:lnTo>
                  <a:lnTo>
                    <a:pt x="474" y="732"/>
                  </a:lnTo>
                  <a:lnTo>
                    <a:pt x="474" y="726"/>
                  </a:lnTo>
                  <a:lnTo>
                    <a:pt x="480" y="726"/>
                  </a:lnTo>
                  <a:lnTo>
                    <a:pt x="474" y="720"/>
                  </a:lnTo>
                  <a:lnTo>
                    <a:pt x="480" y="720"/>
                  </a:lnTo>
                  <a:lnTo>
                    <a:pt x="480" y="714"/>
                  </a:lnTo>
                  <a:lnTo>
                    <a:pt x="480" y="708"/>
                  </a:lnTo>
                  <a:lnTo>
                    <a:pt x="480" y="702"/>
                  </a:lnTo>
                  <a:lnTo>
                    <a:pt x="480" y="696"/>
                  </a:lnTo>
                  <a:lnTo>
                    <a:pt x="480" y="690"/>
                  </a:lnTo>
                  <a:lnTo>
                    <a:pt x="480" y="684"/>
                  </a:lnTo>
                  <a:lnTo>
                    <a:pt x="480" y="678"/>
                  </a:lnTo>
                  <a:lnTo>
                    <a:pt x="480" y="672"/>
                  </a:lnTo>
                  <a:lnTo>
                    <a:pt x="474" y="666"/>
                  </a:lnTo>
                  <a:lnTo>
                    <a:pt x="474" y="660"/>
                  </a:lnTo>
                  <a:lnTo>
                    <a:pt x="474" y="654"/>
                  </a:lnTo>
                  <a:lnTo>
                    <a:pt x="474" y="648"/>
                  </a:lnTo>
                  <a:lnTo>
                    <a:pt x="474" y="642"/>
                  </a:lnTo>
                  <a:lnTo>
                    <a:pt x="480" y="642"/>
                  </a:lnTo>
                  <a:lnTo>
                    <a:pt x="474" y="642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80" y="636"/>
                  </a:lnTo>
                  <a:lnTo>
                    <a:pt x="474" y="636"/>
                  </a:lnTo>
                  <a:lnTo>
                    <a:pt x="474" y="630"/>
                  </a:lnTo>
                  <a:lnTo>
                    <a:pt x="432" y="630"/>
                  </a:lnTo>
                  <a:lnTo>
                    <a:pt x="414" y="630"/>
                  </a:lnTo>
                  <a:lnTo>
                    <a:pt x="414" y="624"/>
                  </a:lnTo>
                  <a:lnTo>
                    <a:pt x="414" y="618"/>
                  </a:lnTo>
                  <a:lnTo>
                    <a:pt x="414" y="612"/>
                  </a:lnTo>
                  <a:lnTo>
                    <a:pt x="402" y="612"/>
                  </a:lnTo>
                  <a:lnTo>
                    <a:pt x="402" y="618"/>
                  </a:lnTo>
                  <a:lnTo>
                    <a:pt x="360" y="618"/>
                  </a:lnTo>
                  <a:lnTo>
                    <a:pt x="366" y="618"/>
                  </a:lnTo>
                  <a:lnTo>
                    <a:pt x="360" y="618"/>
                  </a:lnTo>
                  <a:lnTo>
                    <a:pt x="360" y="624"/>
                  </a:lnTo>
                  <a:lnTo>
                    <a:pt x="360" y="630"/>
                  </a:lnTo>
                  <a:lnTo>
                    <a:pt x="360" y="636"/>
                  </a:lnTo>
                  <a:lnTo>
                    <a:pt x="360" y="642"/>
                  </a:lnTo>
                  <a:lnTo>
                    <a:pt x="354" y="642"/>
                  </a:lnTo>
                  <a:lnTo>
                    <a:pt x="354" y="648"/>
                  </a:lnTo>
                  <a:lnTo>
                    <a:pt x="354" y="654"/>
                  </a:lnTo>
                  <a:lnTo>
                    <a:pt x="354" y="660"/>
                  </a:lnTo>
                  <a:lnTo>
                    <a:pt x="354" y="666"/>
                  </a:lnTo>
                  <a:lnTo>
                    <a:pt x="324" y="666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12" y="666"/>
                  </a:lnTo>
                  <a:lnTo>
                    <a:pt x="306" y="666"/>
                  </a:lnTo>
                  <a:lnTo>
                    <a:pt x="300" y="666"/>
                  </a:lnTo>
                  <a:lnTo>
                    <a:pt x="294" y="666"/>
                  </a:lnTo>
                  <a:lnTo>
                    <a:pt x="288" y="666"/>
                  </a:lnTo>
                  <a:lnTo>
                    <a:pt x="288" y="672"/>
                  </a:lnTo>
                  <a:lnTo>
                    <a:pt x="282" y="672"/>
                  </a:lnTo>
                  <a:lnTo>
                    <a:pt x="282" y="666"/>
                  </a:lnTo>
                  <a:lnTo>
                    <a:pt x="276" y="672"/>
                  </a:lnTo>
                  <a:lnTo>
                    <a:pt x="270" y="672"/>
                  </a:lnTo>
                  <a:lnTo>
                    <a:pt x="264" y="672"/>
                  </a:lnTo>
                  <a:lnTo>
                    <a:pt x="264" y="666"/>
                  </a:lnTo>
                  <a:lnTo>
                    <a:pt x="258" y="666"/>
                  </a:lnTo>
                  <a:lnTo>
                    <a:pt x="258" y="660"/>
                  </a:lnTo>
                  <a:lnTo>
                    <a:pt x="258" y="654"/>
                  </a:lnTo>
                  <a:lnTo>
                    <a:pt x="252" y="654"/>
                  </a:lnTo>
                  <a:lnTo>
                    <a:pt x="252" y="648"/>
                  </a:lnTo>
                  <a:lnTo>
                    <a:pt x="246" y="648"/>
                  </a:lnTo>
                  <a:lnTo>
                    <a:pt x="246" y="642"/>
                  </a:lnTo>
                  <a:lnTo>
                    <a:pt x="246" y="636"/>
                  </a:lnTo>
                  <a:lnTo>
                    <a:pt x="240" y="636"/>
                  </a:lnTo>
                  <a:lnTo>
                    <a:pt x="240" y="630"/>
                  </a:lnTo>
                  <a:lnTo>
                    <a:pt x="234" y="630"/>
                  </a:lnTo>
                  <a:lnTo>
                    <a:pt x="234" y="624"/>
                  </a:lnTo>
                  <a:lnTo>
                    <a:pt x="234" y="618"/>
                  </a:lnTo>
                  <a:lnTo>
                    <a:pt x="234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8" y="600"/>
                  </a:lnTo>
                  <a:lnTo>
                    <a:pt x="228" y="594"/>
                  </a:lnTo>
                  <a:lnTo>
                    <a:pt x="222" y="594"/>
                  </a:lnTo>
                  <a:lnTo>
                    <a:pt x="222" y="588"/>
                  </a:lnTo>
                  <a:lnTo>
                    <a:pt x="222" y="582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70"/>
                  </a:lnTo>
                  <a:lnTo>
                    <a:pt x="216" y="564"/>
                  </a:lnTo>
                  <a:lnTo>
                    <a:pt x="216" y="558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80" y="558"/>
                  </a:lnTo>
                  <a:lnTo>
                    <a:pt x="168" y="558"/>
                  </a:lnTo>
                  <a:lnTo>
                    <a:pt x="162" y="558"/>
                  </a:lnTo>
                  <a:lnTo>
                    <a:pt x="144" y="558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0" y="558"/>
                  </a:lnTo>
                  <a:lnTo>
                    <a:pt x="114" y="558"/>
                  </a:lnTo>
                  <a:lnTo>
                    <a:pt x="108" y="558"/>
                  </a:lnTo>
                  <a:lnTo>
                    <a:pt x="102" y="558"/>
                  </a:lnTo>
                  <a:lnTo>
                    <a:pt x="96" y="558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78" y="558"/>
                  </a:lnTo>
                  <a:lnTo>
                    <a:pt x="66" y="558"/>
                  </a:lnTo>
                  <a:lnTo>
                    <a:pt x="60" y="558"/>
                  </a:lnTo>
                  <a:lnTo>
                    <a:pt x="54" y="558"/>
                  </a:lnTo>
                  <a:lnTo>
                    <a:pt x="48" y="558"/>
                  </a:lnTo>
                  <a:lnTo>
                    <a:pt x="42" y="558"/>
                  </a:lnTo>
                  <a:lnTo>
                    <a:pt x="36" y="558"/>
                  </a:lnTo>
                  <a:lnTo>
                    <a:pt x="30" y="558"/>
                  </a:lnTo>
                  <a:lnTo>
                    <a:pt x="30" y="564"/>
                  </a:lnTo>
                  <a:lnTo>
                    <a:pt x="24" y="564"/>
                  </a:lnTo>
                  <a:lnTo>
                    <a:pt x="18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12" y="570"/>
                  </a:lnTo>
                  <a:lnTo>
                    <a:pt x="12" y="564"/>
                  </a:lnTo>
                  <a:lnTo>
                    <a:pt x="6" y="564"/>
                  </a:lnTo>
                  <a:lnTo>
                    <a:pt x="0" y="558"/>
                  </a:lnTo>
                  <a:lnTo>
                    <a:pt x="0" y="55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5" name="Freeform 48"/>
            <p:cNvSpPr>
              <a:spLocks noChangeAspect="1"/>
            </p:cNvSpPr>
            <p:nvPr>
              <p:custDataLst>
                <p:tags r:id="rId30"/>
              </p:custDataLst>
            </p:nvPr>
          </p:nvSpPr>
          <p:spPr bwMode="auto">
            <a:xfrm>
              <a:off x="2978" y="1387"/>
              <a:ext cx="709" cy="831"/>
            </a:xfrm>
            <a:custGeom>
              <a:avLst/>
              <a:gdLst>
                <a:gd name="T0" fmla="*/ 251 w 834"/>
                <a:gd name="T1" fmla="*/ 28 h 978"/>
                <a:gd name="T2" fmla="*/ 360 w 834"/>
                <a:gd name="T3" fmla="*/ 0 h 978"/>
                <a:gd name="T4" fmla="*/ 364 w 834"/>
                <a:gd name="T5" fmla="*/ 9 h 978"/>
                <a:gd name="T6" fmla="*/ 385 w 834"/>
                <a:gd name="T7" fmla="*/ 25 h 978"/>
                <a:gd name="T8" fmla="*/ 392 w 834"/>
                <a:gd name="T9" fmla="*/ 43 h 978"/>
                <a:gd name="T10" fmla="*/ 401 w 834"/>
                <a:gd name="T11" fmla="*/ 54 h 978"/>
                <a:gd name="T12" fmla="*/ 398 w 834"/>
                <a:gd name="T13" fmla="*/ 69 h 978"/>
                <a:gd name="T14" fmla="*/ 401 w 834"/>
                <a:gd name="T15" fmla="*/ 82 h 978"/>
                <a:gd name="T16" fmla="*/ 404 w 834"/>
                <a:gd name="T17" fmla="*/ 100 h 978"/>
                <a:gd name="T18" fmla="*/ 407 w 834"/>
                <a:gd name="T19" fmla="*/ 116 h 978"/>
                <a:gd name="T20" fmla="*/ 423 w 834"/>
                <a:gd name="T21" fmla="*/ 122 h 978"/>
                <a:gd name="T22" fmla="*/ 429 w 834"/>
                <a:gd name="T23" fmla="*/ 128 h 978"/>
                <a:gd name="T24" fmla="*/ 423 w 834"/>
                <a:gd name="T25" fmla="*/ 144 h 978"/>
                <a:gd name="T26" fmla="*/ 407 w 834"/>
                <a:gd name="T27" fmla="*/ 153 h 978"/>
                <a:gd name="T28" fmla="*/ 392 w 834"/>
                <a:gd name="T29" fmla="*/ 169 h 978"/>
                <a:gd name="T30" fmla="*/ 389 w 834"/>
                <a:gd name="T31" fmla="*/ 188 h 978"/>
                <a:gd name="T32" fmla="*/ 383 w 834"/>
                <a:gd name="T33" fmla="*/ 216 h 978"/>
                <a:gd name="T34" fmla="*/ 379 w 834"/>
                <a:gd name="T35" fmla="*/ 244 h 978"/>
                <a:gd name="T36" fmla="*/ 373 w 834"/>
                <a:gd name="T37" fmla="*/ 269 h 978"/>
                <a:gd name="T38" fmla="*/ 350 w 834"/>
                <a:gd name="T39" fmla="*/ 288 h 978"/>
                <a:gd name="T40" fmla="*/ 342 w 834"/>
                <a:gd name="T41" fmla="*/ 316 h 978"/>
                <a:gd name="T42" fmla="*/ 326 w 834"/>
                <a:gd name="T43" fmla="*/ 322 h 978"/>
                <a:gd name="T44" fmla="*/ 322 w 834"/>
                <a:gd name="T45" fmla="*/ 344 h 978"/>
                <a:gd name="T46" fmla="*/ 314 w 834"/>
                <a:gd name="T47" fmla="*/ 378 h 978"/>
                <a:gd name="T48" fmla="*/ 294 w 834"/>
                <a:gd name="T49" fmla="*/ 382 h 978"/>
                <a:gd name="T50" fmla="*/ 292 w 834"/>
                <a:gd name="T51" fmla="*/ 397 h 978"/>
                <a:gd name="T52" fmla="*/ 310 w 834"/>
                <a:gd name="T53" fmla="*/ 401 h 978"/>
                <a:gd name="T54" fmla="*/ 322 w 834"/>
                <a:gd name="T55" fmla="*/ 416 h 978"/>
                <a:gd name="T56" fmla="*/ 335 w 834"/>
                <a:gd name="T57" fmla="*/ 425 h 978"/>
                <a:gd name="T58" fmla="*/ 342 w 834"/>
                <a:gd name="T59" fmla="*/ 444 h 978"/>
                <a:gd name="T60" fmla="*/ 364 w 834"/>
                <a:gd name="T61" fmla="*/ 464 h 978"/>
                <a:gd name="T62" fmla="*/ 355 w 834"/>
                <a:gd name="T63" fmla="*/ 478 h 978"/>
                <a:gd name="T64" fmla="*/ 332 w 834"/>
                <a:gd name="T65" fmla="*/ 476 h 978"/>
                <a:gd name="T66" fmla="*/ 288 w 834"/>
                <a:gd name="T67" fmla="*/ 500 h 978"/>
                <a:gd name="T68" fmla="*/ 257 w 834"/>
                <a:gd name="T69" fmla="*/ 504 h 978"/>
                <a:gd name="T70" fmla="*/ 235 w 834"/>
                <a:gd name="T71" fmla="*/ 506 h 978"/>
                <a:gd name="T72" fmla="*/ 225 w 834"/>
                <a:gd name="T73" fmla="*/ 497 h 978"/>
                <a:gd name="T74" fmla="*/ 210 w 834"/>
                <a:gd name="T75" fmla="*/ 482 h 978"/>
                <a:gd name="T76" fmla="*/ 190 w 834"/>
                <a:gd name="T77" fmla="*/ 488 h 978"/>
                <a:gd name="T78" fmla="*/ 182 w 834"/>
                <a:gd name="T79" fmla="*/ 484 h 978"/>
                <a:gd name="T80" fmla="*/ 162 w 834"/>
                <a:gd name="T81" fmla="*/ 484 h 978"/>
                <a:gd name="T82" fmla="*/ 154 w 834"/>
                <a:gd name="T83" fmla="*/ 476 h 978"/>
                <a:gd name="T84" fmla="*/ 142 w 834"/>
                <a:gd name="T85" fmla="*/ 454 h 978"/>
                <a:gd name="T86" fmla="*/ 122 w 834"/>
                <a:gd name="T87" fmla="*/ 441 h 978"/>
                <a:gd name="T88" fmla="*/ 113 w 834"/>
                <a:gd name="T89" fmla="*/ 422 h 978"/>
                <a:gd name="T90" fmla="*/ 97 w 834"/>
                <a:gd name="T91" fmla="*/ 413 h 978"/>
                <a:gd name="T92" fmla="*/ 88 w 834"/>
                <a:gd name="T93" fmla="*/ 394 h 978"/>
                <a:gd name="T94" fmla="*/ 69 w 834"/>
                <a:gd name="T95" fmla="*/ 385 h 978"/>
                <a:gd name="T96" fmla="*/ 60 w 834"/>
                <a:gd name="T97" fmla="*/ 376 h 978"/>
                <a:gd name="T98" fmla="*/ 43 w 834"/>
                <a:gd name="T99" fmla="*/ 365 h 978"/>
                <a:gd name="T100" fmla="*/ 51 w 834"/>
                <a:gd name="T101" fmla="*/ 344 h 978"/>
                <a:gd name="T102" fmla="*/ 31 w 834"/>
                <a:gd name="T103" fmla="*/ 313 h 978"/>
                <a:gd name="T104" fmla="*/ 19 w 834"/>
                <a:gd name="T105" fmla="*/ 285 h 978"/>
                <a:gd name="T106" fmla="*/ 7 w 834"/>
                <a:gd name="T107" fmla="*/ 272 h 978"/>
                <a:gd name="T108" fmla="*/ 9 w 834"/>
                <a:gd name="T109" fmla="*/ 257 h 978"/>
                <a:gd name="T110" fmla="*/ 16 w 834"/>
                <a:gd name="T111" fmla="*/ 235 h 978"/>
                <a:gd name="T112" fmla="*/ 19 w 834"/>
                <a:gd name="T113" fmla="*/ 218 h 978"/>
                <a:gd name="T114" fmla="*/ 31 w 834"/>
                <a:gd name="T115" fmla="*/ 206 h 978"/>
                <a:gd name="T116" fmla="*/ 37 w 834"/>
                <a:gd name="T117" fmla="*/ 195 h 978"/>
                <a:gd name="T118" fmla="*/ 56 w 834"/>
                <a:gd name="T119" fmla="*/ 93 h 9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34" h="978">
                  <a:moveTo>
                    <a:pt x="108" y="180"/>
                  </a:moveTo>
                  <a:lnTo>
                    <a:pt x="108" y="156"/>
                  </a:lnTo>
                  <a:lnTo>
                    <a:pt x="162" y="156"/>
                  </a:lnTo>
                  <a:lnTo>
                    <a:pt x="162" y="54"/>
                  </a:lnTo>
                  <a:lnTo>
                    <a:pt x="168" y="54"/>
                  </a:lnTo>
                  <a:lnTo>
                    <a:pt x="234" y="54"/>
                  </a:lnTo>
                  <a:lnTo>
                    <a:pt x="474" y="54"/>
                  </a:lnTo>
                  <a:lnTo>
                    <a:pt x="474" y="48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504" y="54"/>
                  </a:lnTo>
                  <a:lnTo>
                    <a:pt x="510" y="54"/>
                  </a:lnTo>
                  <a:lnTo>
                    <a:pt x="564" y="54"/>
                  </a:lnTo>
                  <a:lnTo>
                    <a:pt x="582" y="72"/>
                  </a:lnTo>
                  <a:lnTo>
                    <a:pt x="606" y="66"/>
                  </a:lnTo>
                  <a:lnTo>
                    <a:pt x="612" y="48"/>
                  </a:lnTo>
                  <a:lnTo>
                    <a:pt x="642" y="42"/>
                  </a:lnTo>
                  <a:lnTo>
                    <a:pt x="654" y="12"/>
                  </a:lnTo>
                  <a:lnTo>
                    <a:pt x="666" y="18"/>
                  </a:lnTo>
                  <a:lnTo>
                    <a:pt x="690" y="0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0" y="6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0" y="12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696" y="12"/>
                  </a:lnTo>
                  <a:lnTo>
                    <a:pt x="696" y="18"/>
                  </a:lnTo>
                  <a:lnTo>
                    <a:pt x="702" y="18"/>
                  </a:lnTo>
                  <a:lnTo>
                    <a:pt x="702" y="24"/>
                  </a:lnTo>
                  <a:lnTo>
                    <a:pt x="708" y="24"/>
                  </a:lnTo>
                  <a:lnTo>
                    <a:pt x="714" y="24"/>
                  </a:lnTo>
                  <a:lnTo>
                    <a:pt x="720" y="24"/>
                  </a:lnTo>
                  <a:lnTo>
                    <a:pt x="720" y="30"/>
                  </a:lnTo>
                  <a:lnTo>
                    <a:pt x="726" y="36"/>
                  </a:lnTo>
                  <a:lnTo>
                    <a:pt x="732" y="42"/>
                  </a:lnTo>
                  <a:lnTo>
                    <a:pt x="738" y="42"/>
                  </a:lnTo>
                  <a:lnTo>
                    <a:pt x="738" y="48"/>
                  </a:lnTo>
                  <a:lnTo>
                    <a:pt x="744" y="48"/>
                  </a:lnTo>
                  <a:lnTo>
                    <a:pt x="744" y="54"/>
                  </a:lnTo>
                  <a:lnTo>
                    <a:pt x="750" y="54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0" y="72"/>
                  </a:lnTo>
                  <a:lnTo>
                    <a:pt x="750" y="78"/>
                  </a:lnTo>
                  <a:lnTo>
                    <a:pt x="756" y="78"/>
                  </a:lnTo>
                  <a:lnTo>
                    <a:pt x="756" y="84"/>
                  </a:lnTo>
                  <a:lnTo>
                    <a:pt x="750" y="84"/>
                  </a:lnTo>
                  <a:lnTo>
                    <a:pt x="756" y="84"/>
                  </a:lnTo>
                  <a:lnTo>
                    <a:pt x="756" y="90"/>
                  </a:lnTo>
                  <a:lnTo>
                    <a:pt x="762" y="90"/>
                  </a:lnTo>
                  <a:lnTo>
                    <a:pt x="762" y="96"/>
                  </a:lnTo>
                  <a:lnTo>
                    <a:pt x="768" y="96"/>
                  </a:lnTo>
                  <a:lnTo>
                    <a:pt x="768" y="102"/>
                  </a:lnTo>
                  <a:lnTo>
                    <a:pt x="774" y="102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68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96"/>
                  </a:lnTo>
                  <a:lnTo>
                    <a:pt x="762" y="102"/>
                  </a:lnTo>
                  <a:lnTo>
                    <a:pt x="762" y="108"/>
                  </a:lnTo>
                  <a:lnTo>
                    <a:pt x="762" y="114"/>
                  </a:lnTo>
                  <a:lnTo>
                    <a:pt x="762" y="120"/>
                  </a:lnTo>
                  <a:lnTo>
                    <a:pt x="768" y="126"/>
                  </a:lnTo>
                  <a:lnTo>
                    <a:pt x="768" y="132"/>
                  </a:lnTo>
                  <a:lnTo>
                    <a:pt x="762" y="132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38"/>
                  </a:lnTo>
                  <a:lnTo>
                    <a:pt x="762" y="138"/>
                  </a:lnTo>
                  <a:lnTo>
                    <a:pt x="768" y="144"/>
                  </a:lnTo>
                  <a:lnTo>
                    <a:pt x="768" y="150"/>
                  </a:lnTo>
                  <a:lnTo>
                    <a:pt x="768" y="156"/>
                  </a:lnTo>
                  <a:lnTo>
                    <a:pt x="768" y="150"/>
                  </a:lnTo>
                  <a:lnTo>
                    <a:pt x="762" y="156"/>
                  </a:lnTo>
                  <a:lnTo>
                    <a:pt x="768" y="156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68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74" y="186"/>
                  </a:lnTo>
                  <a:lnTo>
                    <a:pt x="768" y="192"/>
                  </a:lnTo>
                  <a:lnTo>
                    <a:pt x="774" y="192"/>
                  </a:lnTo>
                  <a:lnTo>
                    <a:pt x="774" y="198"/>
                  </a:lnTo>
                  <a:lnTo>
                    <a:pt x="774" y="204"/>
                  </a:lnTo>
                  <a:lnTo>
                    <a:pt x="774" y="210"/>
                  </a:lnTo>
                  <a:lnTo>
                    <a:pt x="780" y="216"/>
                  </a:lnTo>
                  <a:lnTo>
                    <a:pt x="774" y="210"/>
                  </a:lnTo>
                  <a:lnTo>
                    <a:pt x="780" y="210"/>
                  </a:lnTo>
                  <a:lnTo>
                    <a:pt x="774" y="210"/>
                  </a:lnTo>
                  <a:lnTo>
                    <a:pt x="774" y="216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0" y="216"/>
                  </a:lnTo>
                  <a:lnTo>
                    <a:pt x="780" y="222"/>
                  </a:lnTo>
                  <a:lnTo>
                    <a:pt x="786" y="222"/>
                  </a:lnTo>
                  <a:lnTo>
                    <a:pt x="786" y="216"/>
                  </a:lnTo>
                  <a:lnTo>
                    <a:pt x="792" y="222"/>
                  </a:lnTo>
                  <a:lnTo>
                    <a:pt x="798" y="222"/>
                  </a:lnTo>
                  <a:lnTo>
                    <a:pt x="798" y="228"/>
                  </a:lnTo>
                  <a:lnTo>
                    <a:pt x="804" y="228"/>
                  </a:lnTo>
                  <a:lnTo>
                    <a:pt x="804" y="234"/>
                  </a:lnTo>
                  <a:lnTo>
                    <a:pt x="810" y="234"/>
                  </a:lnTo>
                  <a:lnTo>
                    <a:pt x="810" y="240"/>
                  </a:lnTo>
                  <a:lnTo>
                    <a:pt x="810" y="246"/>
                  </a:lnTo>
                  <a:lnTo>
                    <a:pt x="816" y="246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22" y="240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22" y="246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28" y="252"/>
                  </a:lnTo>
                  <a:lnTo>
                    <a:pt x="834" y="252"/>
                  </a:lnTo>
                  <a:lnTo>
                    <a:pt x="834" y="258"/>
                  </a:lnTo>
                  <a:lnTo>
                    <a:pt x="828" y="258"/>
                  </a:lnTo>
                  <a:lnTo>
                    <a:pt x="822" y="270"/>
                  </a:lnTo>
                  <a:lnTo>
                    <a:pt x="822" y="276"/>
                  </a:lnTo>
                  <a:lnTo>
                    <a:pt x="816" y="276"/>
                  </a:lnTo>
                  <a:lnTo>
                    <a:pt x="810" y="276"/>
                  </a:lnTo>
                  <a:lnTo>
                    <a:pt x="810" y="282"/>
                  </a:lnTo>
                  <a:lnTo>
                    <a:pt x="810" y="276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2"/>
                  </a:lnTo>
                  <a:lnTo>
                    <a:pt x="792" y="282"/>
                  </a:lnTo>
                  <a:lnTo>
                    <a:pt x="792" y="288"/>
                  </a:lnTo>
                  <a:lnTo>
                    <a:pt x="786" y="288"/>
                  </a:lnTo>
                  <a:lnTo>
                    <a:pt x="780" y="288"/>
                  </a:lnTo>
                  <a:lnTo>
                    <a:pt x="780" y="294"/>
                  </a:lnTo>
                  <a:lnTo>
                    <a:pt x="780" y="300"/>
                  </a:lnTo>
                  <a:lnTo>
                    <a:pt x="774" y="300"/>
                  </a:lnTo>
                  <a:lnTo>
                    <a:pt x="768" y="300"/>
                  </a:lnTo>
                  <a:lnTo>
                    <a:pt x="762" y="300"/>
                  </a:lnTo>
                  <a:lnTo>
                    <a:pt x="756" y="300"/>
                  </a:lnTo>
                  <a:lnTo>
                    <a:pt x="756" y="306"/>
                  </a:lnTo>
                  <a:lnTo>
                    <a:pt x="756" y="312"/>
                  </a:lnTo>
                  <a:lnTo>
                    <a:pt x="756" y="318"/>
                  </a:lnTo>
                  <a:lnTo>
                    <a:pt x="750" y="318"/>
                  </a:lnTo>
                  <a:lnTo>
                    <a:pt x="750" y="324"/>
                  </a:lnTo>
                  <a:lnTo>
                    <a:pt x="750" y="330"/>
                  </a:lnTo>
                  <a:lnTo>
                    <a:pt x="756" y="330"/>
                  </a:lnTo>
                  <a:lnTo>
                    <a:pt x="756" y="336"/>
                  </a:lnTo>
                  <a:lnTo>
                    <a:pt x="750" y="336"/>
                  </a:lnTo>
                  <a:lnTo>
                    <a:pt x="750" y="342"/>
                  </a:lnTo>
                  <a:lnTo>
                    <a:pt x="756" y="342"/>
                  </a:lnTo>
                  <a:lnTo>
                    <a:pt x="750" y="342"/>
                  </a:lnTo>
                  <a:lnTo>
                    <a:pt x="750" y="348"/>
                  </a:lnTo>
                  <a:lnTo>
                    <a:pt x="744" y="354"/>
                  </a:lnTo>
                  <a:lnTo>
                    <a:pt x="744" y="360"/>
                  </a:lnTo>
                  <a:lnTo>
                    <a:pt x="744" y="366"/>
                  </a:lnTo>
                  <a:lnTo>
                    <a:pt x="738" y="366"/>
                  </a:lnTo>
                  <a:lnTo>
                    <a:pt x="738" y="378"/>
                  </a:lnTo>
                  <a:lnTo>
                    <a:pt x="738" y="384"/>
                  </a:lnTo>
                  <a:lnTo>
                    <a:pt x="732" y="390"/>
                  </a:lnTo>
                  <a:lnTo>
                    <a:pt x="732" y="396"/>
                  </a:lnTo>
                  <a:lnTo>
                    <a:pt x="726" y="396"/>
                  </a:lnTo>
                  <a:lnTo>
                    <a:pt x="726" y="402"/>
                  </a:lnTo>
                  <a:lnTo>
                    <a:pt x="732" y="408"/>
                  </a:lnTo>
                  <a:lnTo>
                    <a:pt x="732" y="414"/>
                  </a:lnTo>
                  <a:lnTo>
                    <a:pt x="732" y="426"/>
                  </a:lnTo>
                  <a:lnTo>
                    <a:pt x="732" y="432"/>
                  </a:lnTo>
                  <a:lnTo>
                    <a:pt x="732" y="438"/>
                  </a:lnTo>
                  <a:lnTo>
                    <a:pt x="732" y="444"/>
                  </a:lnTo>
                  <a:lnTo>
                    <a:pt x="732" y="450"/>
                  </a:lnTo>
                  <a:lnTo>
                    <a:pt x="732" y="456"/>
                  </a:lnTo>
                  <a:lnTo>
                    <a:pt x="726" y="456"/>
                  </a:lnTo>
                  <a:lnTo>
                    <a:pt x="732" y="456"/>
                  </a:lnTo>
                  <a:lnTo>
                    <a:pt x="732" y="462"/>
                  </a:lnTo>
                  <a:lnTo>
                    <a:pt x="726" y="468"/>
                  </a:lnTo>
                  <a:lnTo>
                    <a:pt x="726" y="474"/>
                  </a:lnTo>
                  <a:lnTo>
                    <a:pt x="726" y="480"/>
                  </a:lnTo>
                  <a:lnTo>
                    <a:pt x="720" y="480"/>
                  </a:lnTo>
                  <a:lnTo>
                    <a:pt x="720" y="486"/>
                  </a:lnTo>
                  <a:lnTo>
                    <a:pt x="720" y="492"/>
                  </a:lnTo>
                  <a:lnTo>
                    <a:pt x="714" y="504"/>
                  </a:lnTo>
                  <a:lnTo>
                    <a:pt x="714" y="510"/>
                  </a:lnTo>
                  <a:lnTo>
                    <a:pt x="714" y="516"/>
                  </a:lnTo>
                  <a:lnTo>
                    <a:pt x="714" y="522"/>
                  </a:lnTo>
                  <a:lnTo>
                    <a:pt x="714" y="516"/>
                  </a:lnTo>
                  <a:lnTo>
                    <a:pt x="708" y="516"/>
                  </a:lnTo>
                  <a:lnTo>
                    <a:pt x="702" y="516"/>
                  </a:lnTo>
                  <a:lnTo>
                    <a:pt x="696" y="522"/>
                  </a:lnTo>
                  <a:lnTo>
                    <a:pt x="690" y="522"/>
                  </a:lnTo>
                  <a:lnTo>
                    <a:pt x="684" y="528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72" y="546"/>
                  </a:lnTo>
                  <a:lnTo>
                    <a:pt x="672" y="552"/>
                  </a:lnTo>
                  <a:lnTo>
                    <a:pt x="672" y="558"/>
                  </a:lnTo>
                  <a:lnTo>
                    <a:pt x="666" y="558"/>
                  </a:lnTo>
                  <a:lnTo>
                    <a:pt x="660" y="564"/>
                  </a:lnTo>
                  <a:lnTo>
                    <a:pt x="660" y="570"/>
                  </a:lnTo>
                  <a:lnTo>
                    <a:pt x="660" y="576"/>
                  </a:lnTo>
                  <a:lnTo>
                    <a:pt x="660" y="582"/>
                  </a:lnTo>
                  <a:lnTo>
                    <a:pt x="654" y="588"/>
                  </a:lnTo>
                  <a:lnTo>
                    <a:pt x="654" y="594"/>
                  </a:lnTo>
                  <a:lnTo>
                    <a:pt x="654" y="600"/>
                  </a:lnTo>
                  <a:lnTo>
                    <a:pt x="654" y="606"/>
                  </a:lnTo>
                  <a:lnTo>
                    <a:pt x="654" y="612"/>
                  </a:lnTo>
                  <a:lnTo>
                    <a:pt x="648" y="612"/>
                  </a:lnTo>
                  <a:lnTo>
                    <a:pt x="648" y="618"/>
                  </a:lnTo>
                  <a:lnTo>
                    <a:pt x="648" y="612"/>
                  </a:lnTo>
                  <a:lnTo>
                    <a:pt x="642" y="612"/>
                  </a:lnTo>
                  <a:lnTo>
                    <a:pt x="636" y="606"/>
                  </a:lnTo>
                  <a:lnTo>
                    <a:pt x="636" y="612"/>
                  </a:lnTo>
                  <a:lnTo>
                    <a:pt x="630" y="612"/>
                  </a:lnTo>
                  <a:lnTo>
                    <a:pt x="630" y="618"/>
                  </a:lnTo>
                  <a:lnTo>
                    <a:pt x="624" y="618"/>
                  </a:lnTo>
                  <a:lnTo>
                    <a:pt x="624" y="624"/>
                  </a:lnTo>
                  <a:lnTo>
                    <a:pt x="618" y="624"/>
                  </a:lnTo>
                  <a:lnTo>
                    <a:pt x="618" y="630"/>
                  </a:lnTo>
                  <a:lnTo>
                    <a:pt x="624" y="630"/>
                  </a:lnTo>
                  <a:lnTo>
                    <a:pt x="624" y="636"/>
                  </a:lnTo>
                  <a:lnTo>
                    <a:pt x="624" y="642"/>
                  </a:lnTo>
                  <a:lnTo>
                    <a:pt x="624" y="648"/>
                  </a:lnTo>
                  <a:lnTo>
                    <a:pt x="618" y="648"/>
                  </a:lnTo>
                  <a:lnTo>
                    <a:pt x="618" y="654"/>
                  </a:lnTo>
                  <a:lnTo>
                    <a:pt x="618" y="660"/>
                  </a:lnTo>
                  <a:lnTo>
                    <a:pt x="612" y="666"/>
                  </a:lnTo>
                  <a:lnTo>
                    <a:pt x="612" y="672"/>
                  </a:lnTo>
                  <a:lnTo>
                    <a:pt x="612" y="678"/>
                  </a:lnTo>
                  <a:lnTo>
                    <a:pt x="612" y="690"/>
                  </a:lnTo>
                  <a:lnTo>
                    <a:pt x="612" y="702"/>
                  </a:lnTo>
                  <a:lnTo>
                    <a:pt x="612" y="714"/>
                  </a:lnTo>
                  <a:lnTo>
                    <a:pt x="612" y="720"/>
                  </a:lnTo>
                  <a:lnTo>
                    <a:pt x="612" y="726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600" y="732"/>
                  </a:lnTo>
                  <a:lnTo>
                    <a:pt x="594" y="732"/>
                  </a:lnTo>
                  <a:lnTo>
                    <a:pt x="588" y="732"/>
                  </a:lnTo>
                  <a:lnTo>
                    <a:pt x="588" y="726"/>
                  </a:lnTo>
                  <a:lnTo>
                    <a:pt x="588" y="732"/>
                  </a:lnTo>
                  <a:lnTo>
                    <a:pt x="582" y="726"/>
                  </a:lnTo>
                  <a:lnTo>
                    <a:pt x="582" y="732"/>
                  </a:lnTo>
                  <a:lnTo>
                    <a:pt x="576" y="732"/>
                  </a:lnTo>
                  <a:lnTo>
                    <a:pt x="570" y="732"/>
                  </a:lnTo>
                  <a:lnTo>
                    <a:pt x="564" y="732"/>
                  </a:lnTo>
                  <a:lnTo>
                    <a:pt x="570" y="732"/>
                  </a:lnTo>
                  <a:lnTo>
                    <a:pt x="570" y="738"/>
                  </a:lnTo>
                  <a:lnTo>
                    <a:pt x="564" y="738"/>
                  </a:lnTo>
                  <a:lnTo>
                    <a:pt x="564" y="744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64" y="750"/>
                  </a:lnTo>
                  <a:lnTo>
                    <a:pt x="558" y="750"/>
                  </a:lnTo>
                  <a:lnTo>
                    <a:pt x="558" y="756"/>
                  </a:lnTo>
                  <a:lnTo>
                    <a:pt x="558" y="762"/>
                  </a:lnTo>
                  <a:lnTo>
                    <a:pt x="564" y="762"/>
                  </a:lnTo>
                  <a:lnTo>
                    <a:pt x="570" y="762"/>
                  </a:lnTo>
                  <a:lnTo>
                    <a:pt x="570" y="768"/>
                  </a:lnTo>
                  <a:lnTo>
                    <a:pt x="576" y="768"/>
                  </a:lnTo>
                  <a:lnTo>
                    <a:pt x="576" y="762"/>
                  </a:lnTo>
                  <a:lnTo>
                    <a:pt x="582" y="768"/>
                  </a:lnTo>
                  <a:lnTo>
                    <a:pt x="582" y="762"/>
                  </a:lnTo>
                  <a:lnTo>
                    <a:pt x="582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88" y="768"/>
                  </a:lnTo>
                  <a:lnTo>
                    <a:pt x="594" y="768"/>
                  </a:lnTo>
                  <a:lnTo>
                    <a:pt x="594" y="774"/>
                  </a:lnTo>
                  <a:lnTo>
                    <a:pt x="600" y="774"/>
                  </a:lnTo>
                  <a:lnTo>
                    <a:pt x="606" y="774"/>
                  </a:lnTo>
                  <a:lnTo>
                    <a:pt x="606" y="780"/>
                  </a:lnTo>
                  <a:lnTo>
                    <a:pt x="606" y="786"/>
                  </a:lnTo>
                  <a:lnTo>
                    <a:pt x="606" y="792"/>
                  </a:lnTo>
                  <a:lnTo>
                    <a:pt x="612" y="792"/>
                  </a:lnTo>
                  <a:lnTo>
                    <a:pt x="618" y="798"/>
                  </a:lnTo>
                  <a:lnTo>
                    <a:pt x="618" y="804"/>
                  </a:lnTo>
                  <a:lnTo>
                    <a:pt x="624" y="804"/>
                  </a:lnTo>
                  <a:lnTo>
                    <a:pt x="630" y="804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0"/>
                  </a:lnTo>
                  <a:lnTo>
                    <a:pt x="636" y="810"/>
                  </a:lnTo>
                  <a:lnTo>
                    <a:pt x="630" y="816"/>
                  </a:lnTo>
                  <a:lnTo>
                    <a:pt x="636" y="816"/>
                  </a:lnTo>
                  <a:lnTo>
                    <a:pt x="642" y="816"/>
                  </a:lnTo>
                  <a:lnTo>
                    <a:pt x="642" y="822"/>
                  </a:lnTo>
                  <a:lnTo>
                    <a:pt x="648" y="822"/>
                  </a:lnTo>
                  <a:lnTo>
                    <a:pt x="654" y="822"/>
                  </a:lnTo>
                  <a:lnTo>
                    <a:pt x="654" y="828"/>
                  </a:lnTo>
                  <a:lnTo>
                    <a:pt x="660" y="828"/>
                  </a:lnTo>
                  <a:lnTo>
                    <a:pt x="654" y="828"/>
                  </a:lnTo>
                  <a:lnTo>
                    <a:pt x="654" y="834"/>
                  </a:lnTo>
                  <a:lnTo>
                    <a:pt x="654" y="840"/>
                  </a:lnTo>
                  <a:lnTo>
                    <a:pt x="654" y="846"/>
                  </a:lnTo>
                  <a:lnTo>
                    <a:pt x="654" y="852"/>
                  </a:lnTo>
                  <a:lnTo>
                    <a:pt x="654" y="858"/>
                  </a:lnTo>
                  <a:lnTo>
                    <a:pt x="660" y="864"/>
                  </a:lnTo>
                  <a:lnTo>
                    <a:pt x="660" y="870"/>
                  </a:lnTo>
                  <a:lnTo>
                    <a:pt x="672" y="876"/>
                  </a:lnTo>
                  <a:lnTo>
                    <a:pt x="672" y="882"/>
                  </a:lnTo>
                  <a:lnTo>
                    <a:pt x="678" y="882"/>
                  </a:lnTo>
                  <a:lnTo>
                    <a:pt x="684" y="882"/>
                  </a:lnTo>
                  <a:lnTo>
                    <a:pt x="690" y="882"/>
                  </a:lnTo>
                  <a:lnTo>
                    <a:pt x="696" y="882"/>
                  </a:lnTo>
                  <a:lnTo>
                    <a:pt x="696" y="888"/>
                  </a:lnTo>
                  <a:lnTo>
                    <a:pt x="702" y="888"/>
                  </a:lnTo>
                  <a:lnTo>
                    <a:pt x="696" y="888"/>
                  </a:lnTo>
                  <a:lnTo>
                    <a:pt x="696" y="894"/>
                  </a:lnTo>
                  <a:lnTo>
                    <a:pt x="702" y="894"/>
                  </a:lnTo>
                  <a:lnTo>
                    <a:pt x="696" y="894"/>
                  </a:lnTo>
                  <a:lnTo>
                    <a:pt x="696" y="912"/>
                  </a:lnTo>
                  <a:lnTo>
                    <a:pt x="702" y="918"/>
                  </a:lnTo>
                  <a:lnTo>
                    <a:pt x="690" y="918"/>
                  </a:lnTo>
                  <a:lnTo>
                    <a:pt x="684" y="918"/>
                  </a:lnTo>
                  <a:lnTo>
                    <a:pt x="678" y="918"/>
                  </a:lnTo>
                  <a:lnTo>
                    <a:pt x="678" y="912"/>
                  </a:lnTo>
                  <a:lnTo>
                    <a:pt x="678" y="906"/>
                  </a:lnTo>
                  <a:lnTo>
                    <a:pt x="672" y="906"/>
                  </a:lnTo>
                  <a:lnTo>
                    <a:pt x="672" y="900"/>
                  </a:lnTo>
                  <a:lnTo>
                    <a:pt x="666" y="900"/>
                  </a:lnTo>
                  <a:lnTo>
                    <a:pt x="660" y="900"/>
                  </a:lnTo>
                  <a:lnTo>
                    <a:pt x="654" y="906"/>
                  </a:lnTo>
                  <a:lnTo>
                    <a:pt x="648" y="906"/>
                  </a:lnTo>
                  <a:lnTo>
                    <a:pt x="642" y="912"/>
                  </a:lnTo>
                  <a:lnTo>
                    <a:pt x="636" y="912"/>
                  </a:lnTo>
                  <a:lnTo>
                    <a:pt x="630" y="912"/>
                  </a:lnTo>
                  <a:lnTo>
                    <a:pt x="624" y="918"/>
                  </a:lnTo>
                  <a:lnTo>
                    <a:pt x="618" y="924"/>
                  </a:lnTo>
                  <a:lnTo>
                    <a:pt x="606" y="936"/>
                  </a:lnTo>
                  <a:lnTo>
                    <a:pt x="606" y="942"/>
                  </a:lnTo>
                  <a:lnTo>
                    <a:pt x="594" y="948"/>
                  </a:lnTo>
                  <a:lnTo>
                    <a:pt x="582" y="966"/>
                  </a:lnTo>
                  <a:lnTo>
                    <a:pt x="564" y="960"/>
                  </a:lnTo>
                  <a:lnTo>
                    <a:pt x="558" y="954"/>
                  </a:lnTo>
                  <a:lnTo>
                    <a:pt x="552" y="960"/>
                  </a:lnTo>
                  <a:lnTo>
                    <a:pt x="540" y="960"/>
                  </a:lnTo>
                  <a:lnTo>
                    <a:pt x="528" y="966"/>
                  </a:lnTo>
                  <a:lnTo>
                    <a:pt x="516" y="972"/>
                  </a:lnTo>
                  <a:lnTo>
                    <a:pt x="510" y="972"/>
                  </a:lnTo>
                  <a:lnTo>
                    <a:pt x="504" y="972"/>
                  </a:lnTo>
                  <a:lnTo>
                    <a:pt x="504" y="966"/>
                  </a:lnTo>
                  <a:lnTo>
                    <a:pt x="504" y="960"/>
                  </a:lnTo>
                  <a:lnTo>
                    <a:pt x="498" y="960"/>
                  </a:lnTo>
                  <a:lnTo>
                    <a:pt x="492" y="960"/>
                  </a:lnTo>
                  <a:lnTo>
                    <a:pt x="492" y="966"/>
                  </a:lnTo>
                  <a:lnTo>
                    <a:pt x="486" y="966"/>
                  </a:lnTo>
                  <a:lnTo>
                    <a:pt x="474" y="960"/>
                  </a:lnTo>
                  <a:lnTo>
                    <a:pt x="468" y="960"/>
                  </a:lnTo>
                  <a:lnTo>
                    <a:pt x="462" y="960"/>
                  </a:lnTo>
                  <a:lnTo>
                    <a:pt x="462" y="966"/>
                  </a:lnTo>
                  <a:lnTo>
                    <a:pt x="456" y="966"/>
                  </a:lnTo>
                  <a:lnTo>
                    <a:pt x="456" y="972"/>
                  </a:lnTo>
                  <a:lnTo>
                    <a:pt x="450" y="972"/>
                  </a:lnTo>
                  <a:lnTo>
                    <a:pt x="450" y="978"/>
                  </a:lnTo>
                  <a:lnTo>
                    <a:pt x="450" y="972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44" y="972"/>
                  </a:lnTo>
                  <a:lnTo>
                    <a:pt x="444" y="966"/>
                  </a:lnTo>
                  <a:lnTo>
                    <a:pt x="438" y="966"/>
                  </a:lnTo>
                  <a:lnTo>
                    <a:pt x="438" y="972"/>
                  </a:lnTo>
                  <a:lnTo>
                    <a:pt x="438" y="966"/>
                  </a:lnTo>
                  <a:lnTo>
                    <a:pt x="438" y="960"/>
                  </a:lnTo>
                  <a:lnTo>
                    <a:pt x="432" y="960"/>
                  </a:lnTo>
                  <a:lnTo>
                    <a:pt x="432" y="954"/>
                  </a:lnTo>
                  <a:lnTo>
                    <a:pt x="426" y="954"/>
                  </a:lnTo>
                  <a:lnTo>
                    <a:pt x="420" y="954"/>
                  </a:lnTo>
                  <a:lnTo>
                    <a:pt x="420" y="948"/>
                  </a:lnTo>
                  <a:lnTo>
                    <a:pt x="414" y="948"/>
                  </a:lnTo>
                  <a:lnTo>
                    <a:pt x="408" y="942"/>
                  </a:lnTo>
                  <a:lnTo>
                    <a:pt x="408" y="936"/>
                  </a:lnTo>
                  <a:lnTo>
                    <a:pt x="402" y="936"/>
                  </a:lnTo>
                  <a:lnTo>
                    <a:pt x="396" y="930"/>
                  </a:lnTo>
                  <a:lnTo>
                    <a:pt x="396" y="924"/>
                  </a:lnTo>
                  <a:lnTo>
                    <a:pt x="402" y="924"/>
                  </a:lnTo>
                  <a:lnTo>
                    <a:pt x="396" y="924"/>
                  </a:lnTo>
                  <a:lnTo>
                    <a:pt x="396" y="918"/>
                  </a:lnTo>
                  <a:lnTo>
                    <a:pt x="390" y="918"/>
                  </a:lnTo>
                  <a:lnTo>
                    <a:pt x="384" y="918"/>
                  </a:lnTo>
                  <a:lnTo>
                    <a:pt x="384" y="924"/>
                  </a:lnTo>
                  <a:lnTo>
                    <a:pt x="378" y="924"/>
                  </a:lnTo>
                  <a:lnTo>
                    <a:pt x="378" y="930"/>
                  </a:lnTo>
                  <a:lnTo>
                    <a:pt x="372" y="930"/>
                  </a:lnTo>
                  <a:lnTo>
                    <a:pt x="372" y="936"/>
                  </a:lnTo>
                  <a:lnTo>
                    <a:pt x="366" y="936"/>
                  </a:lnTo>
                  <a:lnTo>
                    <a:pt x="366" y="930"/>
                  </a:lnTo>
                  <a:lnTo>
                    <a:pt x="360" y="930"/>
                  </a:lnTo>
                  <a:lnTo>
                    <a:pt x="360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54" y="930"/>
                  </a:lnTo>
                  <a:lnTo>
                    <a:pt x="354" y="924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42" y="924"/>
                  </a:lnTo>
                  <a:lnTo>
                    <a:pt x="342" y="930"/>
                  </a:lnTo>
                  <a:lnTo>
                    <a:pt x="336" y="930"/>
                  </a:lnTo>
                  <a:lnTo>
                    <a:pt x="336" y="936"/>
                  </a:lnTo>
                  <a:lnTo>
                    <a:pt x="330" y="936"/>
                  </a:lnTo>
                  <a:lnTo>
                    <a:pt x="324" y="936"/>
                  </a:lnTo>
                  <a:lnTo>
                    <a:pt x="318" y="936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8" y="930"/>
                  </a:lnTo>
                  <a:lnTo>
                    <a:pt x="312" y="930"/>
                  </a:lnTo>
                  <a:lnTo>
                    <a:pt x="312" y="924"/>
                  </a:lnTo>
                  <a:lnTo>
                    <a:pt x="306" y="924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24"/>
                  </a:lnTo>
                  <a:lnTo>
                    <a:pt x="300" y="918"/>
                  </a:lnTo>
                  <a:lnTo>
                    <a:pt x="300" y="912"/>
                  </a:lnTo>
                  <a:lnTo>
                    <a:pt x="294" y="912"/>
                  </a:lnTo>
                  <a:lnTo>
                    <a:pt x="294" y="906"/>
                  </a:lnTo>
                  <a:lnTo>
                    <a:pt x="288" y="906"/>
                  </a:lnTo>
                  <a:lnTo>
                    <a:pt x="282" y="900"/>
                  </a:lnTo>
                  <a:lnTo>
                    <a:pt x="282" y="894"/>
                  </a:lnTo>
                  <a:lnTo>
                    <a:pt x="276" y="894"/>
                  </a:lnTo>
                  <a:lnTo>
                    <a:pt x="276" y="888"/>
                  </a:lnTo>
                  <a:lnTo>
                    <a:pt x="270" y="888"/>
                  </a:lnTo>
                  <a:lnTo>
                    <a:pt x="270" y="882"/>
                  </a:lnTo>
                  <a:lnTo>
                    <a:pt x="270" y="876"/>
                  </a:lnTo>
                  <a:lnTo>
                    <a:pt x="270" y="870"/>
                  </a:lnTo>
                  <a:lnTo>
                    <a:pt x="270" y="864"/>
                  </a:lnTo>
                  <a:lnTo>
                    <a:pt x="264" y="864"/>
                  </a:lnTo>
                  <a:lnTo>
                    <a:pt x="264" y="858"/>
                  </a:lnTo>
                  <a:lnTo>
                    <a:pt x="258" y="858"/>
                  </a:lnTo>
                  <a:lnTo>
                    <a:pt x="252" y="858"/>
                  </a:lnTo>
                  <a:lnTo>
                    <a:pt x="252" y="852"/>
                  </a:lnTo>
                  <a:lnTo>
                    <a:pt x="246" y="852"/>
                  </a:lnTo>
                  <a:lnTo>
                    <a:pt x="240" y="852"/>
                  </a:lnTo>
                  <a:lnTo>
                    <a:pt x="234" y="852"/>
                  </a:lnTo>
                  <a:lnTo>
                    <a:pt x="234" y="846"/>
                  </a:lnTo>
                  <a:lnTo>
                    <a:pt x="234" y="840"/>
                  </a:lnTo>
                  <a:lnTo>
                    <a:pt x="234" y="834"/>
                  </a:lnTo>
                  <a:lnTo>
                    <a:pt x="228" y="834"/>
                  </a:lnTo>
                  <a:lnTo>
                    <a:pt x="222" y="834"/>
                  </a:lnTo>
                  <a:lnTo>
                    <a:pt x="222" y="828"/>
                  </a:lnTo>
                  <a:lnTo>
                    <a:pt x="228" y="828"/>
                  </a:lnTo>
                  <a:lnTo>
                    <a:pt x="228" y="822"/>
                  </a:lnTo>
                  <a:lnTo>
                    <a:pt x="228" y="816"/>
                  </a:lnTo>
                  <a:lnTo>
                    <a:pt x="222" y="816"/>
                  </a:lnTo>
                  <a:lnTo>
                    <a:pt x="216" y="810"/>
                  </a:lnTo>
                  <a:lnTo>
                    <a:pt x="216" y="804"/>
                  </a:lnTo>
                  <a:lnTo>
                    <a:pt x="210" y="804"/>
                  </a:lnTo>
                  <a:lnTo>
                    <a:pt x="210" y="798"/>
                  </a:lnTo>
                  <a:lnTo>
                    <a:pt x="204" y="798"/>
                  </a:lnTo>
                  <a:lnTo>
                    <a:pt x="198" y="798"/>
                  </a:lnTo>
                  <a:lnTo>
                    <a:pt x="198" y="792"/>
                  </a:lnTo>
                  <a:lnTo>
                    <a:pt x="192" y="792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6" y="792"/>
                  </a:lnTo>
                  <a:lnTo>
                    <a:pt x="186" y="786"/>
                  </a:lnTo>
                  <a:lnTo>
                    <a:pt x="180" y="786"/>
                  </a:lnTo>
                  <a:lnTo>
                    <a:pt x="174" y="780"/>
                  </a:lnTo>
                  <a:lnTo>
                    <a:pt x="168" y="780"/>
                  </a:lnTo>
                  <a:lnTo>
                    <a:pt x="168" y="774"/>
                  </a:lnTo>
                  <a:lnTo>
                    <a:pt x="174" y="774"/>
                  </a:lnTo>
                  <a:lnTo>
                    <a:pt x="174" y="768"/>
                  </a:lnTo>
                  <a:lnTo>
                    <a:pt x="174" y="762"/>
                  </a:lnTo>
                  <a:lnTo>
                    <a:pt x="168" y="762"/>
                  </a:lnTo>
                  <a:lnTo>
                    <a:pt x="168" y="756"/>
                  </a:lnTo>
                  <a:lnTo>
                    <a:pt x="162" y="756"/>
                  </a:lnTo>
                  <a:lnTo>
                    <a:pt x="156" y="750"/>
                  </a:lnTo>
                  <a:lnTo>
                    <a:pt x="156" y="744"/>
                  </a:lnTo>
                  <a:lnTo>
                    <a:pt x="150" y="744"/>
                  </a:lnTo>
                  <a:lnTo>
                    <a:pt x="144" y="744"/>
                  </a:lnTo>
                  <a:lnTo>
                    <a:pt x="144" y="738"/>
                  </a:lnTo>
                  <a:lnTo>
                    <a:pt x="138" y="738"/>
                  </a:lnTo>
                  <a:lnTo>
                    <a:pt x="138" y="744"/>
                  </a:lnTo>
                  <a:lnTo>
                    <a:pt x="138" y="738"/>
                  </a:lnTo>
                  <a:lnTo>
                    <a:pt x="132" y="738"/>
                  </a:lnTo>
                  <a:lnTo>
                    <a:pt x="126" y="738"/>
                  </a:lnTo>
                  <a:lnTo>
                    <a:pt x="120" y="738"/>
                  </a:lnTo>
                  <a:lnTo>
                    <a:pt x="120" y="732"/>
                  </a:lnTo>
                  <a:lnTo>
                    <a:pt x="120" y="726"/>
                  </a:lnTo>
                  <a:lnTo>
                    <a:pt x="126" y="720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20" y="720"/>
                  </a:lnTo>
                  <a:lnTo>
                    <a:pt x="120" y="714"/>
                  </a:lnTo>
                  <a:lnTo>
                    <a:pt x="114" y="720"/>
                  </a:lnTo>
                  <a:lnTo>
                    <a:pt x="114" y="714"/>
                  </a:lnTo>
                  <a:lnTo>
                    <a:pt x="108" y="714"/>
                  </a:lnTo>
                  <a:lnTo>
                    <a:pt x="102" y="714"/>
                  </a:lnTo>
                  <a:lnTo>
                    <a:pt x="96" y="714"/>
                  </a:lnTo>
                  <a:lnTo>
                    <a:pt x="90" y="714"/>
                  </a:lnTo>
                  <a:lnTo>
                    <a:pt x="84" y="714"/>
                  </a:lnTo>
                  <a:lnTo>
                    <a:pt x="84" y="708"/>
                  </a:lnTo>
                  <a:lnTo>
                    <a:pt x="90" y="708"/>
                  </a:lnTo>
                  <a:lnTo>
                    <a:pt x="90" y="702"/>
                  </a:lnTo>
                  <a:lnTo>
                    <a:pt x="84" y="702"/>
                  </a:lnTo>
                  <a:lnTo>
                    <a:pt x="84" y="696"/>
                  </a:lnTo>
                  <a:lnTo>
                    <a:pt x="90" y="696"/>
                  </a:lnTo>
                  <a:lnTo>
                    <a:pt x="90" y="690"/>
                  </a:lnTo>
                  <a:lnTo>
                    <a:pt x="90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96" y="672"/>
                  </a:lnTo>
                  <a:lnTo>
                    <a:pt x="96" y="660"/>
                  </a:lnTo>
                  <a:lnTo>
                    <a:pt x="78" y="630"/>
                  </a:lnTo>
                  <a:lnTo>
                    <a:pt x="72" y="630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18"/>
                  </a:lnTo>
                  <a:lnTo>
                    <a:pt x="60" y="618"/>
                  </a:lnTo>
                  <a:lnTo>
                    <a:pt x="60" y="612"/>
                  </a:lnTo>
                  <a:lnTo>
                    <a:pt x="54" y="612"/>
                  </a:lnTo>
                  <a:lnTo>
                    <a:pt x="54" y="606"/>
                  </a:lnTo>
                  <a:lnTo>
                    <a:pt x="60" y="600"/>
                  </a:lnTo>
                  <a:lnTo>
                    <a:pt x="60" y="594"/>
                  </a:lnTo>
                  <a:lnTo>
                    <a:pt x="60" y="588"/>
                  </a:lnTo>
                  <a:lnTo>
                    <a:pt x="60" y="582"/>
                  </a:lnTo>
                  <a:lnTo>
                    <a:pt x="54" y="582"/>
                  </a:lnTo>
                  <a:lnTo>
                    <a:pt x="48" y="582"/>
                  </a:lnTo>
                  <a:lnTo>
                    <a:pt x="42" y="576"/>
                  </a:lnTo>
                  <a:lnTo>
                    <a:pt x="36" y="570"/>
                  </a:lnTo>
                  <a:lnTo>
                    <a:pt x="42" y="552"/>
                  </a:lnTo>
                  <a:lnTo>
                    <a:pt x="36" y="552"/>
                  </a:lnTo>
                  <a:lnTo>
                    <a:pt x="36" y="546"/>
                  </a:lnTo>
                  <a:lnTo>
                    <a:pt x="36" y="540"/>
                  </a:lnTo>
                  <a:lnTo>
                    <a:pt x="30" y="540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30" y="522"/>
                  </a:lnTo>
                  <a:lnTo>
                    <a:pt x="24" y="516"/>
                  </a:lnTo>
                  <a:lnTo>
                    <a:pt x="18" y="516"/>
                  </a:lnTo>
                  <a:lnTo>
                    <a:pt x="18" y="522"/>
                  </a:lnTo>
                  <a:lnTo>
                    <a:pt x="12" y="522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0" y="510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12" y="498"/>
                  </a:lnTo>
                  <a:lnTo>
                    <a:pt x="18" y="498"/>
                  </a:lnTo>
                  <a:lnTo>
                    <a:pt x="18" y="492"/>
                  </a:lnTo>
                  <a:lnTo>
                    <a:pt x="24" y="492"/>
                  </a:lnTo>
                  <a:lnTo>
                    <a:pt x="24" y="486"/>
                  </a:lnTo>
                  <a:lnTo>
                    <a:pt x="24" y="480"/>
                  </a:lnTo>
                  <a:lnTo>
                    <a:pt x="24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62"/>
                  </a:lnTo>
                  <a:lnTo>
                    <a:pt x="18" y="456"/>
                  </a:lnTo>
                  <a:lnTo>
                    <a:pt x="24" y="456"/>
                  </a:lnTo>
                  <a:lnTo>
                    <a:pt x="30" y="450"/>
                  </a:lnTo>
                  <a:lnTo>
                    <a:pt x="36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0" y="438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8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8" y="408"/>
                  </a:lnTo>
                  <a:lnTo>
                    <a:pt x="48" y="402"/>
                  </a:lnTo>
                  <a:lnTo>
                    <a:pt x="54" y="402"/>
                  </a:lnTo>
                  <a:lnTo>
                    <a:pt x="60" y="396"/>
                  </a:lnTo>
                  <a:lnTo>
                    <a:pt x="54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54" y="384"/>
                  </a:lnTo>
                  <a:lnTo>
                    <a:pt x="54" y="378"/>
                  </a:lnTo>
                  <a:lnTo>
                    <a:pt x="60" y="378"/>
                  </a:lnTo>
                  <a:lnTo>
                    <a:pt x="60" y="372"/>
                  </a:lnTo>
                  <a:lnTo>
                    <a:pt x="66" y="372"/>
                  </a:lnTo>
                  <a:lnTo>
                    <a:pt x="66" y="366"/>
                  </a:lnTo>
                  <a:lnTo>
                    <a:pt x="66" y="372"/>
                  </a:lnTo>
                  <a:lnTo>
                    <a:pt x="72" y="372"/>
                  </a:lnTo>
                  <a:lnTo>
                    <a:pt x="72" y="366"/>
                  </a:lnTo>
                  <a:lnTo>
                    <a:pt x="72" y="372"/>
                  </a:lnTo>
                  <a:lnTo>
                    <a:pt x="78" y="372"/>
                  </a:lnTo>
                  <a:lnTo>
                    <a:pt x="84" y="372"/>
                  </a:lnTo>
                  <a:lnTo>
                    <a:pt x="84" y="366"/>
                  </a:lnTo>
                  <a:lnTo>
                    <a:pt x="90" y="366"/>
                  </a:lnTo>
                  <a:lnTo>
                    <a:pt x="96" y="366"/>
                  </a:lnTo>
                  <a:lnTo>
                    <a:pt x="102" y="366"/>
                  </a:lnTo>
                  <a:lnTo>
                    <a:pt x="108" y="372"/>
                  </a:lnTo>
                  <a:lnTo>
                    <a:pt x="108" y="18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6" name="Freeform 49"/>
            <p:cNvSpPr>
              <a:spLocks noChangeAspect="1"/>
            </p:cNvSpPr>
            <p:nvPr>
              <p:custDataLst>
                <p:tags r:id="rId31"/>
              </p:custDataLst>
            </p:nvPr>
          </p:nvSpPr>
          <p:spPr bwMode="auto">
            <a:xfrm>
              <a:off x="3100" y="1025"/>
              <a:ext cx="469" cy="423"/>
            </a:xfrm>
            <a:custGeom>
              <a:avLst/>
              <a:gdLst>
                <a:gd name="T0" fmla="*/ 31 w 552"/>
                <a:gd name="T1" fmla="*/ 3 h 498"/>
                <a:gd name="T2" fmla="*/ 54 w 552"/>
                <a:gd name="T3" fmla="*/ 6 h 498"/>
                <a:gd name="T4" fmla="*/ 69 w 552"/>
                <a:gd name="T5" fmla="*/ 12 h 498"/>
                <a:gd name="T6" fmla="*/ 91 w 552"/>
                <a:gd name="T7" fmla="*/ 15 h 498"/>
                <a:gd name="T8" fmla="*/ 106 w 552"/>
                <a:gd name="T9" fmla="*/ 22 h 498"/>
                <a:gd name="T10" fmla="*/ 128 w 552"/>
                <a:gd name="T11" fmla="*/ 15 h 498"/>
                <a:gd name="T12" fmla="*/ 141 w 552"/>
                <a:gd name="T13" fmla="*/ 12 h 498"/>
                <a:gd name="T14" fmla="*/ 160 w 552"/>
                <a:gd name="T15" fmla="*/ 3 h 498"/>
                <a:gd name="T16" fmla="*/ 153 w 552"/>
                <a:gd name="T17" fmla="*/ 9 h 498"/>
                <a:gd name="T18" fmla="*/ 166 w 552"/>
                <a:gd name="T19" fmla="*/ 3 h 498"/>
                <a:gd name="T20" fmla="*/ 181 w 552"/>
                <a:gd name="T21" fmla="*/ 6 h 498"/>
                <a:gd name="T22" fmla="*/ 194 w 552"/>
                <a:gd name="T23" fmla="*/ 9 h 498"/>
                <a:gd name="T24" fmla="*/ 185 w 552"/>
                <a:gd name="T25" fmla="*/ 3 h 498"/>
                <a:gd name="T26" fmla="*/ 185 w 552"/>
                <a:gd name="T27" fmla="*/ 9 h 498"/>
                <a:gd name="T28" fmla="*/ 190 w 552"/>
                <a:gd name="T29" fmla="*/ 12 h 498"/>
                <a:gd name="T30" fmla="*/ 194 w 552"/>
                <a:gd name="T31" fmla="*/ 15 h 498"/>
                <a:gd name="T32" fmla="*/ 197 w 552"/>
                <a:gd name="T33" fmla="*/ 15 h 498"/>
                <a:gd name="T34" fmla="*/ 210 w 552"/>
                <a:gd name="T35" fmla="*/ 15 h 498"/>
                <a:gd name="T36" fmla="*/ 216 w 552"/>
                <a:gd name="T37" fmla="*/ 15 h 498"/>
                <a:gd name="T38" fmla="*/ 218 w 552"/>
                <a:gd name="T39" fmla="*/ 19 h 498"/>
                <a:gd name="T40" fmla="*/ 225 w 552"/>
                <a:gd name="T41" fmla="*/ 15 h 498"/>
                <a:gd name="T42" fmla="*/ 244 w 552"/>
                <a:gd name="T43" fmla="*/ 12 h 498"/>
                <a:gd name="T44" fmla="*/ 257 w 552"/>
                <a:gd name="T45" fmla="*/ 31 h 498"/>
                <a:gd name="T46" fmla="*/ 266 w 552"/>
                <a:gd name="T47" fmla="*/ 56 h 498"/>
                <a:gd name="T48" fmla="*/ 259 w 552"/>
                <a:gd name="T49" fmla="*/ 71 h 498"/>
                <a:gd name="T50" fmla="*/ 253 w 552"/>
                <a:gd name="T51" fmla="*/ 87 h 498"/>
                <a:gd name="T52" fmla="*/ 247 w 552"/>
                <a:gd name="T53" fmla="*/ 99 h 498"/>
                <a:gd name="T54" fmla="*/ 235 w 552"/>
                <a:gd name="T55" fmla="*/ 93 h 498"/>
                <a:gd name="T56" fmla="*/ 223 w 552"/>
                <a:gd name="T57" fmla="*/ 82 h 498"/>
                <a:gd name="T58" fmla="*/ 218 w 552"/>
                <a:gd name="T59" fmla="*/ 69 h 498"/>
                <a:gd name="T60" fmla="*/ 210 w 552"/>
                <a:gd name="T61" fmla="*/ 56 h 498"/>
                <a:gd name="T62" fmla="*/ 206 w 552"/>
                <a:gd name="T63" fmla="*/ 50 h 498"/>
                <a:gd name="T64" fmla="*/ 203 w 552"/>
                <a:gd name="T65" fmla="*/ 50 h 498"/>
                <a:gd name="T66" fmla="*/ 203 w 552"/>
                <a:gd name="T67" fmla="*/ 63 h 498"/>
                <a:gd name="T68" fmla="*/ 210 w 552"/>
                <a:gd name="T69" fmla="*/ 78 h 498"/>
                <a:gd name="T70" fmla="*/ 218 w 552"/>
                <a:gd name="T71" fmla="*/ 91 h 498"/>
                <a:gd name="T72" fmla="*/ 228 w 552"/>
                <a:gd name="T73" fmla="*/ 99 h 498"/>
                <a:gd name="T74" fmla="*/ 228 w 552"/>
                <a:gd name="T75" fmla="*/ 103 h 498"/>
                <a:gd name="T76" fmla="*/ 235 w 552"/>
                <a:gd name="T77" fmla="*/ 112 h 498"/>
                <a:gd name="T78" fmla="*/ 241 w 552"/>
                <a:gd name="T79" fmla="*/ 122 h 498"/>
                <a:gd name="T80" fmla="*/ 247 w 552"/>
                <a:gd name="T81" fmla="*/ 141 h 498"/>
                <a:gd name="T82" fmla="*/ 257 w 552"/>
                <a:gd name="T83" fmla="*/ 156 h 498"/>
                <a:gd name="T84" fmla="*/ 263 w 552"/>
                <a:gd name="T85" fmla="*/ 172 h 498"/>
                <a:gd name="T86" fmla="*/ 272 w 552"/>
                <a:gd name="T87" fmla="*/ 184 h 498"/>
                <a:gd name="T88" fmla="*/ 281 w 552"/>
                <a:gd name="T89" fmla="*/ 197 h 498"/>
                <a:gd name="T90" fmla="*/ 285 w 552"/>
                <a:gd name="T91" fmla="*/ 203 h 498"/>
                <a:gd name="T92" fmla="*/ 279 w 552"/>
                <a:gd name="T93" fmla="*/ 206 h 498"/>
                <a:gd name="T94" fmla="*/ 281 w 552"/>
                <a:gd name="T95" fmla="*/ 213 h 498"/>
                <a:gd name="T96" fmla="*/ 266 w 552"/>
                <a:gd name="T97" fmla="*/ 228 h 498"/>
                <a:gd name="T98" fmla="*/ 188 w 552"/>
                <a:gd name="T99" fmla="*/ 251 h 498"/>
                <a:gd name="T100" fmla="*/ 9 w 552"/>
                <a:gd name="T101" fmla="*/ 251 h 498"/>
                <a:gd name="T102" fmla="*/ 6 w 552"/>
                <a:gd name="T103" fmla="*/ 54 h 498"/>
                <a:gd name="T104" fmla="*/ 6 w 552"/>
                <a:gd name="T105" fmla="*/ 31 h 498"/>
                <a:gd name="T106" fmla="*/ 6 w 552"/>
                <a:gd name="T107" fmla="*/ 12 h 498"/>
                <a:gd name="T108" fmla="*/ 12 w 552"/>
                <a:gd name="T109" fmla="*/ 3 h 49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52" h="498">
                  <a:moveTo>
                    <a:pt x="24" y="6"/>
                  </a:move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4" y="12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102" y="12"/>
                  </a:lnTo>
                  <a:lnTo>
                    <a:pt x="108" y="12"/>
                  </a:lnTo>
                  <a:lnTo>
                    <a:pt x="114" y="12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6" y="18"/>
                  </a:lnTo>
                  <a:lnTo>
                    <a:pt x="132" y="18"/>
                  </a:lnTo>
                  <a:lnTo>
                    <a:pt x="132" y="24"/>
                  </a:lnTo>
                  <a:lnTo>
                    <a:pt x="138" y="24"/>
                  </a:lnTo>
                  <a:lnTo>
                    <a:pt x="144" y="24"/>
                  </a:lnTo>
                  <a:lnTo>
                    <a:pt x="150" y="24"/>
                  </a:lnTo>
                  <a:lnTo>
                    <a:pt x="156" y="24"/>
                  </a:lnTo>
                  <a:lnTo>
                    <a:pt x="162" y="30"/>
                  </a:lnTo>
                  <a:lnTo>
                    <a:pt x="168" y="30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36"/>
                  </a:lnTo>
                  <a:lnTo>
                    <a:pt x="198" y="36"/>
                  </a:lnTo>
                  <a:lnTo>
                    <a:pt x="204" y="36"/>
                  </a:lnTo>
                  <a:lnTo>
                    <a:pt x="204" y="42"/>
                  </a:lnTo>
                  <a:lnTo>
                    <a:pt x="210" y="42"/>
                  </a:lnTo>
                  <a:lnTo>
                    <a:pt x="216" y="42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34" y="42"/>
                  </a:lnTo>
                  <a:lnTo>
                    <a:pt x="240" y="36"/>
                  </a:lnTo>
                  <a:lnTo>
                    <a:pt x="246" y="30"/>
                  </a:lnTo>
                  <a:lnTo>
                    <a:pt x="252" y="30"/>
                  </a:lnTo>
                  <a:lnTo>
                    <a:pt x="258" y="30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264" y="18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18"/>
                  </a:lnTo>
                  <a:lnTo>
                    <a:pt x="282" y="18"/>
                  </a:lnTo>
                  <a:lnTo>
                    <a:pt x="282" y="12"/>
                  </a:lnTo>
                  <a:lnTo>
                    <a:pt x="288" y="12"/>
                  </a:lnTo>
                  <a:lnTo>
                    <a:pt x="294" y="12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4" y="6"/>
                  </a:lnTo>
                  <a:lnTo>
                    <a:pt x="330" y="12"/>
                  </a:lnTo>
                  <a:lnTo>
                    <a:pt x="336" y="12"/>
                  </a:lnTo>
                  <a:lnTo>
                    <a:pt x="342" y="12"/>
                  </a:lnTo>
                  <a:lnTo>
                    <a:pt x="348" y="12"/>
                  </a:lnTo>
                  <a:lnTo>
                    <a:pt x="354" y="12"/>
                  </a:lnTo>
                  <a:lnTo>
                    <a:pt x="354" y="6"/>
                  </a:lnTo>
                  <a:lnTo>
                    <a:pt x="360" y="6"/>
                  </a:lnTo>
                  <a:lnTo>
                    <a:pt x="360" y="12"/>
                  </a:lnTo>
                  <a:lnTo>
                    <a:pt x="366" y="12"/>
                  </a:lnTo>
                  <a:lnTo>
                    <a:pt x="366" y="18"/>
                  </a:lnTo>
                  <a:lnTo>
                    <a:pt x="372" y="18"/>
                  </a:lnTo>
                  <a:lnTo>
                    <a:pt x="372" y="24"/>
                  </a:lnTo>
                  <a:lnTo>
                    <a:pt x="372" y="18"/>
                  </a:lnTo>
                  <a:lnTo>
                    <a:pt x="366" y="18"/>
                  </a:lnTo>
                  <a:lnTo>
                    <a:pt x="360" y="18"/>
                  </a:lnTo>
                  <a:lnTo>
                    <a:pt x="360" y="12"/>
                  </a:lnTo>
                  <a:lnTo>
                    <a:pt x="360" y="6"/>
                  </a:lnTo>
                  <a:lnTo>
                    <a:pt x="354" y="6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2"/>
                  </a:lnTo>
                  <a:lnTo>
                    <a:pt x="360" y="12"/>
                  </a:lnTo>
                  <a:lnTo>
                    <a:pt x="354" y="18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54" y="18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24"/>
                  </a:lnTo>
                  <a:lnTo>
                    <a:pt x="366" y="30"/>
                  </a:lnTo>
                  <a:lnTo>
                    <a:pt x="372" y="30"/>
                  </a:lnTo>
                  <a:lnTo>
                    <a:pt x="366" y="30"/>
                  </a:lnTo>
                  <a:lnTo>
                    <a:pt x="372" y="24"/>
                  </a:lnTo>
                  <a:lnTo>
                    <a:pt x="366" y="24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2" y="24"/>
                  </a:lnTo>
                  <a:lnTo>
                    <a:pt x="372" y="30"/>
                  </a:lnTo>
                  <a:lnTo>
                    <a:pt x="378" y="30"/>
                  </a:lnTo>
                  <a:lnTo>
                    <a:pt x="378" y="24"/>
                  </a:lnTo>
                  <a:lnTo>
                    <a:pt x="372" y="24"/>
                  </a:lnTo>
                  <a:lnTo>
                    <a:pt x="378" y="24"/>
                  </a:lnTo>
                  <a:lnTo>
                    <a:pt x="378" y="30"/>
                  </a:lnTo>
                  <a:lnTo>
                    <a:pt x="384" y="24"/>
                  </a:lnTo>
                  <a:lnTo>
                    <a:pt x="378" y="24"/>
                  </a:lnTo>
                  <a:lnTo>
                    <a:pt x="384" y="24"/>
                  </a:lnTo>
                  <a:lnTo>
                    <a:pt x="384" y="30"/>
                  </a:lnTo>
                  <a:lnTo>
                    <a:pt x="390" y="30"/>
                  </a:lnTo>
                  <a:lnTo>
                    <a:pt x="396" y="30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2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14" y="36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14" y="30"/>
                  </a:lnTo>
                  <a:lnTo>
                    <a:pt x="420" y="24"/>
                  </a:lnTo>
                  <a:lnTo>
                    <a:pt x="420" y="30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50" y="30"/>
                  </a:lnTo>
                  <a:lnTo>
                    <a:pt x="456" y="24"/>
                  </a:lnTo>
                  <a:lnTo>
                    <a:pt x="468" y="24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80" y="36"/>
                  </a:lnTo>
                  <a:lnTo>
                    <a:pt x="480" y="42"/>
                  </a:lnTo>
                  <a:lnTo>
                    <a:pt x="486" y="54"/>
                  </a:lnTo>
                  <a:lnTo>
                    <a:pt x="486" y="60"/>
                  </a:lnTo>
                  <a:lnTo>
                    <a:pt x="492" y="60"/>
                  </a:lnTo>
                  <a:lnTo>
                    <a:pt x="492" y="66"/>
                  </a:lnTo>
                  <a:lnTo>
                    <a:pt x="492" y="72"/>
                  </a:lnTo>
                  <a:lnTo>
                    <a:pt x="498" y="84"/>
                  </a:lnTo>
                  <a:lnTo>
                    <a:pt x="504" y="96"/>
                  </a:lnTo>
                  <a:lnTo>
                    <a:pt x="504" y="102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20"/>
                  </a:lnTo>
                  <a:lnTo>
                    <a:pt x="498" y="120"/>
                  </a:lnTo>
                  <a:lnTo>
                    <a:pt x="498" y="126"/>
                  </a:lnTo>
                  <a:lnTo>
                    <a:pt x="498" y="132"/>
                  </a:lnTo>
                  <a:lnTo>
                    <a:pt x="498" y="138"/>
                  </a:lnTo>
                  <a:lnTo>
                    <a:pt x="492" y="138"/>
                  </a:lnTo>
                  <a:lnTo>
                    <a:pt x="492" y="144"/>
                  </a:lnTo>
                  <a:lnTo>
                    <a:pt x="492" y="150"/>
                  </a:lnTo>
                  <a:lnTo>
                    <a:pt x="492" y="156"/>
                  </a:lnTo>
                  <a:lnTo>
                    <a:pt x="486" y="156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0" y="168"/>
                  </a:lnTo>
                  <a:lnTo>
                    <a:pt x="486" y="174"/>
                  </a:lnTo>
                  <a:lnTo>
                    <a:pt x="486" y="180"/>
                  </a:lnTo>
                  <a:lnTo>
                    <a:pt x="486" y="186"/>
                  </a:lnTo>
                  <a:lnTo>
                    <a:pt x="480" y="186"/>
                  </a:lnTo>
                  <a:lnTo>
                    <a:pt x="480" y="192"/>
                  </a:lnTo>
                  <a:lnTo>
                    <a:pt x="474" y="192"/>
                  </a:lnTo>
                  <a:lnTo>
                    <a:pt x="474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62" y="192"/>
                  </a:lnTo>
                  <a:lnTo>
                    <a:pt x="456" y="186"/>
                  </a:lnTo>
                  <a:lnTo>
                    <a:pt x="450" y="186"/>
                  </a:lnTo>
                  <a:lnTo>
                    <a:pt x="450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2" y="162"/>
                  </a:lnTo>
                  <a:lnTo>
                    <a:pt x="426" y="162"/>
                  </a:lnTo>
                  <a:lnTo>
                    <a:pt x="426" y="156"/>
                  </a:lnTo>
                  <a:lnTo>
                    <a:pt x="426" y="150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44"/>
                  </a:lnTo>
                  <a:lnTo>
                    <a:pt x="420" y="144"/>
                  </a:lnTo>
                  <a:lnTo>
                    <a:pt x="420" y="138"/>
                  </a:lnTo>
                  <a:lnTo>
                    <a:pt x="420" y="132"/>
                  </a:lnTo>
                  <a:lnTo>
                    <a:pt x="414" y="132"/>
                  </a:lnTo>
                  <a:lnTo>
                    <a:pt x="414" y="126"/>
                  </a:lnTo>
                  <a:lnTo>
                    <a:pt x="408" y="126"/>
                  </a:lnTo>
                  <a:lnTo>
                    <a:pt x="408" y="120"/>
                  </a:lnTo>
                  <a:lnTo>
                    <a:pt x="402" y="120"/>
                  </a:lnTo>
                  <a:lnTo>
                    <a:pt x="402" y="114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402" y="108"/>
                  </a:lnTo>
                  <a:lnTo>
                    <a:pt x="396" y="108"/>
                  </a:lnTo>
                  <a:lnTo>
                    <a:pt x="396" y="102"/>
                  </a:lnTo>
                  <a:lnTo>
                    <a:pt x="396" y="96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90" y="84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90" y="90"/>
                  </a:lnTo>
                  <a:lnTo>
                    <a:pt x="390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78" y="108"/>
                  </a:lnTo>
                  <a:lnTo>
                    <a:pt x="384" y="108"/>
                  </a:lnTo>
                  <a:lnTo>
                    <a:pt x="384" y="114"/>
                  </a:lnTo>
                  <a:lnTo>
                    <a:pt x="390" y="114"/>
                  </a:lnTo>
                  <a:lnTo>
                    <a:pt x="390" y="120"/>
                  </a:lnTo>
                  <a:lnTo>
                    <a:pt x="396" y="120"/>
                  </a:lnTo>
                  <a:lnTo>
                    <a:pt x="396" y="126"/>
                  </a:lnTo>
                  <a:lnTo>
                    <a:pt x="396" y="132"/>
                  </a:lnTo>
                  <a:lnTo>
                    <a:pt x="396" y="138"/>
                  </a:lnTo>
                  <a:lnTo>
                    <a:pt x="396" y="144"/>
                  </a:lnTo>
                  <a:lnTo>
                    <a:pt x="402" y="144"/>
                  </a:lnTo>
                  <a:lnTo>
                    <a:pt x="402" y="150"/>
                  </a:lnTo>
                  <a:lnTo>
                    <a:pt x="408" y="150"/>
                  </a:lnTo>
                  <a:lnTo>
                    <a:pt x="408" y="156"/>
                  </a:lnTo>
                  <a:lnTo>
                    <a:pt x="414" y="156"/>
                  </a:lnTo>
                  <a:lnTo>
                    <a:pt x="414" y="162"/>
                  </a:lnTo>
                  <a:lnTo>
                    <a:pt x="414" y="168"/>
                  </a:lnTo>
                  <a:lnTo>
                    <a:pt x="420" y="168"/>
                  </a:lnTo>
                  <a:lnTo>
                    <a:pt x="420" y="174"/>
                  </a:lnTo>
                  <a:lnTo>
                    <a:pt x="426" y="174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6"/>
                  </a:lnTo>
                  <a:lnTo>
                    <a:pt x="438" y="192"/>
                  </a:lnTo>
                  <a:lnTo>
                    <a:pt x="444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44" y="204"/>
                  </a:lnTo>
                  <a:lnTo>
                    <a:pt x="438" y="198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198"/>
                  </a:lnTo>
                  <a:lnTo>
                    <a:pt x="438" y="204"/>
                  </a:lnTo>
                  <a:lnTo>
                    <a:pt x="444" y="204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44" y="210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44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56" y="222"/>
                  </a:lnTo>
                  <a:lnTo>
                    <a:pt x="456" y="228"/>
                  </a:lnTo>
                  <a:lnTo>
                    <a:pt x="456" y="234"/>
                  </a:lnTo>
                  <a:lnTo>
                    <a:pt x="462" y="234"/>
                  </a:lnTo>
                  <a:lnTo>
                    <a:pt x="462" y="240"/>
                  </a:lnTo>
                  <a:lnTo>
                    <a:pt x="462" y="246"/>
                  </a:lnTo>
                  <a:lnTo>
                    <a:pt x="462" y="252"/>
                  </a:lnTo>
                  <a:lnTo>
                    <a:pt x="462" y="258"/>
                  </a:lnTo>
                  <a:lnTo>
                    <a:pt x="468" y="258"/>
                  </a:lnTo>
                  <a:lnTo>
                    <a:pt x="468" y="264"/>
                  </a:lnTo>
                  <a:lnTo>
                    <a:pt x="474" y="270"/>
                  </a:lnTo>
                  <a:lnTo>
                    <a:pt x="474" y="276"/>
                  </a:lnTo>
                  <a:lnTo>
                    <a:pt x="480" y="282"/>
                  </a:lnTo>
                  <a:lnTo>
                    <a:pt x="480" y="288"/>
                  </a:lnTo>
                  <a:lnTo>
                    <a:pt x="486" y="288"/>
                  </a:lnTo>
                  <a:lnTo>
                    <a:pt x="486" y="294"/>
                  </a:lnTo>
                  <a:lnTo>
                    <a:pt x="492" y="294"/>
                  </a:lnTo>
                  <a:lnTo>
                    <a:pt x="492" y="300"/>
                  </a:lnTo>
                  <a:lnTo>
                    <a:pt x="492" y="306"/>
                  </a:lnTo>
                  <a:lnTo>
                    <a:pt x="498" y="306"/>
                  </a:lnTo>
                  <a:lnTo>
                    <a:pt x="498" y="312"/>
                  </a:lnTo>
                  <a:lnTo>
                    <a:pt x="498" y="318"/>
                  </a:lnTo>
                  <a:lnTo>
                    <a:pt x="504" y="318"/>
                  </a:lnTo>
                  <a:lnTo>
                    <a:pt x="504" y="324"/>
                  </a:lnTo>
                  <a:lnTo>
                    <a:pt x="504" y="330"/>
                  </a:lnTo>
                  <a:lnTo>
                    <a:pt x="510" y="330"/>
                  </a:lnTo>
                  <a:lnTo>
                    <a:pt x="510" y="336"/>
                  </a:lnTo>
                  <a:lnTo>
                    <a:pt x="510" y="342"/>
                  </a:lnTo>
                  <a:lnTo>
                    <a:pt x="516" y="342"/>
                  </a:lnTo>
                  <a:lnTo>
                    <a:pt x="516" y="348"/>
                  </a:lnTo>
                  <a:lnTo>
                    <a:pt x="516" y="354"/>
                  </a:lnTo>
                  <a:lnTo>
                    <a:pt x="522" y="354"/>
                  </a:lnTo>
                  <a:lnTo>
                    <a:pt x="522" y="360"/>
                  </a:lnTo>
                  <a:lnTo>
                    <a:pt x="528" y="366"/>
                  </a:lnTo>
                  <a:lnTo>
                    <a:pt x="534" y="372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34" y="378"/>
                  </a:lnTo>
                  <a:lnTo>
                    <a:pt x="540" y="378"/>
                  </a:lnTo>
                  <a:lnTo>
                    <a:pt x="540" y="384"/>
                  </a:lnTo>
                  <a:lnTo>
                    <a:pt x="546" y="384"/>
                  </a:lnTo>
                  <a:lnTo>
                    <a:pt x="552" y="384"/>
                  </a:lnTo>
                  <a:lnTo>
                    <a:pt x="552" y="390"/>
                  </a:lnTo>
                  <a:lnTo>
                    <a:pt x="552" y="384"/>
                  </a:lnTo>
                  <a:lnTo>
                    <a:pt x="546" y="384"/>
                  </a:lnTo>
                  <a:lnTo>
                    <a:pt x="546" y="390"/>
                  </a:lnTo>
                  <a:lnTo>
                    <a:pt x="546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40" y="384"/>
                  </a:lnTo>
                  <a:lnTo>
                    <a:pt x="534" y="384"/>
                  </a:lnTo>
                  <a:lnTo>
                    <a:pt x="534" y="390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34" y="396"/>
                  </a:lnTo>
                  <a:lnTo>
                    <a:pt x="540" y="396"/>
                  </a:lnTo>
                  <a:lnTo>
                    <a:pt x="540" y="402"/>
                  </a:lnTo>
                  <a:lnTo>
                    <a:pt x="534" y="402"/>
                  </a:lnTo>
                  <a:lnTo>
                    <a:pt x="540" y="402"/>
                  </a:lnTo>
                  <a:lnTo>
                    <a:pt x="540" y="408"/>
                  </a:lnTo>
                  <a:lnTo>
                    <a:pt x="534" y="408"/>
                  </a:lnTo>
                  <a:lnTo>
                    <a:pt x="540" y="414"/>
                  </a:lnTo>
                  <a:lnTo>
                    <a:pt x="540" y="420"/>
                  </a:lnTo>
                  <a:lnTo>
                    <a:pt x="540" y="426"/>
                  </a:lnTo>
                  <a:lnTo>
                    <a:pt x="546" y="426"/>
                  </a:lnTo>
                  <a:lnTo>
                    <a:pt x="522" y="444"/>
                  </a:lnTo>
                  <a:lnTo>
                    <a:pt x="510" y="438"/>
                  </a:lnTo>
                  <a:lnTo>
                    <a:pt x="498" y="468"/>
                  </a:lnTo>
                  <a:lnTo>
                    <a:pt x="468" y="474"/>
                  </a:lnTo>
                  <a:lnTo>
                    <a:pt x="462" y="492"/>
                  </a:lnTo>
                  <a:lnTo>
                    <a:pt x="438" y="498"/>
                  </a:lnTo>
                  <a:lnTo>
                    <a:pt x="420" y="480"/>
                  </a:lnTo>
                  <a:lnTo>
                    <a:pt x="366" y="480"/>
                  </a:lnTo>
                  <a:lnTo>
                    <a:pt x="360" y="480"/>
                  </a:lnTo>
                  <a:lnTo>
                    <a:pt x="336" y="480"/>
                  </a:lnTo>
                  <a:lnTo>
                    <a:pt x="336" y="474"/>
                  </a:lnTo>
                  <a:lnTo>
                    <a:pt x="330" y="474"/>
                  </a:lnTo>
                  <a:lnTo>
                    <a:pt x="330" y="480"/>
                  </a:lnTo>
                  <a:lnTo>
                    <a:pt x="90" y="480"/>
                  </a:lnTo>
                  <a:lnTo>
                    <a:pt x="24" y="480"/>
                  </a:lnTo>
                  <a:lnTo>
                    <a:pt x="18" y="480"/>
                  </a:lnTo>
                  <a:lnTo>
                    <a:pt x="18" y="120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2" y="102"/>
                  </a:lnTo>
                  <a:lnTo>
                    <a:pt x="6" y="96"/>
                  </a:lnTo>
                  <a:lnTo>
                    <a:pt x="6" y="90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8" y="48"/>
                  </a:lnTo>
                  <a:lnTo>
                    <a:pt x="18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30"/>
                  </a:lnTo>
                  <a:lnTo>
                    <a:pt x="12" y="24"/>
                  </a:lnTo>
                  <a:lnTo>
                    <a:pt x="12" y="18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7" name="Freeform 50"/>
            <p:cNvSpPr>
              <a:spLocks noChangeAspect="1"/>
            </p:cNvSpPr>
            <p:nvPr>
              <p:custDataLst>
                <p:tags r:id="rId32"/>
              </p:custDataLst>
            </p:nvPr>
          </p:nvSpPr>
          <p:spPr bwMode="auto">
            <a:xfrm>
              <a:off x="3595" y="1606"/>
              <a:ext cx="285" cy="235"/>
            </a:xfrm>
            <a:custGeom>
              <a:avLst/>
              <a:gdLst>
                <a:gd name="T0" fmla="*/ 63 w 336"/>
                <a:gd name="T1" fmla="*/ 7 h 276"/>
                <a:gd name="T2" fmla="*/ 65 w 336"/>
                <a:gd name="T3" fmla="*/ 16 h 276"/>
                <a:gd name="T4" fmla="*/ 69 w 336"/>
                <a:gd name="T5" fmla="*/ 26 h 276"/>
                <a:gd name="T6" fmla="*/ 69 w 336"/>
                <a:gd name="T7" fmla="*/ 32 h 276"/>
                <a:gd name="T8" fmla="*/ 71 w 336"/>
                <a:gd name="T9" fmla="*/ 35 h 276"/>
                <a:gd name="T10" fmla="*/ 71 w 336"/>
                <a:gd name="T11" fmla="*/ 48 h 276"/>
                <a:gd name="T12" fmla="*/ 78 w 336"/>
                <a:gd name="T13" fmla="*/ 60 h 276"/>
                <a:gd name="T14" fmla="*/ 83 w 336"/>
                <a:gd name="T15" fmla="*/ 66 h 276"/>
                <a:gd name="T16" fmla="*/ 87 w 336"/>
                <a:gd name="T17" fmla="*/ 76 h 276"/>
                <a:gd name="T18" fmla="*/ 87 w 336"/>
                <a:gd name="T19" fmla="*/ 66 h 276"/>
                <a:gd name="T20" fmla="*/ 91 w 336"/>
                <a:gd name="T21" fmla="*/ 66 h 276"/>
                <a:gd name="T22" fmla="*/ 97 w 336"/>
                <a:gd name="T23" fmla="*/ 72 h 276"/>
                <a:gd name="T24" fmla="*/ 97 w 336"/>
                <a:gd name="T25" fmla="*/ 79 h 276"/>
                <a:gd name="T26" fmla="*/ 103 w 336"/>
                <a:gd name="T27" fmla="*/ 79 h 276"/>
                <a:gd name="T28" fmla="*/ 106 w 336"/>
                <a:gd name="T29" fmla="*/ 76 h 276"/>
                <a:gd name="T30" fmla="*/ 106 w 336"/>
                <a:gd name="T31" fmla="*/ 76 h 276"/>
                <a:gd name="T32" fmla="*/ 109 w 336"/>
                <a:gd name="T33" fmla="*/ 79 h 276"/>
                <a:gd name="T34" fmla="*/ 118 w 336"/>
                <a:gd name="T35" fmla="*/ 85 h 276"/>
                <a:gd name="T36" fmla="*/ 127 w 336"/>
                <a:gd name="T37" fmla="*/ 91 h 276"/>
                <a:gd name="T38" fmla="*/ 134 w 336"/>
                <a:gd name="T39" fmla="*/ 105 h 276"/>
                <a:gd name="T40" fmla="*/ 140 w 336"/>
                <a:gd name="T41" fmla="*/ 107 h 276"/>
                <a:gd name="T42" fmla="*/ 146 w 336"/>
                <a:gd name="T43" fmla="*/ 114 h 276"/>
                <a:gd name="T44" fmla="*/ 152 w 336"/>
                <a:gd name="T45" fmla="*/ 114 h 276"/>
                <a:gd name="T46" fmla="*/ 154 w 336"/>
                <a:gd name="T47" fmla="*/ 123 h 276"/>
                <a:gd name="T48" fmla="*/ 162 w 336"/>
                <a:gd name="T49" fmla="*/ 129 h 276"/>
                <a:gd name="T50" fmla="*/ 165 w 336"/>
                <a:gd name="T51" fmla="*/ 133 h 276"/>
                <a:gd name="T52" fmla="*/ 168 w 336"/>
                <a:gd name="T53" fmla="*/ 133 h 276"/>
                <a:gd name="T54" fmla="*/ 171 w 336"/>
                <a:gd name="T55" fmla="*/ 135 h 276"/>
                <a:gd name="T56" fmla="*/ 165 w 336"/>
                <a:gd name="T57" fmla="*/ 139 h 276"/>
                <a:gd name="T58" fmla="*/ 159 w 336"/>
                <a:gd name="T59" fmla="*/ 142 h 276"/>
                <a:gd name="T60" fmla="*/ 149 w 336"/>
                <a:gd name="T61" fmla="*/ 135 h 276"/>
                <a:gd name="T62" fmla="*/ 143 w 336"/>
                <a:gd name="T63" fmla="*/ 129 h 276"/>
                <a:gd name="T64" fmla="*/ 127 w 336"/>
                <a:gd name="T65" fmla="*/ 114 h 276"/>
                <a:gd name="T66" fmla="*/ 118 w 336"/>
                <a:gd name="T67" fmla="*/ 105 h 276"/>
                <a:gd name="T68" fmla="*/ 109 w 336"/>
                <a:gd name="T69" fmla="*/ 98 h 276"/>
                <a:gd name="T70" fmla="*/ 97 w 336"/>
                <a:gd name="T71" fmla="*/ 91 h 276"/>
                <a:gd name="T72" fmla="*/ 83 w 336"/>
                <a:gd name="T73" fmla="*/ 91 h 276"/>
                <a:gd name="T74" fmla="*/ 78 w 336"/>
                <a:gd name="T75" fmla="*/ 91 h 276"/>
                <a:gd name="T76" fmla="*/ 69 w 336"/>
                <a:gd name="T77" fmla="*/ 85 h 276"/>
                <a:gd name="T78" fmla="*/ 63 w 336"/>
                <a:gd name="T79" fmla="*/ 91 h 276"/>
                <a:gd name="T80" fmla="*/ 50 w 336"/>
                <a:gd name="T81" fmla="*/ 91 h 276"/>
                <a:gd name="T82" fmla="*/ 43 w 336"/>
                <a:gd name="T83" fmla="*/ 85 h 276"/>
                <a:gd name="T84" fmla="*/ 31 w 336"/>
                <a:gd name="T85" fmla="*/ 100 h 276"/>
                <a:gd name="T86" fmla="*/ 25 w 336"/>
                <a:gd name="T87" fmla="*/ 95 h 276"/>
                <a:gd name="T88" fmla="*/ 19 w 336"/>
                <a:gd name="T89" fmla="*/ 95 h 276"/>
                <a:gd name="T90" fmla="*/ 12 w 336"/>
                <a:gd name="T91" fmla="*/ 95 h 276"/>
                <a:gd name="T92" fmla="*/ 3 w 336"/>
                <a:gd name="T93" fmla="*/ 91 h 276"/>
                <a:gd name="T94" fmla="*/ 0 w 336"/>
                <a:gd name="T95" fmla="*/ 76 h 276"/>
                <a:gd name="T96" fmla="*/ 6 w 336"/>
                <a:gd name="T97" fmla="*/ 66 h 276"/>
                <a:gd name="T98" fmla="*/ 9 w 336"/>
                <a:gd name="T99" fmla="*/ 54 h 276"/>
                <a:gd name="T100" fmla="*/ 15 w 336"/>
                <a:gd name="T101" fmla="*/ 44 h 276"/>
                <a:gd name="T102" fmla="*/ 15 w 336"/>
                <a:gd name="T103" fmla="*/ 37 h 276"/>
                <a:gd name="T104" fmla="*/ 15 w 336"/>
                <a:gd name="T105" fmla="*/ 32 h 276"/>
                <a:gd name="T106" fmla="*/ 19 w 336"/>
                <a:gd name="T107" fmla="*/ 22 h 276"/>
                <a:gd name="T108" fmla="*/ 28 w 336"/>
                <a:gd name="T109" fmla="*/ 19 h 276"/>
                <a:gd name="T110" fmla="*/ 35 w 336"/>
                <a:gd name="T111" fmla="*/ 12 h 276"/>
                <a:gd name="T112" fmla="*/ 43 w 336"/>
                <a:gd name="T113" fmla="*/ 9 h 276"/>
                <a:gd name="T114" fmla="*/ 50 w 336"/>
                <a:gd name="T115" fmla="*/ 9 h 2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36" h="276">
                  <a:moveTo>
                    <a:pt x="108" y="0"/>
                  </a:moveTo>
                  <a:lnTo>
                    <a:pt x="114" y="6"/>
                  </a:lnTo>
                  <a:lnTo>
                    <a:pt x="114" y="12"/>
                  </a:lnTo>
                  <a:lnTo>
                    <a:pt x="120" y="12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60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66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8" y="84"/>
                  </a:lnTo>
                  <a:lnTo>
                    <a:pt x="138" y="90"/>
                  </a:lnTo>
                  <a:lnTo>
                    <a:pt x="144" y="96"/>
                  </a:lnTo>
                  <a:lnTo>
                    <a:pt x="144" y="102"/>
                  </a:lnTo>
                  <a:lnTo>
                    <a:pt x="150" y="108"/>
                  </a:lnTo>
                  <a:lnTo>
                    <a:pt x="150" y="114"/>
                  </a:lnTo>
                  <a:lnTo>
                    <a:pt x="150" y="120"/>
                  </a:lnTo>
                  <a:lnTo>
                    <a:pt x="156" y="120"/>
                  </a:lnTo>
                  <a:lnTo>
                    <a:pt x="162" y="120"/>
                  </a:lnTo>
                  <a:lnTo>
                    <a:pt x="162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2" y="144"/>
                  </a:lnTo>
                  <a:lnTo>
                    <a:pt x="168" y="144"/>
                  </a:lnTo>
                  <a:lnTo>
                    <a:pt x="168" y="138"/>
                  </a:lnTo>
                  <a:lnTo>
                    <a:pt x="174" y="138"/>
                  </a:lnTo>
                  <a:lnTo>
                    <a:pt x="168" y="132"/>
                  </a:lnTo>
                  <a:lnTo>
                    <a:pt x="168" y="126"/>
                  </a:lnTo>
                  <a:lnTo>
                    <a:pt x="168" y="120"/>
                  </a:lnTo>
                  <a:lnTo>
                    <a:pt x="168" y="126"/>
                  </a:lnTo>
                  <a:lnTo>
                    <a:pt x="174" y="120"/>
                  </a:lnTo>
                  <a:lnTo>
                    <a:pt x="174" y="126"/>
                  </a:lnTo>
                  <a:lnTo>
                    <a:pt x="180" y="126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86" y="144"/>
                  </a:lnTo>
                  <a:lnTo>
                    <a:pt x="180" y="144"/>
                  </a:lnTo>
                  <a:lnTo>
                    <a:pt x="186" y="144"/>
                  </a:lnTo>
                  <a:lnTo>
                    <a:pt x="186" y="150"/>
                  </a:lnTo>
                  <a:lnTo>
                    <a:pt x="192" y="150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198" y="150"/>
                  </a:lnTo>
                  <a:lnTo>
                    <a:pt x="204" y="150"/>
                  </a:lnTo>
                  <a:lnTo>
                    <a:pt x="204" y="144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10" y="150"/>
                  </a:lnTo>
                  <a:lnTo>
                    <a:pt x="216" y="156"/>
                  </a:lnTo>
                  <a:lnTo>
                    <a:pt x="216" y="162"/>
                  </a:lnTo>
                  <a:lnTo>
                    <a:pt x="222" y="162"/>
                  </a:lnTo>
                  <a:lnTo>
                    <a:pt x="228" y="162"/>
                  </a:lnTo>
                  <a:lnTo>
                    <a:pt x="234" y="162"/>
                  </a:lnTo>
                  <a:lnTo>
                    <a:pt x="240" y="162"/>
                  </a:lnTo>
                  <a:lnTo>
                    <a:pt x="240" y="168"/>
                  </a:lnTo>
                  <a:lnTo>
                    <a:pt x="246" y="174"/>
                  </a:lnTo>
                  <a:lnTo>
                    <a:pt x="246" y="180"/>
                  </a:lnTo>
                  <a:lnTo>
                    <a:pt x="252" y="186"/>
                  </a:lnTo>
                  <a:lnTo>
                    <a:pt x="258" y="192"/>
                  </a:lnTo>
                  <a:lnTo>
                    <a:pt x="258" y="198"/>
                  </a:lnTo>
                  <a:lnTo>
                    <a:pt x="258" y="192"/>
                  </a:lnTo>
                  <a:lnTo>
                    <a:pt x="264" y="198"/>
                  </a:lnTo>
                  <a:lnTo>
                    <a:pt x="270" y="198"/>
                  </a:lnTo>
                  <a:lnTo>
                    <a:pt x="270" y="204"/>
                  </a:lnTo>
                  <a:lnTo>
                    <a:pt x="276" y="204"/>
                  </a:lnTo>
                  <a:lnTo>
                    <a:pt x="276" y="210"/>
                  </a:lnTo>
                  <a:lnTo>
                    <a:pt x="282" y="210"/>
                  </a:lnTo>
                  <a:lnTo>
                    <a:pt x="282" y="216"/>
                  </a:lnTo>
                  <a:lnTo>
                    <a:pt x="288" y="216"/>
                  </a:lnTo>
                  <a:lnTo>
                    <a:pt x="288" y="210"/>
                  </a:lnTo>
                  <a:lnTo>
                    <a:pt x="288" y="216"/>
                  </a:lnTo>
                  <a:lnTo>
                    <a:pt x="294" y="216"/>
                  </a:lnTo>
                  <a:lnTo>
                    <a:pt x="294" y="222"/>
                  </a:lnTo>
                  <a:lnTo>
                    <a:pt x="294" y="228"/>
                  </a:lnTo>
                  <a:lnTo>
                    <a:pt x="294" y="234"/>
                  </a:lnTo>
                  <a:lnTo>
                    <a:pt x="300" y="234"/>
                  </a:lnTo>
                  <a:lnTo>
                    <a:pt x="306" y="234"/>
                  </a:lnTo>
                  <a:lnTo>
                    <a:pt x="306" y="240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2" y="240"/>
                  </a:lnTo>
                  <a:lnTo>
                    <a:pt x="312" y="246"/>
                  </a:lnTo>
                  <a:lnTo>
                    <a:pt x="318" y="246"/>
                  </a:lnTo>
                  <a:lnTo>
                    <a:pt x="318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24" y="252"/>
                  </a:lnTo>
                  <a:lnTo>
                    <a:pt x="330" y="252"/>
                  </a:lnTo>
                  <a:lnTo>
                    <a:pt x="330" y="258"/>
                  </a:lnTo>
                  <a:lnTo>
                    <a:pt x="336" y="258"/>
                  </a:lnTo>
                  <a:lnTo>
                    <a:pt x="330" y="264"/>
                  </a:lnTo>
                  <a:lnTo>
                    <a:pt x="324" y="264"/>
                  </a:lnTo>
                  <a:lnTo>
                    <a:pt x="318" y="264"/>
                  </a:lnTo>
                  <a:lnTo>
                    <a:pt x="318" y="270"/>
                  </a:lnTo>
                  <a:lnTo>
                    <a:pt x="318" y="276"/>
                  </a:lnTo>
                  <a:lnTo>
                    <a:pt x="312" y="276"/>
                  </a:lnTo>
                  <a:lnTo>
                    <a:pt x="306" y="270"/>
                  </a:lnTo>
                  <a:lnTo>
                    <a:pt x="300" y="270"/>
                  </a:lnTo>
                  <a:lnTo>
                    <a:pt x="294" y="270"/>
                  </a:lnTo>
                  <a:lnTo>
                    <a:pt x="294" y="264"/>
                  </a:lnTo>
                  <a:lnTo>
                    <a:pt x="288" y="258"/>
                  </a:lnTo>
                  <a:lnTo>
                    <a:pt x="282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6" y="246"/>
                  </a:lnTo>
                  <a:lnTo>
                    <a:pt x="270" y="246"/>
                  </a:lnTo>
                  <a:lnTo>
                    <a:pt x="270" y="240"/>
                  </a:lnTo>
                  <a:lnTo>
                    <a:pt x="264" y="234"/>
                  </a:lnTo>
                  <a:lnTo>
                    <a:pt x="246" y="216"/>
                  </a:lnTo>
                  <a:lnTo>
                    <a:pt x="240" y="216"/>
                  </a:lnTo>
                  <a:lnTo>
                    <a:pt x="240" y="210"/>
                  </a:lnTo>
                  <a:lnTo>
                    <a:pt x="234" y="204"/>
                  </a:lnTo>
                  <a:lnTo>
                    <a:pt x="228" y="198"/>
                  </a:lnTo>
                  <a:lnTo>
                    <a:pt x="222" y="192"/>
                  </a:lnTo>
                  <a:lnTo>
                    <a:pt x="222" y="186"/>
                  </a:lnTo>
                  <a:lnTo>
                    <a:pt x="216" y="186"/>
                  </a:lnTo>
                  <a:lnTo>
                    <a:pt x="210" y="186"/>
                  </a:lnTo>
                  <a:lnTo>
                    <a:pt x="204" y="186"/>
                  </a:lnTo>
                  <a:lnTo>
                    <a:pt x="198" y="180"/>
                  </a:lnTo>
                  <a:lnTo>
                    <a:pt x="192" y="174"/>
                  </a:lnTo>
                  <a:lnTo>
                    <a:pt x="186" y="174"/>
                  </a:lnTo>
                  <a:lnTo>
                    <a:pt x="180" y="174"/>
                  </a:lnTo>
                  <a:lnTo>
                    <a:pt x="174" y="174"/>
                  </a:lnTo>
                  <a:lnTo>
                    <a:pt x="168" y="174"/>
                  </a:lnTo>
                  <a:lnTo>
                    <a:pt x="162" y="174"/>
                  </a:lnTo>
                  <a:lnTo>
                    <a:pt x="162" y="168"/>
                  </a:lnTo>
                  <a:lnTo>
                    <a:pt x="156" y="168"/>
                  </a:lnTo>
                  <a:lnTo>
                    <a:pt x="156" y="174"/>
                  </a:lnTo>
                  <a:lnTo>
                    <a:pt x="150" y="174"/>
                  </a:lnTo>
                  <a:lnTo>
                    <a:pt x="144" y="174"/>
                  </a:lnTo>
                  <a:lnTo>
                    <a:pt x="138" y="174"/>
                  </a:lnTo>
                  <a:lnTo>
                    <a:pt x="138" y="168"/>
                  </a:lnTo>
                  <a:lnTo>
                    <a:pt x="132" y="162"/>
                  </a:lnTo>
                  <a:lnTo>
                    <a:pt x="132" y="168"/>
                  </a:lnTo>
                  <a:lnTo>
                    <a:pt x="126" y="168"/>
                  </a:lnTo>
                  <a:lnTo>
                    <a:pt x="126" y="174"/>
                  </a:lnTo>
                  <a:lnTo>
                    <a:pt x="120" y="174"/>
                  </a:lnTo>
                  <a:lnTo>
                    <a:pt x="114" y="174"/>
                  </a:lnTo>
                  <a:lnTo>
                    <a:pt x="108" y="174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0" y="168"/>
                  </a:lnTo>
                  <a:lnTo>
                    <a:pt x="90" y="162"/>
                  </a:lnTo>
                  <a:lnTo>
                    <a:pt x="84" y="162"/>
                  </a:lnTo>
                  <a:lnTo>
                    <a:pt x="78" y="162"/>
                  </a:lnTo>
                  <a:lnTo>
                    <a:pt x="78" y="156"/>
                  </a:lnTo>
                  <a:lnTo>
                    <a:pt x="78" y="150"/>
                  </a:lnTo>
                  <a:lnTo>
                    <a:pt x="60" y="192"/>
                  </a:lnTo>
                  <a:lnTo>
                    <a:pt x="54" y="192"/>
                  </a:lnTo>
                  <a:lnTo>
                    <a:pt x="54" y="186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42" y="174"/>
                  </a:lnTo>
                  <a:lnTo>
                    <a:pt x="36" y="174"/>
                  </a:lnTo>
                  <a:lnTo>
                    <a:pt x="36" y="180"/>
                  </a:lnTo>
                  <a:lnTo>
                    <a:pt x="30" y="180"/>
                  </a:lnTo>
                  <a:lnTo>
                    <a:pt x="30" y="186"/>
                  </a:lnTo>
                  <a:lnTo>
                    <a:pt x="30" y="180"/>
                  </a:lnTo>
                  <a:lnTo>
                    <a:pt x="24" y="180"/>
                  </a:lnTo>
                  <a:lnTo>
                    <a:pt x="18" y="180"/>
                  </a:lnTo>
                  <a:lnTo>
                    <a:pt x="12" y="180"/>
                  </a:lnTo>
                  <a:lnTo>
                    <a:pt x="6" y="180"/>
                  </a:lnTo>
                  <a:lnTo>
                    <a:pt x="6" y="174"/>
                  </a:lnTo>
                  <a:lnTo>
                    <a:pt x="6" y="168"/>
                  </a:lnTo>
                  <a:lnTo>
                    <a:pt x="6" y="156"/>
                  </a:lnTo>
                  <a:lnTo>
                    <a:pt x="6" y="150"/>
                  </a:lnTo>
                  <a:lnTo>
                    <a:pt x="0" y="144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32"/>
                  </a:lnTo>
                  <a:lnTo>
                    <a:pt x="12" y="126"/>
                  </a:lnTo>
                  <a:lnTo>
                    <a:pt x="12" y="120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24" y="72"/>
                  </a:lnTo>
                  <a:lnTo>
                    <a:pt x="24" y="6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36" y="42"/>
                  </a:lnTo>
                  <a:lnTo>
                    <a:pt x="42" y="42"/>
                  </a:lnTo>
                  <a:lnTo>
                    <a:pt x="48" y="42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8" name="Freeform 51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3304" y="2187"/>
              <a:ext cx="235" cy="240"/>
            </a:xfrm>
            <a:custGeom>
              <a:avLst/>
              <a:gdLst>
                <a:gd name="T0" fmla="*/ 37 w 276"/>
                <a:gd name="T1" fmla="*/ 16 h 282"/>
                <a:gd name="T2" fmla="*/ 41 w 276"/>
                <a:gd name="T3" fmla="*/ 9 h 282"/>
                <a:gd name="T4" fmla="*/ 54 w 276"/>
                <a:gd name="T5" fmla="*/ 12 h 282"/>
                <a:gd name="T6" fmla="*/ 60 w 276"/>
                <a:gd name="T7" fmla="*/ 9 h 282"/>
                <a:gd name="T8" fmla="*/ 63 w 276"/>
                <a:gd name="T9" fmla="*/ 16 h 282"/>
                <a:gd name="T10" fmla="*/ 76 w 276"/>
                <a:gd name="T11" fmla="*/ 12 h 282"/>
                <a:gd name="T12" fmla="*/ 91 w 276"/>
                <a:gd name="T13" fmla="*/ 7 h 282"/>
                <a:gd name="T14" fmla="*/ 110 w 276"/>
                <a:gd name="T15" fmla="*/ 3 h 282"/>
                <a:gd name="T16" fmla="*/ 119 w 276"/>
                <a:gd name="T17" fmla="*/ 3 h 282"/>
                <a:gd name="T18" fmla="*/ 123 w 276"/>
                <a:gd name="T19" fmla="*/ 7 h 282"/>
                <a:gd name="T20" fmla="*/ 123 w 276"/>
                <a:gd name="T21" fmla="*/ 9 h 282"/>
                <a:gd name="T22" fmla="*/ 123 w 276"/>
                <a:gd name="T23" fmla="*/ 12 h 282"/>
                <a:gd name="T24" fmla="*/ 129 w 276"/>
                <a:gd name="T25" fmla="*/ 16 h 282"/>
                <a:gd name="T26" fmla="*/ 129 w 276"/>
                <a:gd name="T27" fmla="*/ 19 h 282"/>
                <a:gd name="T28" fmla="*/ 129 w 276"/>
                <a:gd name="T29" fmla="*/ 22 h 282"/>
                <a:gd name="T30" fmla="*/ 133 w 276"/>
                <a:gd name="T31" fmla="*/ 28 h 282"/>
                <a:gd name="T32" fmla="*/ 135 w 276"/>
                <a:gd name="T33" fmla="*/ 35 h 282"/>
                <a:gd name="T34" fmla="*/ 142 w 276"/>
                <a:gd name="T35" fmla="*/ 43 h 282"/>
                <a:gd name="T36" fmla="*/ 142 w 276"/>
                <a:gd name="T37" fmla="*/ 56 h 282"/>
                <a:gd name="T38" fmla="*/ 142 w 276"/>
                <a:gd name="T39" fmla="*/ 69 h 282"/>
                <a:gd name="T40" fmla="*/ 135 w 276"/>
                <a:gd name="T41" fmla="*/ 72 h 282"/>
                <a:gd name="T42" fmla="*/ 135 w 276"/>
                <a:gd name="T43" fmla="*/ 76 h 282"/>
                <a:gd name="T44" fmla="*/ 129 w 276"/>
                <a:gd name="T45" fmla="*/ 79 h 282"/>
                <a:gd name="T46" fmla="*/ 129 w 276"/>
                <a:gd name="T47" fmla="*/ 89 h 282"/>
                <a:gd name="T48" fmla="*/ 123 w 276"/>
                <a:gd name="T49" fmla="*/ 91 h 282"/>
                <a:gd name="T50" fmla="*/ 119 w 276"/>
                <a:gd name="T51" fmla="*/ 100 h 282"/>
                <a:gd name="T52" fmla="*/ 117 w 276"/>
                <a:gd name="T53" fmla="*/ 107 h 282"/>
                <a:gd name="T54" fmla="*/ 114 w 276"/>
                <a:gd name="T55" fmla="*/ 119 h 282"/>
                <a:gd name="T56" fmla="*/ 54 w 276"/>
                <a:gd name="T57" fmla="*/ 135 h 282"/>
                <a:gd name="T58" fmla="*/ 35 w 276"/>
                <a:gd name="T59" fmla="*/ 135 h 282"/>
                <a:gd name="T60" fmla="*/ 26 w 276"/>
                <a:gd name="T61" fmla="*/ 135 h 282"/>
                <a:gd name="T62" fmla="*/ 19 w 276"/>
                <a:gd name="T63" fmla="*/ 139 h 282"/>
                <a:gd name="T64" fmla="*/ 16 w 276"/>
                <a:gd name="T65" fmla="*/ 145 h 282"/>
                <a:gd name="T66" fmla="*/ 9 w 276"/>
                <a:gd name="T67" fmla="*/ 148 h 282"/>
                <a:gd name="T68" fmla="*/ 7 w 276"/>
                <a:gd name="T69" fmla="*/ 142 h 282"/>
                <a:gd name="T70" fmla="*/ 3 w 276"/>
                <a:gd name="T71" fmla="*/ 142 h 282"/>
                <a:gd name="T72" fmla="*/ 0 w 276"/>
                <a:gd name="T73" fmla="*/ 139 h 282"/>
                <a:gd name="T74" fmla="*/ 3 w 276"/>
                <a:gd name="T75" fmla="*/ 132 h 282"/>
                <a:gd name="T76" fmla="*/ 3 w 276"/>
                <a:gd name="T77" fmla="*/ 123 h 282"/>
                <a:gd name="T78" fmla="*/ 7 w 276"/>
                <a:gd name="T79" fmla="*/ 107 h 282"/>
                <a:gd name="T80" fmla="*/ 9 w 276"/>
                <a:gd name="T81" fmla="*/ 100 h 282"/>
                <a:gd name="T82" fmla="*/ 12 w 276"/>
                <a:gd name="T83" fmla="*/ 91 h 282"/>
                <a:gd name="T84" fmla="*/ 16 w 276"/>
                <a:gd name="T85" fmla="*/ 85 h 282"/>
                <a:gd name="T86" fmla="*/ 19 w 276"/>
                <a:gd name="T87" fmla="*/ 79 h 282"/>
                <a:gd name="T88" fmla="*/ 32 w 276"/>
                <a:gd name="T89" fmla="*/ 69 h 282"/>
                <a:gd name="T90" fmla="*/ 44 w 276"/>
                <a:gd name="T91" fmla="*/ 56 h 282"/>
                <a:gd name="T92" fmla="*/ 41 w 276"/>
                <a:gd name="T93" fmla="*/ 51 h 282"/>
                <a:gd name="T94" fmla="*/ 35 w 276"/>
                <a:gd name="T95" fmla="*/ 48 h 282"/>
                <a:gd name="T96" fmla="*/ 32 w 276"/>
                <a:gd name="T97" fmla="*/ 41 h 282"/>
                <a:gd name="T98" fmla="*/ 35 w 276"/>
                <a:gd name="T99" fmla="*/ 31 h 282"/>
                <a:gd name="T100" fmla="*/ 35 w 276"/>
                <a:gd name="T101" fmla="*/ 26 h 282"/>
                <a:gd name="T102" fmla="*/ 35 w 276"/>
                <a:gd name="T103" fmla="*/ 19 h 28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276" h="282">
                  <a:moveTo>
                    <a:pt x="66" y="36"/>
                  </a:moveTo>
                  <a:lnTo>
                    <a:pt x="66" y="30"/>
                  </a:lnTo>
                  <a:lnTo>
                    <a:pt x="72" y="30"/>
                  </a:lnTo>
                  <a:lnTo>
                    <a:pt x="72" y="24"/>
                  </a:lnTo>
                  <a:lnTo>
                    <a:pt x="78" y="24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24"/>
                  </a:lnTo>
                  <a:lnTo>
                    <a:pt x="108" y="24"/>
                  </a:lnTo>
                  <a:lnTo>
                    <a:pt x="108" y="18"/>
                  </a:lnTo>
                  <a:lnTo>
                    <a:pt x="114" y="18"/>
                  </a:lnTo>
                  <a:lnTo>
                    <a:pt x="120" y="18"/>
                  </a:lnTo>
                  <a:lnTo>
                    <a:pt x="120" y="24"/>
                  </a:lnTo>
                  <a:lnTo>
                    <a:pt x="120" y="30"/>
                  </a:lnTo>
                  <a:lnTo>
                    <a:pt x="126" y="30"/>
                  </a:lnTo>
                  <a:lnTo>
                    <a:pt x="132" y="30"/>
                  </a:lnTo>
                  <a:lnTo>
                    <a:pt x="144" y="24"/>
                  </a:lnTo>
                  <a:lnTo>
                    <a:pt x="156" y="18"/>
                  </a:lnTo>
                  <a:lnTo>
                    <a:pt x="168" y="18"/>
                  </a:lnTo>
                  <a:lnTo>
                    <a:pt x="174" y="12"/>
                  </a:lnTo>
                  <a:lnTo>
                    <a:pt x="180" y="18"/>
                  </a:lnTo>
                  <a:lnTo>
                    <a:pt x="198" y="24"/>
                  </a:lnTo>
                  <a:lnTo>
                    <a:pt x="210" y="6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28" y="6"/>
                  </a:lnTo>
                  <a:lnTo>
                    <a:pt x="228" y="12"/>
                  </a:lnTo>
                  <a:lnTo>
                    <a:pt x="228" y="18"/>
                  </a:lnTo>
                  <a:lnTo>
                    <a:pt x="234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34" y="18"/>
                  </a:lnTo>
                  <a:lnTo>
                    <a:pt x="234" y="24"/>
                  </a:lnTo>
                  <a:lnTo>
                    <a:pt x="240" y="24"/>
                  </a:lnTo>
                  <a:lnTo>
                    <a:pt x="246" y="24"/>
                  </a:lnTo>
                  <a:lnTo>
                    <a:pt x="246" y="30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6" y="36"/>
                  </a:lnTo>
                  <a:lnTo>
                    <a:pt x="240" y="36"/>
                  </a:lnTo>
                  <a:lnTo>
                    <a:pt x="240" y="42"/>
                  </a:lnTo>
                  <a:lnTo>
                    <a:pt x="246" y="42"/>
                  </a:lnTo>
                  <a:lnTo>
                    <a:pt x="246" y="48"/>
                  </a:lnTo>
                  <a:lnTo>
                    <a:pt x="246" y="54"/>
                  </a:lnTo>
                  <a:lnTo>
                    <a:pt x="252" y="54"/>
                  </a:lnTo>
                  <a:lnTo>
                    <a:pt x="252" y="60"/>
                  </a:lnTo>
                  <a:lnTo>
                    <a:pt x="252" y="66"/>
                  </a:lnTo>
                  <a:lnTo>
                    <a:pt x="258" y="66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84"/>
                  </a:lnTo>
                  <a:lnTo>
                    <a:pt x="270" y="90"/>
                  </a:lnTo>
                  <a:lnTo>
                    <a:pt x="270" y="102"/>
                  </a:lnTo>
                  <a:lnTo>
                    <a:pt x="270" y="108"/>
                  </a:lnTo>
                  <a:lnTo>
                    <a:pt x="276" y="114"/>
                  </a:lnTo>
                  <a:lnTo>
                    <a:pt x="270" y="126"/>
                  </a:lnTo>
                  <a:lnTo>
                    <a:pt x="270" y="132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38"/>
                  </a:lnTo>
                  <a:lnTo>
                    <a:pt x="264" y="138"/>
                  </a:lnTo>
                  <a:lnTo>
                    <a:pt x="264" y="144"/>
                  </a:lnTo>
                  <a:lnTo>
                    <a:pt x="258" y="144"/>
                  </a:lnTo>
                  <a:lnTo>
                    <a:pt x="258" y="150"/>
                  </a:lnTo>
                  <a:lnTo>
                    <a:pt x="252" y="150"/>
                  </a:lnTo>
                  <a:lnTo>
                    <a:pt x="246" y="150"/>
                  </a:lnTo>
                  <a:lnTo>
                    <a:pt x="246" y="156"/>
                  </a:lnTo>
                  <a:lnTo>
                    <a:pt x="246" y="162"/>
                  </a:lnTo>
                  <a:lnTo>
                    <a:pt x="246" y="168"/>
                  </a:lnTo>
                  <a:lnTo>
                    <a:pt x="240" y="168"/>
                  </a:lnTo>
                  <a:lnTo>
                    <a:pt x="240" y="174"/>
                  </a:lnTo>
                  <a:lnTo>
                    <a:pt x="234" y="174"/>
                  </a:lnTo>
                  <a:lnTo>
                    <a:pt x="228" y="180"/>
                  </a:lnTo>
                  <a:lnTo>
                    <a:pt x="228" y="186"/>
                  </a:lnTo>
                  <a:lnTo>
                    <a:pt x="228" y="192"/>
                  </a:lnTo>
                  <a:lnTo>
                    <a:pt x="222" y="192"/>
                  </a:lnTo>
                  <a:lnTo>
                    <a:pt x="216" y="204"/>
                  </a:lnTo>
                  <a:lnTo>
                    <a:pt x="222" y="204"/>
                  </a:lnTo>
                  <a:lnTo>
                    <a:pt x="222" y="216"/>
                  </a:lnTo>
                  <a:lnTo>
                    <a:pt x="222" y="222"/>
                  </a:lnTo>
                  <a:lnTo>
                    <a:pt x="216" y="228"/>
                  </a:lnTo>
                  <a:lnTo>
                    <a:pt x="216" y="240"/>
                  </a:lnTo>
                  <a:lnTo>
                    <a:pt x="216" y="258"/>
                  </a:lnTo>
                  <a:lnTo>
                    <a:pt x="102" y="258"/>
                  </a:lnTo>
                  <a:lnTo>
                    <a:pt x="84" y="258"/>
                  </a:lnTo>
                  <a:lnTo>
                    <a:pt x="78" y="258"/>
                  </a:lnTo>
                  <a:lnTo>
                    <a:pt x="66" y="258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2" y="258"/>
                  </a:lnTo>
                  <a:lnTo>
                    <a:pt x="42" y="264"/>
                  </a:lnTo>
                  <a:lnTo>
                    <a:pt x="36" y="264"/>
                  </a:lnTo>
                  <a:lnTo>
                    <a:pt x="36" y="270"/>
                  </a:lnTo>
                  <a:lnTo>
                    <a:pt x="30" y="270"/>
                  </a:lnTo>
                  <a:lnTo>
                    <a:pt x="30" y="276"/>
                  </a:lnTo>
                  <a:lnTo>
                    <a:pt x="24" y="276"/>
                  </a:lnTo>
                  <a:lnTo>
                    <a:pt x="24" y="282"/>
                  </a:lnTo>
                  <a:lnTo>
                    <a:pt x="18" y="282"/>
                  </a:lnTo>
                  <a:lnTo>
                    <a:pt x="18" y="276"/>
                  </a:lnTo>
                  <a:lnTo>
                    <a:pt x="18" y="270"/>
                  </a:lnTo>
                  <a:lnTo>
                    <a:pt x="12" y="270"/>
                  </a:lnTo>
                  <a:lnTo>
                    <a:pt x="12" y="276"/>
                  </a:lnTo>
                  <a:lnTo>
                    <a:pt x="6" y="276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0" y="264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52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6" y="234"/>
                  </a:lnTo>
                  <a:lnTo>
                    <a:pt x="6" y="228"/>
                  </a:lnTo>
                  <a:lnTo>
                    <a:pt x="12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8" y="198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24" y="180"/>
                  </a:lnTo>
                  <a:lnTo>
                    <a:pt x="24" y="174"/>
                  </a:lnTo>
                  <a:lnTo>
                    <a:pt x="24" y="168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6" y="162"/>
                  </a:lnTo>
                  <a:lnTo>
                    <a:pt x="36" y="156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60" y="132"/>
                  </a:lnTo>
                  <a:lnTo>
                    <a:pt x="72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0" y="102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78" y="90"/>
                  </a:lnTo>
                  <a:lnTo>
                    <a:pt x="72" y="90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60" y="54"/>
                  </a:lnTo>
                  <a:lnTo>
                    <a:pt x="66" y="48"/>
                  </a:lnTo>
                  <a:lnTo>
                    <a:pt x="66" y="42"/>
                  </a:lnTo>
                  <a:lnTo>
                    <a:pt x="72" y="36"/>
                  </a:lnTo>
                  <a:lnTo>
                    <a:pt x="66" y="36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599" name="Freeform 52"/>
            <p:cNvSpPr>
              <a:spLocks noChangeAspect="1"/>
            </p:cNvSpPr>
            <p:nvPr>
              <p:custDataLst>
                <p:tags r:id="rId34"/>
              </p:custDataLst>
            </p:nvPr>
          </p:nvSpPr>
          <p:spPr bwMode="auto">
            <a:xfrm>
              <a:off x="3452" y="1734"/>
              <a:ext cx="633" cy="484"/>
            </a:xfrm>
            <a:custGeom>
              <a:avLst/>
              <a:gdLst>
                <a:gd name="T0" fmla="*/ 97 w 744"/>
                <a:gd name="T1" fmla="*/ 15 h 570"/>
                <a:gd name="T2" fmla="*/ 107 w 744"/>
                <a:gd name="T3" fmla="*/ 12 h 570"/>
                <a:gd name="T4" fmla="*/ 117 w 744"/>
                <a:gd name="T5" fmla="*/ 22 h 570"/>
                <a:gd name="T6" fmla="*/ 135 w 744"/>
                <a:gd name="T7" fmla="*/ 6 h 570"/>
                <a:gd name="T8" fmla="*/ 148 w 744"/>
                <a:gd name="T9" fmla="*/ 12 h 570"/>
                <a:gd name="T10" fmla="*/ 160 w 744"/>
                <a:gd name="T11" fmla="*/ 9 h 570"/>
                <a:gd name="T12" fmla="*/ 173 w 744"/>
                <a:gd name="T13" fmla="*/ 9 h 570"/>
                <a:gd name="T14" fmla="*/ 188 w 744"/>
                <a:gd name="T15" fmla="*/ 12 h 570"/>
                <a:gd name="T16" fmla="*/ 204 w 744"/>
                <a:gd name="T17" fmla="*/ 22 h 570"/>
                <a:gd name="T18" fmla="*/ 226 w 744"/>
                <a:gd name="T19" fmla="*/ 43 h 570"/>
                <a:gd name="T20" fmla="*/ 236 w 744"/>
                <a:gd name="T21" fmla="*/ 56 h 570"/>
                <a:gd name="T22" fmla="*/ 242 w 744"/>
                <a:gd name="T23" fmla="*/ 69 h 570"/>
                <a:gd name="T24" fmla="*/ 230 w 744"/>
                <a:gd name="T25" fmla="*/ 81 h 570"/>
                <a:gd name="T26" fmla="*/ 230 w 744"/>
                <a:gd name="T27" fmla="*/ 99 h 570"/>
                <a:gd name="T28" fmla="*/ 245 w 744"/>
                <a:gd name="T29" fmla="*/ 103 h 570"/>
                <a:gd name="T30" fmla="*/ 258 w 744"/>
                <a:gd name="T31" fmla="*/ 103 h 570"/>
                <a:gd name="T32" fmla="*/ 254 w 744"/>
                <a:gd name="T33" fmla="*/ 119 h 570"/>
                <a:gd name="T34" fmla="*/ 267 w 744"/>
                <a:gd name="T35" fmla="*/ 132 h 570"/>
                <a:gd name="T36" fmla="*/ 283 w 744"/>
                <a:gd name="T37" fmla="*/ 150 h 570"/>
                <a:gd name="T38" fmla="*/ 339 w 744"/>
                <a:gd name="T39" fmla="*/ 172 h 570"/>
                <a:gd name="T40" fmla="*/ 311 w 744"/>
                <a:gd name="T41" fmla="*/ 259 h 570"/>
                <a:gd name="T42" fmla="*/ 261 w 744"/>
                <a:gd name="T43" fmla="*/ 268 h 570"/>
                <a:gd name="T44" fmla="*/ 248 w 744"/>
                <a:gd name="T45" fmla="*/ 278 h 570"/>
                <a:gd name="T46" fmla="*/ 233 w 744"/>
                <a:gd name="T47" fmla="*/ 284 h 570"/>
                <a:gd name="T48" fmla="*/ 214 w 744"/>
                <a:gd name="T49" fmla="*/ 284 h 570"/>
                <a:gd name="T50" fmla="*/ 204 w 744"/>
                <a:gd name="T51" fmla="*/ 274 h 570"/>
                <a:gd name="T52" fmla="*/ 185 w 744"/>
                <a:gd name="T53" fmla="*/ 281 h 570"/>
                <a:gd name="T54" fmla="*/ 168 w 744"/>
                <a:gd name="T55" fmla="*/ 296 h 570"/>
                <a:gd name="T56" fmla="*/ 151 w 744"/>
                <a:gd name="T57" fmla="*/ 294 h 570"/>
                <a:gd name="T58" fmla="*/ 132 w 744"/>
                <a:gd name="T59" fmla="*/ 294 h 570"/>
                <a:gd name="T60" fmla="*/ 104 w 744"/>
                <a:gd name="T61" fmla="*/ 274 h 570"/>
                <a:gd name="T62" fmla="*/ 82 w 744"/>
                <a:gd name="T63" fmla="*/ 271 h 570"/>
                <a:gd name="T64" fmla="*/ 76 w 744"/>
                <a:gd name="T65" fmla="*/ 253 h 570"/>
                <a:gd name="T66" fmla="*/ 69 w 744"/>
                <a:gd name="T67" fmla="*/ 246 h 570"/>
                <a:gd name="T68" fmla="*/ 54 w 744"/>
                <a:gd name="T69" fmla="*/ 237 h 570"/>
                <a:gd name="T70" fmla="*/ 51 w 744"/>
                <a:gd name="T71" fmla="*/ 218 h 570"/>
                <a:gd name="T72" fmla="*/ 43 w 744"/>
                <a:gd name="T73" fmla="*/ 212 h 570"/>
                <a:gd name="T74" fmla="*/ 37 w 744"/>
                <a:gd name="T75" fmla="*/ 209 h 570"/>
                <a:gd name="T76" fmla="*/ 26 w 744"/>
                <a:gd name="T77" fmla="*/ 200 h 570"/>
                <a:gd name="T78" fmla="*/ 19 w 744"/>
                <a:gd name="T79" fmla="*/ 188 h 570"/>
                <a:gd name="T80" fmla="*/ 12 w 744"/>
                <a:gd name="T81" fmla="*/ 188 h 570"/>
                <a:gd name="T82" fmla="*/ 0 w 744"/>
                <a:gd name="T83" fmla="*/ 184 h 570"/>
                <a:gd name="T84" fmla="*/ 3 w 744"/>
                <a:gd name="T85" fmla="*/ 174 h 570"/>
                <a:gd name="T86" fmla="*/ 9 w 744"/>
                <a:gd name="T87" fmla="*/ 169 h 570"/>
                <a:gd name="T88" fmla="*/ 19 w 744"/>
                <a:gd name="T89" fmla="*/ 169 h 570"/>
                <a:gd name="T90" fmla="*/ 28 w 744"/>
                <a:gd name="T91" fmla="*/ 160 h 570"/>
                <a:gd name="T92" fmla="*/ 31 w 744"/>
                <a:gd name="T93" fmla="*/ 132 h 570"/>
                <a:gd name="T94" fmla="*/ 35 w 744"/>
                <a:gd name="T95" fmla="*/ 115 h 570"/>
                <a:gd name="T96" fmla="*/ 37 w 744"/>
                <a:gd name="T97" fmla="*/ 106 h 570"/>
                <a:gd name="T98" fmla="*/ 48 w 744"/>
                <a:gd name="T99" fmla="*/ 106 h 570"/>
                <a:gd name="T100" fmla="*/ 54 w 744"/>
                <a:gd name="T101" fmla="*/ 91 h 570"/>
                <a:gd name="T102" fmla="*/ 60 w 744"/>
                <a:gd name="T103" fmla="*/ 75 h 570"/>
                <a:gd name="T104" fmla="*/ 69 w 744"/>
                <a:gd name="T105" fmla="*/ 59 h 570"/>
                <a:gd name="T106" fmla="*/ 82 w 744"/>
                <a:gd name="T107" fmla="*/ 56 h 570"/>
                <a:gd name="T108" fmla="*/ 88 w 744"/>
                <a:gd name="T109" fmla="*/ 37 h 570"/>
                <a:gd name="T110" fmla="*/ 91 w 744"/>
                <a:gd name="T111" fmla="*/ 25 h 5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744" h="570">
                  <a:moveTo>
                    <a:pt x="174" y="48"/>
                  </a:move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8" y="30"/>
                  </a:lnTo>
                  <a:lnTo>
                    <a:pt x="198" y="36"/>
                  </a:lnTo>
                  <a:lnTo>
                    <a:pt x="198" y="30"/>
                  </a:lnTo>
                  <a:lnTo>
                    <a:pt x="204" y="30"/>
                  </a:lnTo>
                  <a:lnTo>
                    <a:pt x="204" y="24"/>
                  </a:lnTo>
                  <a:lnTo>
                    <a:pt x="210" y="24"/>
                  </a:lnTo>
                  <a:lnTo>
                    <a:pt x="216" y="24"/>
                  </a:lnTo>
                  <a:lnTo>
                    <a:pt x="216" y="30"/>
                  </a:lnTo>
                  <a:lnTo>
                    <a:pt x="222" y="30"/>
                  </a:lnTo>
                  <a:lnTo>
                    <a:pt x="222" y="36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46" y="0"/>
                  </a:lnTo>
                  <a:lnTo>
                    <a:pt x="246" y="6"/>
                  </a:lnTo>
                  <a:lnTo>
                    <a:pt x="246" y="12"/>
                  </a:lnTo>
                  <a:lnTo>
                    <a:pt x="252" y="12"/>
                  </a:lnTo>
                  <a:lnTo>
                    <a:pt x="258" y="12"/>
                  </a:lnTo>
                  <a:lnTo>
                    <a:pt x="258" y="18"/>
                  </a:lnTo>
                  <a:lnTo>
                    <a:pt x="264" y="18"/>
                  </a:lnTo>
                  <a:lnTo>
                    <a:pt x="264" y="24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8" y="24"/>
                  </a:lnTo>
                  <a:lnTo>
                    <a:pt x="294" y="24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306" y="18"/>
                  </a:lnTo>
                  <a:lnTo>
                    <a:pt x="306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24" y="24"/>
                  </a:lnTo>
                  <a:lnTo>
                    <a:pt x="324" y="18"/>
                  </a:lnTo>
                  <a:lnTo>
                    <a:pt x="330" y="18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42" y="24"/>
                  </a:lnTo>
                  <a:lnTo>
                    <a:pt x="348" y="24"/>
                  </a:lnTo>
                  <a:lnTo>
                    <a:pt x="354" y="24"/>
                  </a:lnTo>
                  <a:lnTo>
                    <a:pt x="360" y="24"/>
                  </a:lnTo>
                  <a:lnTo>
                    <a:pt x="366" y="30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6" y="48"/>
                  </a:lnTo>
                  <a:lnTo>
                    <a:pt x="402" y="54"/>
                  </a:lnTo>
                  <a:lnTo>
                    <a:pt x="408" y="60"/>
                  </a:lnTo>
                  <a:lnTo>
                    <a:pt x="408" y="66"/>
                  </a:lnTo>
                  <a:lnTo>
                    <a:pt x="414" y="66"/>
                  </a:lnTo>
                  <a:lnTo>
                    <a:pt x="432" y="84"/>
                  </a:lnTo>
                  <a:lnTo>
                    <a:pt x="438" y="90"/>
                  </a:lnTo>
                  <a:lnTo>
                    <a:pt x="438" y="96"/>
                  </a:lnTo>
                  <a:lnTo>
                    <a:pt x="444" y="96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08"/>
                  </a:lnTo>
                  <a:lnTo>
                    <a:pt x="456" y="108"/>
                  </a:lnTo>
                  <a:lnTo>
                    <a:pt x="462" y="114"/>
                  </a:lnTo>
                  <a:lnTo>
                    <a:pt x="462" y="120"/>
                  </a:lnTo>
                  <a:lnTo>
                    <a:pt x="468" y="120"/>
                  </a:lnTo>
                  <a:lnTo>
                    <a:pt x="462" y="126"/>
                  </a:lnTo>
                  <a:lnTo>
                    <a:pt x="462" y="132"/>
                  </a:lnTo>
                  <a:lnTo>
                    <a:pt x="456" y="132"/>
                  </a:lnTo>
                  <a:lnTo>
                    <a:pt x="456" y="138"/>
                  </a:lnTo>
                  <a:lnTo>
                    <a:pt x="456" y="144"/>
                  </a:lnTo>
                  <a:lnTo>
                    <a:pt x="450" y="144"/>
                  </a:lnTo>
                  <a:lnTo>
                    <a:pt x="444" y="156"/>
                  </a:lnTo>
                  <a:lnTo>
                    <a:pt x="438" y="156"/>
                  </a:lnTo>
                  <a:lnTo>
                    <a:pt x="438" y="162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38" y="174"/>
                  </a:lnTo>
                  <a:lnTo>
                    <a:pt x="438" y="180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6" y="198"/>
                  </a:lnTo>
                  <a:lnTo>
                    <a:pt x="462" y="198"/>
                  </a:lnTo>
                  <a:lnTo>
                    <a:pt x="468" y="198"/>
                  </a:lnTo>
                  <a:lnTo>
                    <a:pt x="468" y="192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86" y="192"/>
                  </a:lnTo>
                  <a:lnTo>
                    <a:pt x="486" y="198"/>
                  </a:lnTo>
                  <a:lnTo>
                    <a:pt x="492" y="198"/>
                  </a:lnTo>
                  <a:lnTo>
                    <a:pt x="486" y="210"/>
                  </a:lnTo>
                  <a:lnTo>
                    <a:pt x="480" y="210"/>
                  </a:lnTo>
                  <a:lnTo>
                    <a:pt x="480" y="216"/>
                  </a:lnTo>
                  <a:lnTo>
                    <a:pt x="480" y="222"/>
                  </a:lnTo>
                  <a:lnTo>
                    <a:pt x="486" y="222"/>
                  </a:lnTo>
                  <a:lnTo>
                    <a:pt x="486" y="228"/>
                  </a:lnTo>
                  <a:lnTo>
                    <a:pt x="486" y="234"/>
                  </a:lnTo>
                  <a:lnTo>
                    <a:pt x="492" y="234"/>
                  </a:lnTo>
                  <a:lnTo>
                    <a:pt x="498" y="240"/>
                  </a:lnTo>
                  <a:lnTo>
                    <a:pt x="498" y="252"/>
                  </a:lnTo>
                  <a:lnTo>
                    <a:pt x="504" y="252"/>
                  </a:lnTo>
                  <a:lnTo>
                    <a:pt x="510" y="252"/>
                  </a:lnTo>
                  <a:lnTo>
                    <a:pt x="510" y="264"/>
                  </a:lnTo>
                  <a:lnTo>
                    <a:pt x="516" y="270"/>
                  </a:lnTo>
                  <a:lnTo>
                    <a:pt x="516" y="276"/>
                  </a:lnTo>
                  <a:lnTo>
                    <a:pt x="522" y="276"/>
                  </a:lnTo>
                  <a:lnTo>
                    <a:pt x="528" y="276"/>
                  </a:lnTo>
                  <a:lnTo>
                    <a:pt x="540" y="288"/>
                  </a:lnTo>
                  <a:lnTo>
                    <a:pt x="546" y="294"/>
                  </a:lnTo>
                  <a:lnTo>
                    <a:pt x="570" y="300"/>
                  </a:lnTo>
                  <a:lnTo>
                    <a:pt x="588" y="306"/>
                  </a:lnTo>
                  <a:lnTo>
                    <a:pt x="624" y="318"/>
                  </a:lnTo>
                  <a:lnTo>
                    <a:pt x="642" y="324"/>
                  </a:lnTo>
                  <a:lnTo>
                    <a:pt x="648" y="330"/>
                  </a:lnTo>
                  <a:lnTo>
                    <a:pt x="654" y="330"/>
                  </a:lnTo>
                  <a:lnTo>
                    <a:pt x="672" y="336"/>
                  </a:lnTo>
                  <a:lnTo>
                    <a:pt x="690" y="342"/>
                  </a:lnTo>
                  <a:lnTo>
                    <a:pt x="696" y="342"/>
                  </a:lnTo>
                  <a:lnTo>
                    <a:pt x="744" y="342"/>
                  </a:lnTo>
                  <a:lnTo>
                    <a:pt x="594" y="498"/>
                  </a:lnTo>
                  <a:lnTo>
                    <a:pt x="546" y="492"/>
                  </a:lnTo>
                  <a:lnTo>
                    <a:pt x="528" y="498"/>
                  </a:lnTo>
                  <a:lnTo>
                    <a:pt x="516" y="504"/>
                  </a:lnTo>
                  <a:lnTo>
                    <a:pt x="510" y="510"/>
                  </a:lnTo>
                  <a:lnTo>
                    <a:pt x="498" y="510"/>
                  </a:lnTo>
                  <a:lnTo>
                    <a:pt x="498" y="516"/>
                  </a:lnTo>
                  <a:lnTo>
                    <a:pt x="498" y="522"/>
                  </a:lnTo>
                  <a:lnTo>
                    <a:pt x="492" y="522"/>
                  </a:lnTo>
                  <a:lnTo>
                    <a:pt x="492" y="528"/>
                  </a:lnTo>
                  <a:lnTo>
                    <a:pt x="486" y="528"/>
                  </a:lnTo>
                  <a:lnTo>
                    <a:pt x="480" y="528"/>
                  </a:lnTo>
                  <a:lnTo>
                    <a:pt x="474" y="534"/>
                  </a:lnTo>
                  <a:lnTo>
                    <a:pt x="468" y="534"/>
                  </a:lnTo>
                  <a:lnTo>
                    <a:pt x="462" y="534"/>
                  </a:lnTo>
                  <a:lnTo>
                    <a:pt x="456" y="534"/>
                  </a:lnTo>
                  <a:lnTo>
                    <a:pt x="450" y="534"/>
                  </a:lnTo>
                  <a:lnTo>
                    <a:pt x="444" y="540"/>
                  </a:lnTo>
                  <a:lnTo>
                    <a:pt x="444" y="546"/>
                  </a:lnTo>
                  <a:lnTo>
                    <a:pt x="438" y="546"/>
                  </a:lnTo>
                  <a:lnTo>
                    <a:pt x="432" y="546"/>
                  </a:lnTo>
                  <a:lnTo>
                    <a:pt x="426" y="546"/>
                  </a:lnTo>
                  <a:lnTo>
                    <a:pt x="420" y="546"/>
                  </a:lnTo>
                  <a:lnTo>
                    <a:pt x="414" y="546"/>
                  </a:lnTo>
                  <a:lnTo>
                    <a:pt x="408" y="546"/>
                  </a:lnTo>
                  <a:lnTo>
                    <a:pt x="402" y="546"/>
                  </a:lnTo>
                  <a:lnTo>
                    <a:pt x="402" y="540"/>
                  </a:lnTo>
                  <a:lnTo>
                    <a:pt x="396" y="540"/>
                  </a:lnTo>
                  <a:lnTo>
                    <a:pt x="396" y="534"/>
                  </a:lnTo>
                  <a:lnTo>
                    <a:pt x="390" y="534"/>
                  </a:lnTo>
                  <a:lnTo>
                    <a:pt x="390" y="528"/>
                  </a:lnTo>
                  <a:lnTo>
                    <a:pt x="384" y="528"/>
                  </a:lnTo>
                  <a:lnTo>
                    <a:pt x="378" y="534"/>
                  </a:lnTo>
                  <a:lnTo>
                    <a:pt x="366" y="534"/>
                  </a:lnTo>
                  <a:lnTo>
                    <a:pt x="366" y="540"/>
                  </a:lnTo>
                  <a:lnTo>
                    <a:pt x="360" y="540"/>
                  </a:lnTo>
                  <a:lnTo>
                    <a:pt x="354" y="540"/>
                  </a:lnTo>
                  <a:lnTo>
                    <a:pt x="342" y="546"/>
                  </a:lnTo>
                  <a:lnTo>
                    <a:pt x="342" y="552"/>
                  </a:lnTo>
                  <a:lnTo>
                    <a:pt x="336" y="552"/>
                  </a:lnTo>
                  <a:lnTo>
                    <a:pt x="336" y="558"/>
                  </a:lnTo>
                  <a:lnTo>
                    <a:pt x="324" y="570"/>
                  </a:lnTo>
                  <a:lnTo>
                    <a:pt x="318" y="570"/>
                  </a:lnTo>
                  <a:lnTo>
                    <a:pt x="312" y="570"/>
                  </a:lnTo>
                  <a:lnTo>
                    <a:pt x="306" y="570"/>
                  </a:lnTo>
                  <a:lnTo>
                    <a:pt x="306" y="564"/>
                  </a:lnTo>
                  <a:lnTo>
                    <a:pt x="300" y="564"/>
                  </a:lnTo>
                  <a:lnTo>
                    <a:pt x="294" y="564"/>
                  </a:lnTo>
                  <a:lnTo>
                    <a:pt x="288" y="564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64"/>
                  </a:lnTo>
                  <a:lnTo>
                    <a:pt x="258" y="564"/>
                  </a:lnTo>
                  <a:lnTo>
                    <a:pt x="252" y="564"/>
                  </a:lnTo>
                  <a:lnTo>
                    <a:pt x="252" y="558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10" y="528"/>
                  </a:lnTo>
                  <a:lnTo>
                    <a:pt x="204" y="528"/>
                  </a:lnTo>
                  <a:lnTo>
                    <a:pt x="198" y="528"/>
                  </a:lnTo>
                  <a:lnTo>
                    <a:pt x="198" y="522"/>
                  </a:lnTo>
                  <a:lnTo>
                    <a:pt x="192" y="522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2" y="522"/>
                  </a:lnTo>
                  <a:lnTo>
                    <a:pt x="156" y="522"/>
                  </a:lnTo>
                  <a:lnTo>
                    <a:pt x="150" y="522"/>
                  </a:lnTo>
                  <a:lnTo>
                    <a:pt x="144" y="516"/>
                  </a:lnTo>
                  <a:lnTo>
                    <a:pt x="144" y="510"/>
                  </a:lnTo>
                  <a:lnTo>
                    <a:pt x="138" y="504"/>
                  </a:lnTo>
                  <a:lnTo>
                    <a:pt x="138" y="486"/>
                  </a:lnTo>
                  <a:lnTo>
                    <a:pt x="144" y="486"/>
                  </a:lnTo>
                  <a:lnTo>
                    <a:pt x="138" y="486"/>
                  </a:lnTo>
                  <a:lnTo>
                    <a:pt x="138" y="480"/>
                  </a:lnTo>
                  <a:lnTo>
                    <a:pt x="144" y="480"/>
                  </a:lnTo>
                  <a:lnTo>
                    <a:pt x="138" y="480"/>
                  </a:lnTo>
                  <a:lnTo>
                    <a:pt x="138" y="474"/>
                  </a:lnTo>
                  <a:lnTo>
                    <a:pt x="132" y="474"/>
                  </a:lnTo>
                  <a:lnTo>
                    <a:pt x="126" y="474"/>
                  </a:lnTo>
                  <a:lnTo>
                    <a:pt x="120" y="474"/>
                  </a:lnTo>
                  <a:lnTo>
                    <a:pt x="114" y="474"/>
                  </a:lnTo>
                  <a:lnTo>
                    <a:pt x="114" y="468"/>
                  </a:lnTo>
                  <a:lnTo>
                    <a:pt x="102" y="462"/>
                  </a:lnTo>
                  <a:lnTo>
                    <a:pt x="102" y="456"/>
                  </a:lnTo>
                  <a:lnTo>
                    <a:pt x="96" y="450"/>
                  </a:lnTo>
                  <a:lnTo>
                    <a:pt x="96" y="444"/>
                  </a:lnTo>
                  <a:lnTo>
                    <a:pt x="96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96" y="420"/>
                  </a:lnTo>
                  <a:lnTo>
                    <a:pt x="102" y="420"/>
                  </a:lnTo>
                  <a:lnTo>
                    <a:pt x="96" y="420"/>
                  </a:lnTo>
                  <a:lnTo>
                    <a:pt x="96" y="414"/>
                  </a:lnTo>
                  <a:lnTo>
                    <a:pt x="90" y="414"/>
                  </a:lnTo>
                  <a:lnTo>
                    <a:pt x="84" y="414"/>
                  </a:lnTo>
                  <a:lnTo>
                    <a:pt x="84" y="408"/>
                  </a:lnTo>
                  <a:lnTo>
                    <a:pt x="78" y="408"/>
                  </a:lnTo>
                  <a:lnTo>
                    <a:pt x="72" y="408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8" y="402"/>
                  </a:lnTo>
                  <a:lnTo>
                    <a:pt x="72" y="402"/>
                  </a:lnTo>
                  <a:lnTo>
                    <a:pt x="72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lnTo>
                    <a:pt x="54" y="384"/>
                  </a:lnTo>
                  <a:lnTo>
                    <a:pt x="48" y="384"/>
                  </a:lnTo>
                  <a:lnTo>
                    <a:pt x="48" y="378"/>
                  </a:lnTo>
                  <a:lnTo>
                    <a:pt x="48" y="372"/>
                  </a:lnTo>
                  <a:lnTo>
                    <a:pt x="48" y="366"/>
                  </a:lnTo>
                  <a:lnTo>
                    <a:pt x="42" y="366"/>
                  </a:lnTo>
                  <a:lnTo>
                    <a:pt x="36" y="366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36" y="360"/>
                  </a:lnTo>
                  <a:lnTo>
                    <a:pt x="30" y="360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24" y="360"/>
                  </a:lnTo>
                  <a:lnTo>
                    <a:pt x="18" y="354"/>
                  </a:lnTo>
                  <a:lnTo>
                    <a:pt x="18" y="360"/>
                  </a:lnTo>
                  <a:lnTo>
                    <a:pt x="12" y="360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0" y="354"/>
                  </a:lnTo>
                  <a:lnTo>
                    <a:pt x="0" y="348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0" y="342"/>
                  </a:lnTo>
                  <a:lnTo>
                    <a:pt x="6" y="342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12" y="330"/>
                  </a:lnTo>
                  <a:lnTo>
                    <a:pt x="12" y="324"/>
                  </a:lnTo>
                  <a:lnTo>
                    <a:pt x="6" y="324"/>
                  </a:lnTo>
                  <a:lnTo>
                    <a:pt x="12" y="324"/>
                  </a:lnTo>
                  <a:lnTo>
                    <a:pt x="18" y="324"/>
                  </a:lnTo>
                  <a:lnTo>
                    <a:pt x="24" y="324"/>
                  </a:lnTo>
                  <a:lnTo>
                    <a:pt x="24" y="318"/>
                  </a:lnTo>
                  <a:lnTo>
                    <a:pt x="30" y="324"/>
                  </a:lnTo>
                  <a:lnTo>
                    <a:pt x="30" y="318"/>
                  </a:lnTo>
                  <a:lnTo>
                    <a:pt x="30" y="324"/>
                  </a:lnTo>
                  <a:lnTo>
                    <a:pt x="36" y="324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54" y="318"/>
                  </a:lnTo>
                  <a:lnTo>
                    <a:pt x="54" y="312"/>
                  </a:lnTo>
                  <a:lnTo>
                    <a:pt x="54" y="306"/>
                  </a:lnTo>
                  <a:lnTo>
                    <a:pt x="54" y="294"/>
                  </a:lnTo>
                  <a:lnTo>
                    <a:pt x="54" y="282"/>
                  </a:lnTo>
                  <a:lnTo>
                    <a:pt x="54" y="270"/>
                  </a:lnTo>
                  <a:lnTo>
                    <a:pt x="54" y="264"/>
                  </a:lnTo>
                  <a:lnTo>
                    <a:pt x="54" y="258"/>
                  </a:lnTo>
                  <a:lnTo>
                    <a:pt x="60" y="252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6" y="222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66" y="210"/>
                  </a:lnTo>
                  <a:lnTo>
                    <a:pt x="72" y="210"/>
                  </a:lnTo>
                  <a:lnTo>
                    <a:pt x="72" y="204"/>
                  </a:lnTo>
                  <a:lnTo>
                    <a:pt x="78" y="204"/>
                  </a:lnTo>
                  <a:lnTo>
                    <a:pt x="78" y="198"/>
                  </a:lnTo>
                  <a:lnTo>
                    <a:pt x="84" y="204"/>
                  </a:lnTo>
                  <a:lnTo>
                    <a:pt x="90" y="204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6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102" y="168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8" y="150"/>
                  </a:lnTo>
                  <a:lnTo>
                    <a:pt x="114" y="150"/>
                  </a:lnTo>
                  <a:lnTo>
                    <a:pt x="114" y="144"/>
                  </a:lnTo>
                  <a:lnTo>
                    <a:pt x="114" y="138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4"/>
                  </a:lnTo>
                  <a:lnTo>
                    <a:pt x="144" y="108"/>
                  </a:lnTo>
                  <a:lnTo>
                    <a:pt x="150" y="108"/>
                  </a:lnTo>
                  <a:lnTo>
                    <a:pt x="156" y="108"/>
                  </a:lnTo>
                  <a:lnTo>
                    <a:pt x="156" y="114"/>
                  </a:lnTo>
                  <a:lnTo>
                    <a:pt x="156" y="108"/>
                  </a:lnTo>
                  <a:lnTo>
                    <a:pt x="156" y="102"/>
                  </a:lnTo>
                  <a:lnTo>
                    <a:pt x="156" y="96"/>
                  </a:lnTo>
                  <a:lnTo>
                    <a:pt x="162" y="84"/>
                  </a:lnTo>
                  <a:lnTo>
                    <a:pt x="162" y="78"/>
                  </a:lnTo>
                  <a:lnTo>
                    <a:pt x="162" y="72"/>
                  </a:lnTo>
                  <a:lnTo>
                    <a:pt x="168" y="72"/>
                  </a:lnTo>
                  <a:lnTo>
                    <a:pt x="168" y="66"/>
                  </a:lnTo>
                  <a:lnTo>
                    <a:pt x="168" y="60"/>
                  </a:lnTo>
                  <a:lnTo>
                    <a:pt x="174" y="54"/>
                  </a:lnTo>
                  <a:lnTo>
                    <a:pt x="174" y="48"/>
                  </a:lnTo>
                  <a:lnTo>
                    <a:pt x="168" y="48"/>
                  </a:lnTo>
                  <a:lnTo>
                    <a:pt x="174" y="4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00" name="Freeform 53"/>
            <p:cNvSpPr>
              <a:spLocks noChangeAspect="1"/>
            </p:cNvSpPr>
            <p:nvPr>
              <p:custDataLst>
                <p:tags r:id="rId35"/>
              </p:custDataLst>
            </p:nvPr>
          </p:nvSpPr>
          <p:spPr bwMode="auto">
            <a:xfrm>
              <a:off x="3789" y="1856"/>
              <a:ext cx="438" cy="576"/>
            </a:xfrm>
            <a:custGeom>
              <a:avLst/>
              <a:gdLst>
                <a:gd name="T0" fmla="*/ 31 w 516"/>
                <a:gd name="T1" fmla="*/ 203 h 678"/>
                <a:gd name="T2" fmla="*/ 47 w 516"/>
                <a:gd name="T3" fmla="*/ 200 h 678"/>
                <a:gd name="T4" fmla="*/ 53 w 516"/>
                <a:gd name="T5" fmla="*/ 190 h 678"/>
                <a:gd name="T6" fmla="*/ 103 w 516"/>
                <a:gd name="T7" fmla="*/ 184 h 678"/>
                <a:gd name="T8" fmla="*/ 134 w 516"/>
                <a:gd name="T9" fmla="*/ 97 h 678"/>
                <a:gd name="T10" fmla="*/ 91 w 516"/>
                <a:gd name="T11" fmla="*/ 82 h 678"/>
                <a:gd name="T12" fmla="*/ 63 w 516"/>
                <a:gd name="T13" fmla="*/ 69 h 678"/>
                <a:gd name="T14" fmla="*/ 53 w 516"/>
                <a:gd name="T15" fmla="*/ 56 h 678"/>
                <a:gd name="T16" fmla="*/ 47 w 516"/>
                <a:gd name="T17" fmla="*/ 41 h 678"/>
                <a:gd name="T18" fmla="*/ 50 w 516"/>
                <a:gd name="T19" fmla="*/ 28 h 678"/>
                <a:gd name="T20" fmla="*/ 59 w 516"/>
                <a:gd name="T21" fmla="*/ 15 h 678"/>
                <a:gd name="T22" fmla="*/ 65 w 516"/>
                <a:gd name="T23" fmla="*/ 19 h 678"/>
                <a:gd name="T24" fmla="*/ 78 w 516"/>
                <a:gd name="T25" fmla="*/ 35 h 678"/>
                <a:gd name="T26" fmla="*/ 87 w 516"/>
                <a:gd name="T27" fmla="*/ 43 h 678"/>
                <a:gd name="T28" fmla="*/ 99 w 516"/>
                <a:gd name="T29" fmla="*/ 41 h 678"/>
                <a:gd name="T30" fmla="*/ 112 w 516"/>
                <a:gd name="T31" fmla="*/ 35 h 678"/>
                <a:gd name="T32" fmla="*/ 125 w 516"/>
                <a:gd name="T33" fmla="*/ 31 h 678"/>
                <a:gd name="T34" fmla="*/ 140 w 516"/>
                <a:gd name="T35" fmla="*/ 35 h 678"/>
                <a:gd name="T36" fmla="*/ 153 w 516"/>
                <a:gd name="T37" fmla="*/ 31 h 678"/>
                <a:gd name="T38" fmla="*/ 162 w 516"/>
                <a:gd name="T39" fmla="*/ 25 h 678"/>
                <a:gd name="T40" fmla="*/ 174 w 516"/>
                <a:gd name="T41" fmla="*/ 25 h 678"/>
                <a:gd name="T42" fmla="*/ 183 w 516"/>
                <a:gd name="T43" fmla="*/ 22 h 678"/>
                <a:gd name="T44" fmla="*/ 199 w 516"/>
                <a:gd name="T45" fmla="*/ 19 h 678"/>
                <a:gd name="T46" fmla="*/ 212 w 516"/>
                <a:gd name="T47" fmla="*/ 19 h 678"/>
                <a:gd name="T48" fmla="*/ 225 w 516"/>
                <a:gd name="T49" fmla="*/ 15 h 678"/>
                <a:gd name="T50" fmla="*/ 233 w 516"/>
                <a:gd name="T51" fmla="*/ 12 h 678"/>
                <a:gd name="T52" fmla="*/ 245 w 516"/>
                <a:gd name="T53" fmla="*/ 6 h 678"/>
                <a:gd name="T54" fmla="*/ 253 w 516"/>
                <a:gd name="T55" fmla="*/ 0 h 678"/>
                <a:gd name="T56" fmla="*/ 265 w 516"/>
                <a:gd name="T57" fmla="*/ 9 h 678"/>
                <a:gd name="T58" fmla="*/ 259 w 516"/>
                <a:gd name="T59" fmla="*/ 22 h 678"/>
                <a:gd name="T60" fmla="*/ 261 w 516"/>
                <a:gd name="T61" fmla="*/ 37 h 678"/>
                <a:gd name="T62" fmla="*/ 261 w 516"/>
                <a:gd name="T63" fmla="*/ 41 h 678"/>
                <a:gd name="T64" fmla="*/ 268 w 516"/>
                <a:gd name="T65" fmla="*/ 43 h 678"/>
                <a:gd name="T66" fmla="*/ 256 w 516"/>
                <a:gd name="T67" fmla="*/ 43 h 678"/>
                <a:gd name="T68" fmla="*/ 253 w 516"/>
                <a:gd name="T69" fmla="*/ 59 h 678"/>
                <a:gd name="T70" fmla="*/ 253 w 516"/>
                <a:gd name="T71" fmla="*/ 71 h 678"/>
                <a:gd name="T72" fmla="*/ 243 w 516"/>
                <a:gd name="T73" fmla="*/ 82 h 678"/>
                <a:gd name="T74" fmla="*/ 237 w 516"/>
                <a:gd name="T75" fmla="*/ 93 h 678"/>
                <a:gd name="T76" fmla="*/ 227 w 516"/>
                <a:gd name="T77" fmla="*/ 106 h 678"/>
                <a:gd name="T78" fmla="*/ 222 w 516"/>
                <a:gd name="T79" fmla="*/ 122 h 678"/>
                <a:gd name="T80" fmla="*/ 212 w 516"/>
                <a:gd name="T81" fmla="*/ 137 h 678"/>
                <a:gd name="T82" fmla="*/ 205 w 516"/>
                <a:gd name="T83" fmla="*/ 153 h 678"/>
                <a:gd name="T84" fmla="*/ 193 w 516"/>
                <a:gd name="T85" fmla="*/ 172 h 678"/>
                <a:gd name="T86" fmla="*/ 180 w 516"/>
                <a:gd name="T87" fmla="*/ 190 h 678"/>
                <a:gd name="T88" fmla="*/ 171 w 516"/>
                <a:gd name="T89" fmla="*/ 203 h 678"/>
                <a:gd name="T90" fmla="*/ 160 w 516"/>
                <a:gd name="T91" fmla="*/ 218 h 678"/>
                <a:gd name="T92" fmla="*/ 146 w 516"/>
                <a:gd name="T93" fmla="*/ 231 h 678"/>
                <a:gd name="T94" fmla="*/ 131 w 516"/>
                <a:gd name="T95" fmla="*/ 244 h 678"/>
                <a:gd name="T96" fmla="*/ 121 w 516"/>
                <a:gd name="T97" fmla="*/ 253 h 678"/>
                <a:gd name="T98" fmla="*/ 109 w 516"/>
                <a:gd name="T99" fmla="*/ 259 h 678"/>
                <a:gd name="T100" fmla="*/ 97 w 516"/>
                <a:gd name="T101" fmla="*/ 268 h 678"/>
                <a:gd name="T102" fmla="*/ 84 w 516"/>
                <a:gd name="T103" fmla="*/ 279 h 678"/>
                <a:gd name="T104" fmla="*/ 75 w 516"/>
                <a:gd name="T105" fmla="*/ 285 h 678"/>
                <a:gd name="T106" fmla="*/ 65 w 516"/>
                <a:gd name="T107" fmla="*/ 294 h 678"/>
                <a:gd name="T108" fmla="*/ 50 w 516"/>
                <a:gd name="T109" fmla="*/ 313 h 678"/>
                <a:gd name="T110" fmla="*/ 37 w 516"/>
                <a:gd name="T111" fmla="*/ 322 h 678"/>
                <a:gd name="T112" fmla="*/ 31 w 516"/>
                <a:gd name="T113" fmla="*/ 331 h 678"/>
                <a:gd name="T114" fmla="*/ 28 w 516"/>
                <a:gd name="T115" fmla="*/ 331 h 678"/>
                <a:gd name="T116" fmla="*/ 25 w 516"/>
                <a:gd name="T117" fmla="*/ 338 h 678"/>
                <a:gd name="T118" fmla="*/ 22 w 516"/>
                <a:gd name="T119" fmla="*/ 344 h 678"/>
                <a:gd name="T120" fmla="*/ 22 w 516"/>
                <a:gd name="T121" fmla="*/ 341 h 678"/>
                <a:gd name="T122" fmla="*/ 0 w 516"/>
                <a:gd name="T123" fmla="*/ 331 h 678"/>
                <a:gd name="T124" fmla="*/ 0 w 516"/>
                <a:gd name="T125" fmla="*/ 259 h 6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16" h="678">
                  <a:moveTo>
                    <a:pt x="42" y="402"/>
                  </a:moveTo>
                  <a:lnTo>
                    <a:pt x="48" y="402"/>
                  </a:lnTo>
                  <a:lnTo>
                    <a:pt x="48" y="396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72" y="390"/>
                  </a:lnTo>
                  <a:lnTo>
                    <a:pt x="78" y="390"/>
                  </a:lnTo>
                  <a:lnTo>
                    <a:pt x="84" y="384"/>
                  </a:lnTo>
                  <a:lnTo>
                    <a:pt x="90" y="384"/>
                  </a:lnTo>
                  <a:lnTo>
                    <a:pt x="96" y="384"/>
                  </a:lnTo>
                  <a:lnTo>
                    <a:pt x="96" y="378"/>
                  </a:lnTo>
                  <a:lnTo>
                    <a:pt x="102" y="378"/>
                  </a:lnTo>
                  <a:lnTo>
                    <a:pt x="102" y="372"/>
                  </a:lnTo>
                  <a:lnTo>
                    <a:pt x="102" y="366"/>
                  </a:lnTo>
                  <a:lnTo>
                    <a:pt x="114" y="366"/>
                  </a:lnTo>
                  <a:lnTo>
                    <a:pt x="120" y="360"/>
                  </a:lnTo>
                  <a:lnTo>
                    <a:pt x="132" y="354"/>
                  </a:lnTo>
                  <a:lnTo>
                    <a:pt x="150" y="348"/>
                  </a:lnTo>
                  <a:lnTo>
                    <a:pt x="198" y="354"/>
                  </a:lnTo>
                  <a:lnTo>
                    <a:pt x="348" y="198"/>
                  </a:lnTo>
                  <a:lnTo>
                    <a:pt x="300" y="198"/>
                  </a:lnTo>
                  <a:lnTo>
                    <a:pt x="294" y="198"/>
                  </a:lnTo>
                  <a:lnTo>
                    <a:pt x="276" y="192"/>
                  </a:lnTo>
                  <a:lnTo>
                    <a:pt x="258" y="186"/>
                  </a:lnTo>
                  <a:lnTo>
                    <a:pt x="252" y="186"/>
                  </a:lnTo>
                  <a:lnTo>
                    <a:pt x="246" y="180"/>
                  </a:lnTo>
                  <a:lnTo>
                    <a:pt x="228" y="174"/>
                  </a:lnTo>
                  <a:lnTo>
                    <a:pt x="192" y="162"/>
                  </a:lnTo>
                  <a:lnTo>
                    <a:pt x="174" y="156"/>
                  </a:lnTo>
                  <a:lnTo>
                    <a:pt x="150" y="150"/>
                  </a:lnTo>
                  <a:lnTo>
                    <a:pt x="144" y="144"/>
                  </a:lnTo>
                  <a:lnTo>
                    <a:pt x="132" y="132"/>
                  </a:lnTo>
                  <a:lnTo>
                    <a:pt x="126" y="132"/>
                  </a:lnTo>
                  <a:lnTo>
                    <a:pt x="120" y="132"/>
                  </a:lnTo>
                  <a:lnTo>
                    <a:pt x="120" y="126"/>
                  </a:lnTo>
                  <a:lnTo>
                    <a:pt x="114" y="120"/>
                  </a:lnTo>
                  <a:lnTo>
                    <a:pt x="114" y="108"/>
                  </a:lnTo>
                  <a:lnTo>
                    <a:pt x="108" y="108"/>
                  </a:lnTo>
                  <a:lnTo>
                    <a:pt x="102" y="108"/>
                  </a:lnTo>
                  <a:lnTo>
                    <a:pt x="102" y="96"/>
                  </a:lnTo>
                  <a:lnTo>
                    <a:pt x="96" y="90"/>
                  </a:lnTo>
                  <a:lnTo>
                    <a:pt x="90" y="90"/>
                  </a:lnTo>
                  <a:lnTo>
                    <a:pt x="90" y="84"/>
                  </a:lnTo>
                  <a:lnTo>
                    <a:pt x="90" y="78"/>
                  </a:lnTo>
                  <a:lnTo>
                    <a:pt x="84" y="78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90" y="66"/>
                  </a:lnTo>
                  <a:lnTo>
                    <a:pt x="96" y="54"/>
                  </a:lnTo>
                  <a:lnTo>
                    <a:pt x="96" y="48"/>
                  </a:lnTo>
                  <a:lnTo>
                    <a:pt x="102" y="48"/>
                  </a:lnTo>
                  <a:lnTo>
                    <a:pt x="114" y="30"/>
                  </a:lnTo>
                  <a:lnTo>
                    <a:pt x="114" y="24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20" y="36"/>
                  </a:lnTo>
                  <a:lnTo>
                    <a:pt x="126" y="36"/>
                  </a:lnTo>
                  <a:lnTo>
                    <a:pt x="126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32" y="48"/>
                  </a:lnTo>
                  <a:lnTo>
                    <a:pt x="132" y="54"/>
                  </a:lnTo>
                  <a:lnTo>
                    <a:pt x="144" y="60"/>
                  </a:lnTo>
                  <a:lnTo>
                    <a:pt x="150" y="66"/>
                  </a:lnTo>
                  <a:lnTo>
                    <a:pt x="150" y="72"/>
                  </a:lnTo>
                  <a:lnTo>
                    <a:pt x="156" y="72"/>
                  </a:lnTo>
                  <a:lnTo>
                    <a:pt x="162" y="78"/>
                  </a:lnTo>
                  <a:lnTo>
                    <a:pt x="168" y="78"/>
                  </a:lnTo>
                  <a:lnTo>
                    <a:pt x="168" y="84"/>
                  </a:lnTo>
                  <a:lnTo>
                    <a:pt x="174" y="78"/>
                  </a:lnTo>
                  <a:lnTo>
                    <a:pt x="180" y="84"/>
                  </a:lnTo>
                  <a:lnTo>
                    <a:pt x="180" y="78"/>
                  </a:lnTo>
                  <a:lnTo>
                    <a:pt x="186" y="78"/>
                  </a:lnTo>
                  <a:lnTo>
                    <a:pt x="192" y="78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04" y="72"/>
                  </a:lnTo>
                  <a:lnTo>
                    <a:pt x="210" y="72"/>
                  </a:lnTo>
                  <a:lnTo>
                    <a:pt x="216" y="66"/>
                  </a:lnTo>
                  <a:lnTo>
                    <a:pt x="222" y="66"/>
                  </a:lnTo>
                  <a:lnTo>
                    <a:pt x="228" y="66"/>
                  </a:lnTo>
                  <a:lnTo>
                    <a:pt x="228" y="60"/>
                  </a:lnTo>
                  <a:lnTo>
                    <a:pt x="234" y="60"/>
                  </a:lnTo>
                  <a:lnTo>
                    <a:pt x="240" y="60"/>
                  </a:lnTo>
                  <a:lnTo>
                    <a:pt x="246" y="60"/>
                  </a:lnTo>
                  <a:lnTo>
                    <a:pt x="252" y="60"/>
                  </a:lnTo>
                  <a:lnTo>
                    <a:pt x="258" y="60"/>
                  </a:lnTo>
                  <a:lnTo>
                    <a:pt x="264" y="66"/>
                  </a:lnTo>
                  <a:lnTo>
                    <a:pt x="270" y="66"/>
                  </a:lnTo>
                  <a:lnTo>
                    <a:pt x="276" y="66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8" y="60"/>
                  </a:lnTo>
                  <a:lnTo>
                    <a:pt x="294" y="60"/>
                  </a:lnTo>
                  <a:lnTo>
                    <a:pt x="294" y="54"/>
                  </a:lnTo>
                  <a:lnTo>
                    <a:pt x="300" y="54"/>
                  </a:lnTo>
                  <a:lnTo>
                    <a:pt x="306" y="54"/>
                  </a:lnTo>
                  <a:lnTo>
                    <a:pt x="306" y="48"/>
                  </a:lnTo>
                  <a:lnTo>
                    <a:pt x="312" y="48"/>
                  </a:lnTo>
                  <a:lnTo>
                    <a:pt x="312" y="42"/>
                  </a:lnTo>
                  <a:lnTo>
                    <a:pt x="318" y="42"/>
                  </a:lnTo>
                  <a:lnTo>
                    <a:pt x="324" y="42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36" y="42"/>
                  </a:lnTo>
                  <a:lnTo>
                    <a:pt x="342" y="48"/>
                  </a:lnTo>
                  <a:lnTo>
                    <a:pt x="342" y="42"/>
                  </a:lnTo>
                  <a:lnTo>
                    <a:pt x="348" y="48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36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36"/>
                  </a:lnTo>
                  <a:lnTo>
                    <a:pt x="390" y="36"/>
                  </a:lnTo>
                  <a:lnTo>
                    <a:pt x="396" y="42"/>
                  </a:lnTo>
                  <a:lnTo>
                    <a:pt x="396" y="36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0" y="30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44" y="24"/>
                  </a:lnTo>
                  <a:lnTo>
                    <a:pt x="450" y="24"/>
                  </a:lnTo>
                  <a:lnTo>
                    <a:pt x="456" y="24"/>
                  </a:lnTo>
                  <a:lnTo>
                    <a:pt x="462" y="24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6"/>
                  </a:lnTo>
                  <a:lnTo>
                    <a:pt x="486" y="0"/>
                  </a:lnTo>
                  <a:lnTo>
                    <a:pt x="492" y="6"/>
                  </a:lnTo>
                  <a:lnTo>
                    <a:pt x="498" y="6"/>
                  </a:lnTo>
                  <a:lnTo>
                    <a:pt x="504" y="6"/>
                  </a:lnTo>
                  <a:lnTo>
                    <a:pt x="510" y="12"/>
                  </a:lnTo>
                  <a:lnTo>
                    <a:pt x="510" y="18"/>
                  </a:lnTo>
                  <a:lnTo>
                    <a:pt x="504" y="24"/>
                  </a:lnTo>
                  <a:lnTo>
                    <a:pt x="504" y="30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04" y="48"/>
                  </a:lnTo>
                  <a:lnTo>
                    <a:pt x="504" y="54"/>
                  </a:lnTo>
                  <a:lnTo>
                    <a:pt x="504" y="66"/>
                  </a:lnTo>
                  <a:lnTo>
                    <a:pt x="504" y="72"/>
                  </a:lnTo>
                  <a:lnTo>
                    <a:pt x="504" y="78"/>
                  </a:lnTo>
                  <a:lnTo>
                    <a:pt x="498" y="78"/>
                  </a:lnTo>
                  <a:lnTo>
                    <a:pt x="504" y="78"/>
                  </a:lnTo>
                  <a:lnTo>
                    <a:pt x="510" y="78"/>
                  </a:lnTo>
                  <a:lnTo>
                    <a:pt x="504" y="78"/>
                  </a:lnTo>
                  <a:lnTo>
                    <a:pt x="504" y="72"/>
                  </a:lnTo>
                  <a:lnTo>
                    <a:pt x="510" y="72"/>
                  </a:lnTo>
                  <a:lnTo>
                    <a:pt x="510" y="78"/>
                  </a:lnTo>
                  <a:lnTo>
                    <a:pt x="516" y="78"/>
                  </a:lnTo>
                  <a:lnTo>
                    <a:pt x="516" y="84"/>
                  </a:lnTo>
                  <a:lnTo>
                    <a:pt x="510" y="84"/>
                  </a:lnTo>
                  <a:lnTo>
                    <a:pt x="510" y="78"/>
                  </a:lnTo>
                  <a:lnTo>
                    <a:pt x="498" y="78"/>
                  </a:lnTo>
                  <a:lnTo>
                    <a:pt x="498" y="84"/>
                  </a:lnTo>
                  <a:lnTo>
                    <a:pt x="492" y="84"/>
                  </a:lnTo>
                  <a:lnTo>
                    <a:pt x="492" y="90"/>
                  </a:lnTo>
                  <a:lnTo>
                    <a:pt x="492" y="96"/>
                  </a:lnTo>
                  <a:lnTo>
                    <a:pt x="492" y="102"/>
                  </a:lnTo>
                  <a:lnTo>
                    <a:pt x="492" y="108"/>
                  </a:lnTo>
                  <a:lnTo>
                    <a:pt x="486" y="114"/>
                  </a:lnTo>
                  <a:lnTo>
                    <a:pt x="486" y="120"/>
                  </a:lnTo>
                  <a:lnTo>
                    <a:pt x="486" y="126"/>
                  </a:lnTo>
                  <a:lnTo>
                    <a:pt x="492" y="126"/>
                  </a:lnTo>
                  <a:lnTo>
                    <a:pt x="486" y="132"/>
                  </a:lnTo>
                  <a:lnTo>
                    <a:pt x="486" y="138"/>
                  </a:lnTo>
                  <a:lnTo>
                    <a:pt x="480" y="138"/>
                  </a:lnTo>
                  <a:lnTo>
                    <a:pt x="480" y="144"/>
                  </a:lnTo>
                  <a:lnTo>
                    <a:pt x="480" y="150"/>
                  </a:lnTo>
                  <a:lnTo>
                    <a:pt x="474" y="150"/>
                  </a:lnTo>
                  <a:lnTo>
                    <a:pt x="468" y="156"/>
                  </a:lnTo>
                  <a:lnTo>
                    <a:pt x="468" y="162"/>
                  </a:lnTo>
                  <a:lnTo>
                    <a:pt x="468" y="168"/>
                  </a:lnTo>
                  <a:lnTo>
                    <a:pt x="462" y="168"/>
                  </a:lnTo>
                  <a:lnTo>
                    <a:pt x="462" y="174"/>
                  </a:lnTo>
                  <a:lnTo>
                    <a:pt x="456" y="180"/>
                  </a:lnTo>
                  <a:lnTo>
                    <a:pt x="456" y="186"/>
                  </a:lnTo>
                  <a:lnTo>
                    <a:pt x="456" y="192"/>
                  </a:lnTo>
                  <a:lnTo>
                    <a:pt x="450" y="192"/>
                  </a:lnTo>
                  <a:lnTo>
                    <a:pt x="444" y="198"/>
                  </a:lnTo>
                  <a:lnTo>
                    <a:pt x="438" y="204"/>
                  </a:lnTo>
                  <a:lnTo>
                    <a:pt x="438" y="210"/>
                  </a:lnTo>
                  <a:lnTo>
                    <a:pt x="438" y="216"/>
                  </a:lnTo>
                  <a:lnTo>
                    <a:pt x="438" y="222"/>
                  </a:lnTo>
                  <a:lnTo>
                    <a:pt x="432" y="228"/>
                  </a:lnTo>
                  <a:lnTo>
                    <a:pt x="426" y="234"/>
                  </a:lnTo>
                  <a:lnTo>
                    <a:pt x="420" y="240"/>
                  </a:lnTo>
                  <a:lnTo>
                    <a:pt x="420" y="246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64"/>
                  </a:lnTo>
                  <a:lnTo>
                    <a:pt x="402" y="270"/>
                  </a:lnTo>
                  <a:lnTo>
                    <a:pt x="402" y="276"/>
                  </a:lnTo>
                  <a:lnTo>
                    <a:pt x="402" y="282"/>
                  </a:lnTo>
                  <a:lnTo>
                    <a:pt x="402" y="288"/>
                  </a:lnTo>
                  <a:lnTo>
                    <a:pt x="396" y="294"/>
                  </a:lnTo>
                  <a:lnTo>
                    <a:pt x="390" y="312"/>
                  </a:lnTo>
                  <a:lnTo>
                    <a:pt x="384" y="318"/>
                  </a:lnTo>
                  <a:lnTo>
                    <a:pt x="378" y="324"/>
                  </a:lnTo>
                  <a:lnTo>
                    <a:pt x="378" y="330"/>
                  </a:lnTo>
                  <a:lnTo>
                    <a:pt x="372" y="330"/>
                  </a:lnTo>
                  <a:lnTo>
                    <a:pt x="366" y="348"/>
                  </a:lnTo>
                  <a:lnTo>
                    <a:pt x="360" y="354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48" y="372"/>
                  </a:lnTo>
                  <a:lnTo>
                    <a:pt x="348" y="378"/>
                  </a:lnTo>
                  <a:lnTo>
                    <a:pt x="342" y="378"/>
                  </a:lnTo>
                  <a:lnTo>
                    <a:pt x="336" y="390"/>
                  </a:lnTo>
                  <a:lnTo>
                    <a:pt x="330" y="390"/>
                  </a:lnTo>
                  <a:lnTo>
                    <a:pt x="330" y="396"/>
                  </a:lnTo>
                  <a:lnTo>
                    <a:pt x="318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0" y="426"/>
                  </a:lnTo>
                  <a:lnTo>
                    <a:pt x="294" y="432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82" y="444"/>
                  </a:lnTo>
                  <a:lnTo>
                    <a:pt x="276" y="450"/>
                  </a:lnTo>
                  <a:lnTo>
                    <a:pt x="270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68"/>
                  </a:lnTo>
                  <a:lnTo>
                    <a:pt x="252" y="474"/>
                  </a:lnTo>
                  <a:lnTo>
                    <a:pt x="246" y="474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8" y="492"/>
                  </a:lnTo>
                  <a:lnTo>
                    <a:pt x="222" y="492"/>
                  </a:lnTo>
                  <a:lnTo>
                    <a:pt x="216" y="498"/>
                  </a:lnTo>
                  <a:lnTo>
                    <a:pt x="210" y="498"/>
                  </a:lnTo>
                  <a:lnTo>
                    <a:pt x="204" y="504"/>
                  </a:lnTo>
                  <a:lnTo>
                    <a:pt x="198" y="504"/>
                  </a:lnTo>
                  <a:lnTo>
                    <a:pt x="192" y="510"/>
                  </a:lnTo>
                  <a:lnTo>
                    <a:pt x="186" y="510"/>
                  </a:lnTo>
                  <a:lnTo>
                    <a:pt x="186" y="516"/>
                  </a:lnTo>
                  <a:lnTo>
                    <a:pt x="180" y="516"/>
                  </a:lnTo>
                  <a:lnTo>
                    <a:pt x="180" y="522"/>
                  </a:lnTo>
                  <a:lnTo>
                    <a:pt x="174" y="522"/>
                  </a:lnTo>
                  <a:lnTo>
                    <a:pt x="168" y="528"/>
                  </a:lnTo>
                  <a:lnTo>
                    <a:pt x="162" y="534"/>
                  </a:lnTo>
                  <a:lnTo>
                    <a:pt x="156" y="534"/>
                  </a:lnTo>
                  <a:lnTo>
                    <a:pt x="156" y="540"/>
                  </a:lnTo>
                  <a:lnTo>
                    <a:pt x="150" y="540"/>
                  </a:lnTo>
                  <a:lnTo>
                    <a:pt x="150" y="546"/>
                  </a:lnTo>
                  <a:lnTo>
                    <a:pt x="144" y="546"/>
                  </a:lnTo>
                  <a:lnTo>
                    <a:pt x="144" y="552"/>
                  </a:lnTo>
                  <a:lnTo>
                    <a:pt x="138" y="552"/>
                  </a:lnTo>
                  <a:lnTo>
                    <a:pt x="132" y="558"/>
                  </a:lnTo>
                  <a:lnTo>
                    <a:pt x="126" y="558"/>
                  </a:lnTo>
                  <a:lnTo>
                    <a:pt x="126" y="564"/>
                  </a:lnTo>
                  <a:lnTo>
                    <a:pt x="120" y="570"/>
                  </a:lnTo>
                  <a:lnTo>
                    <a:pt x="114" y="576"/>
                  </a:lnTo>
                  <a:lnTo>
                    <a:pt x="108" y="582"/>
                  </a:lnTo>
                  <a:lnTo>
                    <a:pt x="102" y="588"/>
                  </a:lnTo>
                  <a:lnTo>
                    <a:pt x="96" y="600"/>
                  </a:lnTo>
                  <a:lnTo>
                    <a:pt x="90" y="606"/>
                  </a:lnTo>
                  <a:lnTo>
                    <a:pt x="84" y="612"/>
                  </a:lnTo>
                  <a:lnTo>
                    <a:pt x="78" y="612"/>
                  </a:lnTo>
                  <a:lnTo>
                    <a:pt x="78" y="618"/>
                  </a:lnTo>
                  <a:lnTo>
                    <a:pt x="72" y="618"/>
                  </a:lnTo>
                  <a:lnTo>
                    <a:pt x="72" y="624"/>
                  </a:lnTo>
                  <a:lnTo>
                    <a:pt x="66" y="624"/>
                  </a:lnTo>
                  <a:lnTo>
                    <a:pt x="66" y="630"/>
                  </a:lnTo>
                  <a:lnTo>
                    <a:pt x="60" y="630"/>
                  </a:lnTo>
                  <a:lnTo>
                    <a:pt x="60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36"/>
                  </a:lnTo>
                  <a:lnTo>
                    <a:pt x="48" y="636"/>
                  </a:lnTo>
                  <a:lnTo>
                    <a:pt x="54" y="636"/>
                  </a:lnTo>
                  <a:lnTo>
                    <a:pt x="54" y="642"/>
                  </a:lnTo>
                  <a:lnTo>
                    <a:pt x="54" y="648"/>
                  </a:lnTo>
                  <a:lnTo>
                    <a:pt x="48" y="648"/>
                  </a:lnTo>
                  <a:lnTo>
                    <a:pt x="48" y="642"/>
                  </a:lnTo>
                  <a:lnTo>
                    <a:pt x="48" y="648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48" y="654"/>
                  </a:lnTo>
                  <a:lnTo>
                    <a:pt x="42" y="660"/>
                  </a:lnTo>
                  <a:lnTo>
                    <a:pt x="42" y="654"/>
                  </a:lnTo>
                  <a:lnTo>
                    <a:pt x="36" y="654"/>
                  </a:lnTo>
                  <a:lnTo>
                    <a:pt x="36" y="660"/>
                  </a:lnTo>
                  <a:lnTo>
                    <a:pt x="36" y="654"/>
                  </a:lnTo>
                  <a:lnTo>
                    <a:pt x="42" y="654"/>
                  </a:lnTo>
                  <a:lnTo>
                    <a:pt x="42" y="660"/>
                  </a:lnTo>
                  <a:lnTo>
                    <a:pt x="36" y="666"/>
                  </a:lnTo>
                  <a:lnTo>
                    <a:pt x="30" y="672"/>
                  </a:lnTo>
                  <a:lnTo>
                    <a:pt x="30" y="678"/>
                  </a:lnTo>
                  <a:lnTo>
                    <a:pt x="0" y="636"/>
                  </a:lnTo>
                  <a:lnTo>
                    <a:pt x="0" y="618"/>
                  </a:lnTo>
                  <a:lnTo>
                    <a:pt x="0" y="600"/>
                  </a:lnTo>
                  <a:lnTo>
                    <a:pt x="0" y="594"/>
                  </a:lnTo>
                  <a:lnTo>
                    <a:pt x="0" y="504"/>
                  </a:lnTo>
                  <a:lnTo>
                    <a:pt x="0" y="498"/>
                  </a:lnTo>
                  <a:lnTo>
                    <a:pt x="0" y="456"/>
                  </a:lnTo>
                  <a:lnTo>
                    <a:pt x="18" y="438"/>
                  </a:lnTo>
                  <a:lnTo>
                    <a:pt x="36" y="414"/>
                  </a:lnTo>
                  <a:lnTo>
                    <a:pt x="42" y="40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01" name="Freeform 54"/>
            <p:cNvSpPr>
              <a:spLocks noChangeAspect="1"/>
            </p:cNvSpPr>
            <p:nvPr>
              <p:custDataLst>
                <p:tags r:id="rId36"/>
              </p:custDataLst>
            </p:nvPr>
          </p:nvSpPr>
          <p:spPr bwMode="auto">
            <a:xfrm>
              <a:off x="3488" y="2152"/>
              <a:ext cx="337" cy="408"/>
            </a:xfrm>
            <a:custGeom>
              <a:avLst/>
              <a:gdLst>
                <a:gd name="T0" fmla="*/ 12 w 396"/>
                <a:gd name="T1" fmla="*/ 9 h 480"/>
                <a:gd name="T2" fmla="*/ 26 w 396"/>
                <a:gd name="T3" fmla="*/ 3 h 480"/>
                <a:gd name="T4" fmla="*/ 37 w 396"/>
                <a:gd name="T5" fmla="*/ 0 h 480"/>
                <a:gd name="T6" fmla="*/ 41 w 396"/>
                <a:gd name="T7" fmla="*/ 9 h 480"/>
                <a:gd name="T8" fmla="*/ 54 w 396"/>
                <a:gd name="T9" fmla="*/ 12 h 480"/>
                <a:gd name="T10" fmla="*/ 69 w 396"/>
                <a:gd name="T11" fmla="*/ 16 h 480"/>
                <a:gd name="T12" fmla="*/ 82 w 396"/>
                <a:gd name="T13" fmla="*/ 19 h 480"/>
                <a:gd name="T14" fmla="*/ 107 w 396"/>
                <a:gd name="T15" fmla="*/ 35 h 480"/>
                <a:gd name="T16" fmla="*/ 119 w 396"/>
                <a:gd name="T17" fmla="*/ 37 h 480"/>
                <a:gd name="T18" fmla="*/ 129 w 396"/>
                <a:gd name="T19" fmla="*/ 37 h 480"/>
                <a:gd name="T20" fmla="*/ 139 w 396"/>
                <a:gd name="T21" fmla="*/ 41 h 480"/>
                <a:gd name="T22" fmla="*/ 154 w 396"/>
                <a:gd name="T23" fmla="*/ 35 h 480"/>
                <a:gd name="T24" fmla="*/ 163 w 396"/>
                <a:gd name="T25" fmla="*/ 26 h 480"/>
                <a:gd name="T26" fmla="*/ 176 w 396"/>
                <a:gd name="T27" fmla="*/ 22 h 480"/>
                <a:gd name="T28" fmla="*/ 186 w 396"/>
                <a:gd name="T29" fmla="*/ 22 h 480"/>
                <a:gd name="T30" fmla="*/ 192 w 396"/>
                <a:gd name="T31" fmla="*/ 28 h 480"/>
                <a:gd name="T32" fmla="*/ 205 w 396"/>
                <a:gd name="T33" fmla="*/ 28 h 480"/>
                <a:gd name="T34" fmla="*/ 186 w 396"/>
                <a:gd name="T35" fmla="*/ 56 h 480"/>
                <a:gd name="T36" fmla="*/ 186 w 396"/>
                <a:gd name="T37" fmla="*/ 132 h 480"/>
                <a:gd name="T38" fmla="*/ 198 w 396"/>
                <a:gd name="T39" fmla="*/ 176 h 480"/>
                <a:gd name="T40" fmla="*/ 196 w 396"/>
                <a:gd name="T41" fmla="*/ 179 h 480"/>
                <a:gd name="T42" fmla="*/ 192 w 396"/>
                <a:gd name="T43" fmla="*/ 182 h 480"/>
                <a:gd name="T44" fmla="*/ 186 w 396"/>
                <a:gd name="T45" fmla="*/ 182 h 480"/>
                <a:gd name="T46" fmla="*/ 182 w 396"/>
                <a:gd name="T47" fmla="*/ 185 h 480"/>
                <a:gd name="T48" fmla="*/ 186 w 396"/>
                <a:gd name="T49" fmla="*/ 188 h 480"/>
                <a:gd name="T50" fmla="*/ 186 w 396"/>
                <a:gd name="T51" fmla="*/ 188 h 480"/>
                <a:gd name="T52" fmla="*/ 180 w 396"/>
                <a:gd name="T53" fmla="*/ 188 h 480"/>
                <a:gd name="T54" fmla="*/ 182 w 396"/>
                <a:gd name="T55" fmla="*/ 190 h 480"/>
                <a:gd name="T56" fmla="*/ 173 w 396"/>
                <a:gd name="T57" fmla="*/ 197 h 480"/>
                <a:gd name="T58" fmla="*/ 163 w 396"/>
                <a:gd name="T59" fmla="*/ 200 h 480"/>
                <a:gd name="T60" fmla="*/ 163 w 396"/>
                <a:gd name="T61" fmla="*/ 207 h 480"/>
                <a:gd name="T62" fmla="*/ 160 w 396"/>
                <a:gd name="T63" fmla="*/ 216 h 480"/>
                <a:gd name="T64" fmla="*/ 160 w 396"/>
                <a:gd name="T65" fmla="*/ 216 h 480"/>
                <a:gd name="T66" fmla="*/ 157 w 396"/>
                <a:gd name="T67" fmla="*/ 223 h 480"/>
                <a:gd name="T68" fmla="*/ 157 w 396"/>
                <a:gd name="T69" fmla="*/ 225 h 480"/>
                <a:gd name="T70" fmla="*/ 154 w 396"/>
                <a:gd name="T71" fmla="*/ 231 h 480"/>
                <a:gd name="T72" fmla="*/ 151 w 396"/>
                <a:gd name="T73" fmla="*/ 235 h 480"/>
                <a:gd name="T74" fmla="*/ 148 w 396"/>
                <a:gd name="T75" fmla="*/ 244 h 480"/>
                <a:gd name="T76" fmla="*/ 145 w 396"/>
                <a:gd name="T77" fmla="*/ 248 h 480"/>
                <a:gd name="T78" fmla="*/ 142 w 396"/>
                <a:gd name="T79" fmla="*/ 251 h 480"/>
                <a:gd name="T80" fmla="*/ 142 w 396"/>
                <a:gd name="T81" fmla="*/ 251 h 480"/>
                <a:gd name="T82" fmla="*/ 107 w 396"/>
                <a:gd name="T83" fmla="*/ 229 h 480"/>
                <a:gd name="T84" fmla="*/ 97 w 396"/>
                <a:gd name="T85" fmla="*/ 219 h 480"/>
                <a:gd name="T86" fmla="*/ 94 w 396"/>
                <a:gd name="T87" fmla="*/ 207 h 480"/>
                <a:gd name="T88" fmla="*/ 51 w 396"/>
                <a:gd name="T89" fmla="*/ 182 h 480"/>
                <a:gd name="T90" fmla="*/ 0 w 396"/>
                <a:gd name="T91" fmla="*/ 156 h 480"/>
                <a:gd name="T92" fmla="*/ 3 w 396"/>
                <a:gd name="T93" fmla="*/ 134 h 480"/>
                <a:gd name="T94" fmla="*/ 7 w 396"/>
                <a:gd name="T95" fmla="*/ 122 h 480"/>
                <a:gd name="T96" fmla="*/ 12 w 396"/>
                <a:gd name="T97" fmla="*/ 113 h 480"/>
                <a:gd name="T98" fmla="*/ 16 w 396"/>
                <a:gd name="T99" fmla="*/ 104 h 480"/>
                <a:gd name="T100" fmla="*/ 22 w 396"/>
                <a:gd name="T101" fmla="*/ 97 h 480"/>
                <a:gd name="T102" fmla="*/ 26 w 396"/>
                <a:gd name="T103" fmla="*/ 94 h 480"/>
                <a:gd name="T104" fmla="*/ 31 w 396"/>
                <a:gd name="T105" fmla="*/ 82 h 480"/>
                <a:gd name="T106" fmla="*/ 28 w 396"/>
                <a:gd name="T107" fmla="*/ 65 h 480"/>
                <a:gd name="T108" fmla="*/ 19 w 396"/>
                <a:gd name="T109" fmla="*/ 56 h 480"/>
                <a:gd name="T110" fmla="*/ 16 w 396"/>
                <a:gd name="T111" fmla="*/ 47 h 480"/>
                <a:gd name="T112" fmla="*/ 16 w 396"/>
                <a:gd name="T113" fmla="*/ 41 h 480"/>
                <a:gd name="T114" fmla="*/ 16 w 396"/>
                <a:gd name="T115" fmla="*/ 35 h 480"/>
                <a:gd name="T116" fmla="*/ 7 w 396"/>
                <a:gd name="T117" fmla="*/ 31 h 480"/>
                <a:gd name="T118" fmla="*/ 9 w 396"/>
                <a:gd name="T119" fmla="*/ 28 h 480"/>
                <a:gd name="T120" fmla="*/ 7 w 396"/>
                <a:gd name="T121" fmla="*/ 22 h 4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96" h="480">
                  <a:moveTo>
                    <a:pt x="6" y="42"/>
                  </a:moveTo>
                  <a:lnTo>
                    <a:pt x="6" y="36"/>
                  </a:lnTo>
                  <a:lnTo>
                    <a:pt x="18" y="24"/>
                  </a:lnTo>
                  <a:lnTo>
                    <a:pt x="24" y="18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102" y="18"/>
                  </a:lnTo>
                  <a:lnTo>
                    <a:pt x="102" y="24"/>
                  </a:lnTo>
                  <a:lnTo>
                    <a:pt x="108" y="30"/>
                  </a:lnTo>
                  <a:lnTo>
                    <a:pt x="114" y="30"/>
                  </a:lnTo>
                  <a:lnTo>
                    <a:pt x="120" y="30"/>
                  </a:lnTo>
                  <a:lnTo>
                    <a:pt x="132" y="30"/>
                  </a:lnTo>
                  <a:lnTo>
                    <a:pt x="138" y="30"/>
                  </a:lnTo>
                  <a:lnTo>
                    <a:pt x="150" y="30"/>
                  </a:lnTo>
                  <a:lnTo>
                    <a:pt x="156" y="30"/>
                  </a:lnTo>
                  <a:lnTo>
                    <a:pt x="156" y="36"/>
                  </a:lnTo>
                  <a:lnTo>
                    <a:pt x="162" y="36"/>
                  </a:lnTo>
                  <a:lnTo>
                    <a:pt x="168" y="36"/>
                  </a:lnTo>
                  <a:lnTo>
                    <a:pt x="186" y="54"/>
                  </a:lnTo>
                  <a:lnTo>
                    <a:pt x="204" y="66"/>
                  </a:lnTo>
                  <a:lnTo>
                    <a:pt x="210" y="66"/>
                  </a:lnTo>
                  <a:lnTo>
                    <a:pt x="210" y="72"/>
                  </a:lnTo>
                  <a:lnTo>
                    <a:pt x="216" y="72"/>
                  </a:lnTo>
                  <a:lnTo>
                    <a:pt x="228" y="72"/>
                  </a:lnTo>
                  <a:lnTo>
                    <a:pt x="234" y="66"/>
                  </a:lnTo>
                  <a:lnTo>
                    <a:pt x="234" y="72"/>
                  </a:lnTo>
                  <a:lnTo>
                    <a:pt x="240" y="72"/>
                  </a:lnTo>
                  <a:lnTo>
                    <a:pt x="246" y="72"/>
                  </a:lnTo>
                  <a:lnTo>
                    <a:pt x="252" y="72"/>
                  </a:lnTo>
                  <a:lnTo>
                    <a:pt x="258" y="72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82" y="78"/>
                  </a:lnTo>
                  <a:lnTo>
                    <a:pt x="294" y="66"/>
                  </a:lnTo>
                  <a:lnTo>
                    <a:pt x="294" y="60"/>
                  </a:lnTo>
                  <a:lnTo>
                    <a:pt x="300" y="60"/>
                  </a:lnTo>
                  <a:lnTo>
                    <a:pt x="300" y="54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6" y="42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54" y="48"/>
                  </a:lnTo>
                  <a:lnTo>
                    <a:pt x="360" y="48"/>
                  </a:lnTo>
                  <a:lnTo>
                    <a:pt x="360" y="54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90" y="54"/>
                  </a:lnTo>
                  <a:lnTo>
                    <a:pt x="396" y="54"/>
                  </a:lnTo>
                  <a:lnTo>
                    <a:pt x="390" y="66"/>
                  </a:lnTo>
                  <a:lnTo>
                    <a:pt x="372" y="90"/>
                  </a:lnTo>
                  <a:lnTo>
                    <a:pt x="354" y="108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54" y="246"/>
                  </a:lnTo>
                  <a:lnTo>
                    <a:pt x="354" y="252"/>
                  </a:lnTo>
                  <a:lnTo>
                    <a:pt x="354" y="270"/>
                  </a:lnTo>
                  <a:lnTo>
                    <a:pt x="354" y="288"/>
                  </a:lnTo>
                  <a:lnTo>
                    <a:pt x="384" y="330"/>
                  </a:lnTo>
                  <a:lnTo>
                    <a:pt x="378" y="336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8" y="342"/>
                  </a:lnTo>
                  <a:lnTo>
                    <a:pt x="372" y="342"/>
                  </a:lnTo>
                  <a:lnTo>
                    <a:pt x="372" y="348"/>
                  </a:lnTo>
                  <a:lnTo>
                    <a:pt x="366" y="348"/>
                  </a:lnTo>
                  <a:lnTo>
                    <a:pt x="366" y="342"/>
                  </a:lnTo>
                  <a:lnTo>
                    <a:pt x="366" y="348"/>
                  </a:lnTo>
                  <a:lnTo>
                    <a:pt x="360" y="348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54" y="348"/>
                  </a:lnTo>
                  <a:lnTo>
                    <a:pt x="354" y="342"/>
                  </a:lnTo>
                  <a:lnTo>
                    <a:pt x="354" y="348"/>
                  </a:lnTo>
                  <a:lnTo>
                    <a:pt x="354" y="354"/>
                  </a:lnTo>
                  <a:lnTo>
                    <a:pt x="348" y="354"/>
                  </a:lnTo>
                  <a:lnTo>
                    <a:pt x="348" y="348"/>
                  </a:lnTo>
                  <a:lnTo>
                    <a:pt x="348" y="354"/>
                  </a:lnTo>
                  <a:lnTo>
                    <a:pt x="348" y="360"/>
                  </a:lnTo>
                  <a:lnTo>
                    <a:pt x="354" y="360"/>
                  </a:lnTo>
                  <a:lnTo>
                    <a:pt x="354" y="366"/>
                  </a:lnTo>
                  <a:lnTo>
                    <a:pt x="348" y="366"/>
                  </a:lnTo>
                  <a:lnTo>
                    <a:pt x="354" y="366"/>
                  </a:lnTo>
                  <a:lnTo>
                    <a:pt x="354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8" y="360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2" y="360"/>
                  </a:lnTo>
                  <a:lnTo>
                    <a:pt x="342" y="366"/>
                  </a:lnTo>
                  <a:lnTo>
                    <a:pt x="348" y="366"/>
                  </a:lnTo>
                  <a:lnTo>
                    <a:pt x="342" y="372"/>
                  </a:lnTo>
                  <a:lnTo>
                    <a:pt x="336" y="378"/>
                  </a:lnTo>
                  <a:lnTo>
                    <a:pt x="330" y="372"/>
                  </a:lnTo>
                  <a:lnTo>
                    <a:pt x="330" y="378"/>
                  </a:lnTo>
                  <a:lnTo>
                    <a:pt x="324" y="378"/>
                  </a:lnTo>
                  <a:lnTo>
                    <a:pt x="318" y="378"/>
                  </a:lnTo>
                  <a:lnTo>
                    <a:pt x="318" y="384"/>
                  </a:lnTo>
                  <a:lnTo>
                    <a:pt x="312" y="384"/>
                  </a:lnTo>
                  <a:lnTo>
                    <a:pt x="312" y="390"/>
                  </a:lnTo>
                  <a:lnTo>
                    <a:pt x="312" y="396"/>
                  </a:lnTo>
                  <a:lnTo>
                    <a:pt x="318" y="396"/>
                  </a:lnTo>
                  <a:lnTo>
                    <a:pt x="312" y="396"/>
                  </a:lnTo>
                  <a:lnTo>
                    <a:pt x="312" y="402"/>
                  </a:lnTo>
                  <a:lnTo>
                    <a:pt x="312" y="408"/>
                  </a:lnTo>
                  <a:lnTo>
                    <a:pt x="312" y="414"/>
                  </a:lnTo>
                  <a:lnTo>
                    <a:pt x="306" y="414"/>
                  </a:lnTo>
                  <a:lnTo>
                    <a:pt x="306" y="420"/>
                  </a:lnTo>
                  <a:lnTo>
                    <a:pt x="306" y="414"/>
                  </a:lnTo>
                  <a:lnTo>
                    <a:pt x="300" y="414"/>
                  </a:lnTo>
                  <a:lnTo>
                    <a:pt x="306" y="414"/>
                  </a:lnTo>
                  <a:lnTo>
                    <a:pt x="300" y="420"/>
                  </a:lnTo>
                  <a:lnTo>
                    <a:pt x="306" y="420"/>
                  </a:lnTo>
                  <a:lnTo>
                    <a:pt x="300" y="420"/>
                  </a:lnTo>
                  <a:lnTo>
                    <a:pt x="300" y="426"/>
                  </a:lnTo>
                  <a:lnTo>
                    <a:pt x="300" y="432"/>
                  </a:lnTo>
                  <a:lnTo>
                    <a:pt x="294" y="426"/>
                  </a:lnTo>
                  <a:lnTo>
                    <a:pt x="294" y="432"/>
                  </a:lnTo>
                  <a:lnTo>
                    <a:pt x="300" y="432"/>
                  </a:lnTo>
                  <a:lnTo>
                    <a:pt x="294" y="438"/>
                  </a:lnTo>
                  <a:lnTo>
                    <a:pt x="294" y="444"/>
                  </a:lnTo>
                  <a:lnTo>
                    <a:pt x="288" y="444"/>
                  </a:lnTo>
                  <a:lnTo>
                    <a:pt x="294" y="444"/>
                  </a:lnTo>
                  <a:lnTo>
                    <a:pt x="294" y="450"/>
                  </a:lnTo>
                  <a:lnTo>
                    <a:pt x="288" y="450"/>
                  </a:lnTo>
                  <a:lnTo>
                    <a:pt x="282" y="450"/>
                  </a:lnTo>
                  <a:lnTo>
                    <a:pt x="288" y="450"/>
                  </a:lnTo>
                  <a:lnTo>
                    <a:pt x="288" y="456"/>
                  </a:lnTo>
                  <a:lnTo>
                    <a:pt x="288" y="462"/>
                  </a:lnTo>
                  <a:lnTo>
                    <a:pt x="282" y="462"/>
                  </a:lnTo>
                  <a:lnTo>
                    <a:pt x="282" y="468"/>
                  </a:lnTo>
                  <a:lnTo>
                    <a:pt x="282" y="474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6" y="474"/>
                  </a:lnTo>
                  <a:lnTo>
                    <a:pt x="276" y="480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70" y="474"/>
                  </a:lnTo>
                  <a:lnTo>
                    <a:pt x="270" y="480"/>
                  </a:lnTo>
                  <a:lnTo>
                    <a:pt x="264" y="480"/>
                  </a:lnTo>
                  <a:lnTo>
                    <a:pt x="240" y="462"/>
                  </a:lnTo>
                  <a:lnTo>
                    <a:pt x="228" y="456"/>
                  </a:lnTo>
                  <a:lnTo>
                    <a:pt x="204" y="438"/>
                  </a:lnTo>
                  <a:lnTo>
                    <a:pt x="198" y="432"/>
                  </a:lnTo>
                  <a:lnTo>
                    <a:pt x="192" y="426"/>
                  </a:lnTo>
                  <a:lnTo>
                    <a:pt x="186" y="426"/>
                  </a:lnTo>
                  <a:lnTo>
                    <a:pt x="186" y="420"/>
                  </a:lnTo>
                  <a:lnTo>
                    <a:pt x="192" y="414"/>
                  </a:lnTo>
                  <a:lnTo>
                    <a:pt x="192" y="402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56" y="384"/>
                  </a:lnTo>
                  <a:lnTo>
                    <a:pt x="138" y="372"/>
                  </a:lnTo>
                  <a:lnTo>
                    <a:pt x="120" y="360"/>
                  </a:lnTo>
                  <a:lnTo>
                    <a:pt x="96" y="348"/>
                  </a:lnTo>
                  <a:lnTo>
                    <a:pt x="60" y="330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0" y="282"/>
                  </a:lnTo>
                  <a:lnTo>
                    <a:pt x="0" y="270"/>
                  </a:lnTo>
                  <a:lnTo>
                    <a:pt x="6" y="264"/>
                  </a:lnTo>
                  <a:lnTo>
                    <a:pt x="6" y="258"/>
                  </a:lnTo>
                  <a:lnTo>
                    <a:pt x="6" y="246"/>
                  </a:lnTo>
                  <a:lnTo>
                    <a:pt x="0" y="246"/>
                  </a:lnTo>
                  <a:lnTo>
                    <a:pt x="6" y="234"/>
                  </a:lnTo>
                  <a:lnTo>
                    <a:pt x="12" y="234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18" y="216"/>
                  </a:lnTo>
                  <a:lnTo>
                    <a:pt x="24" y="216"/>
                  </a:lnTo>
                  <a:lnTo>
                    <a:pt x="24" y="210"/>
                  </a:lnTo>
                  <a:lnTo>
                    <a:pt x="30" y="210"/>
                  </a:lnTo>
                  <a:lnTo>
                    <a:pt x="30" y="204"/>
                  </a:lnTo>
                  <a:lnTo>
                    <a:pt x="30" y="198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48" y="186"/>
                  </a:lnTo>
                  <a:lnTo>
                    <a:pt x="48" y="180"/>
                  </a:lnTo>
                  <a:lnTo>
                    <a:pt x="42" y="180"/>
                  </a:lnTo>
                  <a:lnTo>
                    <a:pt x="48" y="180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60" y="156"/>
                  </a:lnTo>
                  <a:lnTo>
                    <a:pt x="54" y="150"/>
                  </a:lnTo>
                  <a:lnTo>
                    <a:pt x="54" y="144"/>
                  </a:lnTo>
                  <a:lnTo>
                    <a:pt x="54" y="132"/>
                  </a:lnTo>
                  <a:lnTo>
                    <a:pt x="54" y="126"/>
                  </a:lnTo>
                  <a:lnTo>
                    <a:pt x="48" y="120"/>
                  </a:lnTo>
                  <a:lnTo>
                    <a:pt x="48" y="114"/>
                  </a:lnTo>
                  <a:lnTo>
                    <a:pt x="42" y="108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30" y="84"/>
                  </a:lnTo>
                  <a:lnTo>
                    <a:pt x="24" y="84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24" y="78"/>
                  </a:lnTo>
                  <a:lnTo>
                    <a:pt x="30" y="78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2" y="60"/>
                  </a:lnTo>
                  <a:lnTo>
                    <a:pt x="18" y="60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6" y="4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02" name="Freeform 55"/>
            <p:cNvSpPr>
              <a:spLocks noChangeAspect="1"/>
            </p:cNvSpPr>
            <p:nvPr>
              <p:custDataLst>
                <p:tags r:id="rId37"/>
              </p:custDataLst>
            </p:nvPr>
          </p:nvSpPr>
          <p:spPr bwMode="auto">
            <a:xfrm>
              <a:off x="3819" y="1825"/>
              <a:ext cx="72" cy="77"/>
            </a:xfrm>
            <a:custGeom>
              <a:avLst/>
              <a:gdLst>
                <a:gd name="T0" fmla="*/ 23 w 84"/>
                <a:gd name="T1" fmla="*/ 7 h 90"/>
                <a:gd name="T2" fmla="*/ 28 w 84"/>
                <a:gd name="T3" fmla="*/ 9 h 90"/>
                <a:gd name="T4" fmla="*/ 28 w 84"/>
                <a:gd name="T5" fmla="*/ 3 h 90"/>
                <a:gd name="T6" fmla="*/ 36 w 84"/>
                <a:gd name="T7" fmla="*/ 3 h 90"/>
                <a:gd name="T8" fmla="*/ 39 w 84"/>
                <a:gd name="T9" fmla="*/ 3 h 90"/>
                <a:gd name="T10" fmla="*/ 42 w 84"/>
                <a:gd name="T11" fmla="*/ 9 h 90"/>
                <a:gd name="T12" fmla="*/ 45 w 84"/>
                <a:gd name="T13" fmla="*/ 13 h 90"/>
                <a:gd name="T14" fmla="*/ 45 w 84"/>
                <a:gd name="T15" fmla="*/ 20 h 90"/>
                <a:gd name="T16" fmla="*/ 42 w 84"/>
                <a:gd name="T17" fmla="*/ 23 h 90"/>
                <a:gd name="T18" fmla="*/ 36 w 84"/>
                <a:gd name="T19" fmla="*/ 23 h 90"/>
                <a:gd name="T20" fmla="*/ 33 w 84"/>
                <a:gd name="T21" fmla="*/ 26 h 90"/>
                <a:gd name="T22" fmla="*/ 28 w 84"/>
                <a:gd name="T23" fmla="*/ 28 h 90"/>
                <a:gd name="T24" fmla="*/ 26 w 84"/>
                <a:gd name="T25" fmla="*/ 33 h 90"/>
                <a:gd name="T26" fmla="*/ 23 w 84"/>
                <a:gd name="T27" fmla="*/ 35 h 90"/>
                <a:gd name="T28" fmla="*/ 26 w 84"/>
                <a:gd name="T29" fmla="*/ 33 h 90"/>
                <a:gd name="T30" fmla="*/ 33 w 84"/>
                <a:gd name="T31" fmla="*/ 33 h 90"/>
                <a:gd name="T32" fmla="*/ 39 w 84"/>
                <a:gd name="T33" fmla="*/ 33 h 90"/>
                <a:gd name="T34" fmla="*/ 39 w 84"/>
                <a:gd name="T35" fmla="*/ 33 h 90"/>
                <a:gd name="T36" fmla="*/ 42 w 84"/>
                <a:gd name="T37" fmla="*/ 35 h 90"/>
                <a:gd name="T38" fmla="*/ 33 w 84"/>
                <a:gd name="T39" fmla="*/ 45 h 90"/>
                <a:gd name="T40" fmla="*/ 28 w 84"/>
                <a:gd name="T41" fmla="*/ 48 h 90"/>
                <a:gd name="T42" fmla="*/ 26 w 84"/>
                <a:gd name="T43" fmla="*/ 45 h 90"/>
                <a:gd name="T44" fmla="*/ 20 w 84"/>
                <a:gd name="T45" fmla="*/ 45 h 90"/>
                <a:gd name="T46" fmla="*/ 16 w 84"/>
                <a:gd name="T47" fmla="*/ 48 h 90"/>
                <a:gd name="T48" fmla="*/ 9 w 84"/>
                <a:gd name="T49" fmla="*/ 48 h 90"/>
                <a:gd name="T50" fmla="*/ 3 w 84"/>
                <a:gd name="T51" fmla="*/ 48 h 90"/>
                <a:gd name="T52" fmla="*/ 3 w 84"/>
                <a:gd name="T53" fmla="*/ 39 h 90"/>
                <a:gd name="T54" fmla="*/ 0 w 84"/>
                <a:gd name="T55" fmla="*/ 33 h 90"/>
                <a:gd name="T56" fmla="*/ 3 w 84"/>
                <a:gd name="T57" fmla="*/ 28 h 90"/>
                <a:gd name="T58" fmla="*/ 7 w 84"/>
                <a:gd name="T59" fmla="*/ 26 h 90"/>
                <a:gd name="T60" fmla="*/ 13 w 84"/>
                <a:gd name="T61" fmla="*/ 20 h 90"/>
                <a:gd name="T62" fmla="*/ 13 w 84"/>
                <a:gd name="T63" fmla="*/ 13 h 90"/>
                <a:gd name="T64" fmla="*/ 16 w 84"/>
                <a:gd name="T65" fmla="*/ 9 h 9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84" h="90">
                  <a:moveTo>
                    <a:pt x="36" y="12"/>
                  </a:moveTo>
                  <a:lnTo>
                    <a:pt x="42" y="12"/>
                  </a:lnTo>
                  <a:lnTo>
                    <a:pt x="48" y="18"/>
                  </a:lnTo>
                  <a:lnTo>
                    <a:pt x="54" y="18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8" y="36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66" y="42"/>
                  </a:lnTo>
                  <a:lnTo>
                    <a:pt x="66" y="48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54" y="54"/>
                  </a:lnTo>
                  <a:lnTo>
                    <a:pt x="48" y="5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60" y="60"/>
                  </a:lnTo>
                  <a:lnTo>
                    <a:pt x="66" y="60"/>
                  </a:lnTo>
                  <a:lnTo>
                    <a:pt x="72" y="60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78" y="66"/>
                  </a:lnTo>
                  <a:lnTo>
                    <a:pt x="66" y="84"/>
                  </a:lnTo>
                  <a:lnTo>
                    <a:pt x="60" y="84"/>
                  </a:lnTo>
                  <a:lnTo>
                    <a:pt x="60" y="90"/>
                  </a:lnTo>
                  <a:lnTo>
                    <a:pt x="54" y="90"/>
                  </a:lnTo>
                  <a:lnTo>
                    <a:pt x="54" y="84"/>
                  </a:lnTo>
                  <a:lnTo>
                    <a:pt x="48" y="84"/>
                  </a:lnTo>
                  <a:lnTo>
                    <a:pt x="42" y="84"/>
                  </a:lnTo>
                  <a:lnTo>
                    <a:pt x="36" y="84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6" y="90"/>
                  </a:lnTo>
                  <a:lnTo>
                    <a:pt x="6" y="84"/>
                  </a:lnTo>
                  <a:lnTo>
                    <a:pt x="6" y="72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18" y="36"/>
                  </a:lnTo>
                  <a:lnTo>
                    <a:pt x="24" y="36"/>
                  </a:lnTo>
                  <a:lnTo>
                    <a:pt x="24" y="30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03" name="Freeform 56"/>
            <p:cNvSpPr>
              <a:spLocks noChangeAspect="1"/>
            </p:cNvSpPr>
            <p:nvPr>
              <p:custDataLst>
                <p:tags r:id="rId38"/>
              </p:custDataLst>
            </p:nvPr>
          </p:nvSpPr>
          <p:spPr bwMode="auto">
            <a:xfrm>
              <a:off x="3335" y="2801"/>
              <a:ext cx="443" cy="699"/>
            </a:xfrm>
            <a:custGeom>
              <a:avLst/>
              <a:gdLst>
                <a:gd name="T0" fmla="*/ 19 w 884"/>
                <a:gd name="T1" fmla="*/ 22 h 1393"/>
                <a:gd name="T2" fmla="*/ 23 w 884"/>
                <a:gd name="T3" fmla="*/ 23 h 1393"/>
                <a:gd name="T4" fmla="*/ 23 w 884"/>
                <a:gd name="T5" fmla="*/ 28 h 1393"/>
                <a:gd name="T6" fmla="*/ 23 w 884"/>
                <a:gd name="T7" fmla="*/ 32 h 1393"/>
                <a:gd name="T8" fmla="*/ 26 w 884"/>
                <a:gd name="T9" fmla="*/ 35 h 1393"/>
                <a:gd name="T10" fmla="*/ 26 w 884"/>
                <a:gd name="T11" fmla="*/ 33 h 1393"/>
                <a:gd name="T12" fmla="*/ 29 w 884"/>
                <a:gd name="T13" fmla="*/ 30 h 1393"/>
                <a:gd name="T14" fmla="*/ 23 w 884"/>
                <a:gd name="T15" fmla="*/ 15 h 1393"/>
                <a:gd name="T16" fmla="*/ 28 w 884"/>
                <a:gd name="T17" fmla="*/ 6 h 1393"/>
                <a:gd name="T18" fmla="*/ 31 w 884"/>
                <a:gd name="T19" fmla="*/ 6 h 1393"/>
                <a:gd name="T20" fmla="*/ 36 w 884"/>
                <a:gd name="T21" fmla="*/ 6 h 1393"/>
                <a:gd name="T22" fmla="*/ 40 w 884"/>
                <a:gd name="T23" fmla="*/ 5 h 1393"/>
                <a:gd name="T24" fmla="*/ 44 w 884"/>
                <a:gd name="T25" fmla="*/ 5 h 1393"/>
                <a:gd name="T26" fmla="*/ 50 w 884"/>
                <a:gd name="T27" fmla="*/ 3 h 1393"/>
                <a:gd name="T28" fmla="*/ 54 w 884"/>
                <a:gd name="T29" fmla="*/ 1 h 1393"/>
                <a:gd name="T30" fmla="*/ 54 w 884"/>
                <a:gd name="T31" fmla="*/ 4 h 1393"/>
                <a:gd name="T32" fmla="*/ 53 w 884"/>
                <a:gd name="T33" fmla="*/ 7 h 1393"/>
                <a:gd name="T34" fmla="*/ 54 w 884"/>
                <a:gd name="T35" fmla="*/ 10 h 1393"/>
                <a:gd name="T36" fmla="*/ 54 w 884"/>
                <a:gd name="T37" fmla="*/ 12 h 1393"/>
                <a:gd name="T38" fmla="*/ 54 w 884"/>
                <a:gd name="T39" fmla="*/ 13 h 1393"/>
                <a:gd name="T40" fmla="*/ 54 w 884"/>
                <a:gd name="T41" fmla="*/ 16 h 1393"/>
                <a:gd name="T42" fmla="*/ 55 w 884"/>
                <a:gd name="T43" fmla="*/ 20 h 1393"/>
                <a:gd name="T44" fmla="*/ 54 w 884"/>
                <a:gd name="T45" fmla="*/ 22 h 1393"/>
                <a:gd name="T46" fmla="*/ 55 w 884"/>
                <a:gd name="T47" fmla="*/ 24 h 1393"/>
                <a:gd name="T48" fmla="*/ 55 w 884"/>
                <a:gd name="T49" fmla="*/ 25 h 1393"/>
                <a:gd name="T50" fmla="*/ 54 w 884"/>
                <a:gd name="T51" fmla="*/ 27 h 1393"/>
                <a:gd name="T52" fmla="*/ 52 w 884"/>
                <a:gd name="T53" fmla="*/ 30 h 1393"/>
                <a:gd name="T54" fmla="*/ 50 w 884"/>
                <a:gd name="T55" fmla="*/ 31 h 1393"/>
                <a:gd name="T56" fmla="*/ 49 w 884"/>
                <a:gd name="T57" fmla="*/ 33 h 1393"/>
                <a:gd name="T58" fmla="*/ 44 w 884"/>
                <a:gd name="T59" fmla="*/ 35 h 1393"/>
                <a:gd name="T60" fmla="*/ 42 w 884"/>
                <a:gd name="T61" fmla="*/ 37 h 1393"/>
                <a:gd name="T62" fmla="*/ 38 w 884"/>
                <a:gd name="T63" fmla="*/ 39 h 1393"/>
                <a:gd name="T64" fmla="*/ 35 w 884"/>
                <a:gd name="T65" fmla="*/ 42 h 1393"/>
                <a:gd name="T66" fmla="*/ 33 w 884"/>
                <a:gd name="T67" fmla="*/ 44 h 1393"/>
                <a:gd name="T68" fmla="*/ 31 w 884"/>
                <a:gd name="T69" fmla="*/ 45 h 1393"/>
                <a:gd name="T70" fmla="*/ 29 w 884"/>
                <a:gd name="T71" fmla="*/ 47 h 1393"/>
                <a:gd name="T72" fmla="*/ 27 w 884"/>
                <a:gd name="T73" fmla="*/ 49 h 1393"/>
                <a:gd name="T74" fmla="*/ 25 w 884"/>
                <a:gd name="T75" fmla="*/ 51 h 1393"/>
                <a:gd name="T76" fmla="*/ 24 w 884"/>
                <a:gd name="T77" fmla="*/ 52 h 1393"/>
                <a:gd name="T78" fmla="*/ 23 w 884"/>
                <a:gd name="T79" fmla="*/ 54 h 1393"/>
                <a:gd name="T80" fmla="*/ 25 w 884"/>
                <a:gd name="T81" fmla="*/ 55 h 1393"/>
                <a:gd name="T82" fmla="*/ 26 w 884"/>
                <a:gd name="T83" fmla="*/ 57 h 1393"/>
                <a:gd name="T84" fmla="*/ 26 w 884"/>
                <a:gd name="T85" fmla="*/ 58 h 1393"/>
                <a:gd name="T86" fmla="*/ 27 w 884"/>
                <a:gd name="T87" fmla="*/ 61 h 1393"/>
                <a:gd name="T88" fmla="*/ 28 w 884"/>
                <a:gd name="T89" fmla="*/ 63 h 1393"/>
                <a:gd name="T90" fmla="*/ 28 w 884"/>
                <a:gd name="T91" fmla="*/ 69 h 1393"/>
                <a:gd name="T92" fmla="*/ 27 w 884"/>
                <a:gd name="T93" fmla="*/ 73 h 1393"/>
                <a:gd name="T94" fmla="*/ 26 w 884"/>
                <a:gd name="T95" fmla="*/ 76 h 1393"/>
                <a:gd name="T96" fmla="*/ 18 w 884"/>
                <a:gd name="T97" fmla="*/ 80 h 1393"/>
                <a:gd name="T98" fmla="*/ 14 w 884"/>
                <a:gd name="T99" fmla="*/ 83 h 1393"/>
                <a:gd name="T100" fmla="*/ 13 w 884"/>
                <a:gd name="T101" fmla="*/ 85 h 1393"/>
                <a:gd name="T102" fmla="*/ 14 w 884"/>
                <a:gd name="T103" fmla="*/ 88 h 1393"/>
                <a:gd name="T104" fmla="*/ 10 w 884"/>
                <a:gd name="T105" fmla="*/ 82 h 1393"/>
                <a:gd name="T106" fmla="*/ 8 w 884"/>
                <a:gd name="T107" fmla="*/ 72 h 1393"/>
                <a:gd name="T108" fmla="*/ 13 w 884"/>
                <a:gd name="T109" fmla="*/ 56 h 1393"/>
                <a:gd name="T110" fmla="*/ 15 w 884"/>
                <a:gd name="T111" fmla="*/ 50 h 1393"/>
                <a:gd name="T112" fmla="*/ 14 w 884"/>
                <a:gd name="T113" fmla="*/ 46 h 1393"/>
                <a:gd name="T114" fmla="*/ 15 w 884"/>
                <a:gd name="T115" fmla="*/ 42 h 1393"/>
                <a:gd name="T116" fmla="*/ 15 w 884"/>
                <a:gd name="T117" fmla="*/ 38 h 1393"/>
                <a:gd name="T118" fmla="*/ 12 w 884"/>
                <a:gd name="T119" fmla="*/ 32 h 1393"/>
                <a:gd name="T120" fmla="*/ 5 w 884"/>
                <a:gd name="T121" fmla="*/ 30 h 1393"/>
                <a:gd name="T122" fmla="*/ 1 w 884"/>
                <a:gd name="T123" fmla="*/ 25 h 1393"/>
                <a:gd name="T124" fmla="*/ 13 w 884"/>
                <a:gd name="T125" fmla="*/ 20 h 139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884" h="1393">
                  <a:moveTo>
                    <a:pt x="252" y="300"/>
                  </a:moveTo>
                  <a:lnTo>
                    <a:pt x="257" y="300"/>
                  </a:lnTo>
                  <a:lnTo>
                    <a:pt x="257" y="305"/>
                  </a:lnTo>
                  <a:lnTo>
                    <a:pt x="257" y="311"/>
                  </a:lnTo>
                  <a:lnTo>
                    <a:pt x="257" y="316"/>
                  </a:lnTo>
                  <a:lnTo>
                    <a:pt x="262" y="316"/>
                  </a:lnTo>
                  <a:lnTo>
                    <a:pt x="262" y="321"/>
                  </a:lnTo>
                  <a:lnTo>
                    <a:pt x="268" y="327"/>
                  </a:lnTo>
                  <a:lnTo>
                    <a:pt x="268" y="332"/>
                  </a:lnTo>
                  <a:lnTo>
                    <a:pt x="273" y="332"/>
                  </a:lnTo>
                  <a:lnTo>
                    <a:pt x="278" y="337"/>
                  </a:lnTo>
                  <a:lnTo>
                    <a:pt x="278" y="343"/>
                  </a:lnTo>
                  <a:lnTo>
                    <a:pt x="284" y="343"/>
                  </a:lnTo>
                  <a:lnTo>
                    <a:pt x="284" y="348"/>
                  </a:lnTo>
                  <a:lnTo>
                    <a:pt x="289" y="353"/>
                  </a:lnTo>
                  <a:lnTo>
                    <a:pt x="289" y="348"/>
                  </a:lnTo>
                  <a:lnTo>
                    <a:pt x="289" y="343"/>
                  </a:lnTo>
                  <a:lnTo>
                    <a:pt x="295" y="343"/>
                  </a:lnTo>
                  <a:lnTo>
                    <a:pt x="300" y="343"/>
                  </a:lnTo>
                  <a:lnTo>
                    <a:pt x="300" y="348"/>
                  </a:lnTo>
                  <a:lnTo>
                    <a:pt x="305" y="343"/>
                  </a:lnTo>
                  <a:lnTo>
                    <a:pt x="311" y="337"/>
                  </a:lnTo>
                  <a:lnTo>
                    <a:pt x="321" y="343"/>
                  </a:lnTo>
                  <a:lnTo>
                    <a:pt x="321" y="337"/>
                  </a:lnTo>
                  <a:lnTo>
                    <a:pt x="327" y="337"/>
                  </a:lnTo>
                  <a:lnTo>
                    <a:pt x="332" y="337"/>
                  </a:lnTo>
                  <a:lnTo>
                    <a:pt x="337" y="337"/>
                  </a:lnTo>
                  <a:lnTo>
                    <a:pt x="337" y="332"/>
                  </a:lnTo>
                  <a:lnTo>
                    <a:pt x="343" y="332"/>
                  </a:lnTo>
                  <a:lnTo>
                    <a:pt x="348" y="332"/>
                  </a:lnTo>
                  <a:lnTo>
                    <a:pt x="348" y="337"/>
                  </a:lnTo>
                  <a:lnTo>
                    <a:pt x="354" y="337"/>
                  </a:lnTo>
                  <a:lnTo>
                    <a:pt x="354" y="343"/>
                  </a:lnTo>
                  <a:lnTo>
                    <a:pt x="354" y="348"/>
                  </a:lnTo>
                  <a:lnTo>
                    <a:pt x="359" y="348"/>
                  </a:lnTo>
                  <a:lnTo>
                    <a:pt x="359" y="353"/>
                  </a:lnTo>
                  <a:lnTo>
                    <a:pt x="359" y="359"/>
                  </a:lnTo>
                  <a:lnTo>
                    <a:pt x="359" y="364"/>
                  </a:lnTo>
                  <a:lnTo>
                    <a:pt x="364" y="370"/>
                  </a:lnTo>
                  <a:lnTo>
                    <a:pt x="364" y="375"/>
                  </a:lnTo>
                  <a:lnTo>
                    <a:pt x="359" y="375"/>
                  </a:lnTo>
                  <a:lnTo>
                    <a:pt x="364" y="375"/>
                  </a:lnTo>
                  <a:lnTo>
                    <a:pt x="364" y="380"/>
                  </a:lnTo>
                  <a:lnTo>
                    <a:pt x="364" y="386"/>
                  </a:lnTo>
                  <a:lnTo>
                    <a:pt x="364" y="391"/>
                  </a:lnTo>
                  <a:lnTo>
                    <a:pt x="364" y="396"/>
                  </a:lnTo>
                  <a:lnTo>
                    <a:pt x="364" y="402"/>
                  </a:lnTo>
                  <a:lnTo>
                    <a:pt x="364" y="407"/>
                  </a:lnTo>
                  <a:lnTo>
                    <a:pt x="364" y="412"/>
                  </a:lnTo>
                  <a:lnTo>
                    <a:pt x="359" y="412"/>
                  </a:lnTo>
                  <a:lnTo>
                    <a:pt x="359" y="418"/>
                  </a:lnTo>
                  <a:lnTo>
                    <a:pt x="354" y="418"/>
                  </a:lnTo>
                  <a:lnTo>
                    <a:pt x="354" y="423"/>
                  </a:lnTo>
                  <a:lnTo>
                    <a:pt x="348" y="423"/>
                  </a:lnTo>
                  <a:lnTo>
                    <a:pt x="348" y="428"/>
                  </a:lnTo>
                  <a:lnTo>
                    <a:pt x="354" y="428"/>
                  </a:lnTo>
                  <a:lnTo>
                    <a:pt x="354" y="434"/>
                  </a:lnTo>
                  <a:lnTo>
                    <a:pt x="348" y="439"/>
                  </a:lnTo>
                  <a:lnTo>
                    <a:pt x="348" y="445"/>
                  </a:lnTo>
                  <a:lnTo>
                    <a:pt x="343" y="445"/>
                  </a:lnTo>
                  <a:lnTo>
                    <a:pt x="337" y="450"/>
                  </a:lnTo>
                  <a:lnTo>
                    <a:pt x="337" y="455"/>
                  </a:lnTo>
                  <a:lnTo>
                    <a:pt x="337" y="461"/>
                  </a:lnTo>
                  <a:lnTo>
                    <a:pt x="337" y="466"/>
                  </a:lnTo>
                  <a:lnTo>
                    <a:pt x="337" y="461"/>
                  </a:lnTo>
                  <a:lnTo>
                    <a:pt x="343" y="466"/>
                  </a:lnTo>
                  <a:lnTo>
                    <a:pt x="348" y="471"/>
                  </a:lnTo>
                  <a:lnTo>
                    <a:pt x="354" y="477"/>
                  </a:lnTo>
                  <a:lnTo>
                    <a:pt x="348" y="477"/>
                  </a:lnTo>
                  <a:lnTo>
                    <a:pt x="348" y="482"/>
                  </a:lnTo>
                  <a:lnTo>
                    <a:pt x="348" y="487"/>
                  </a:lnTo>
                  <a:lnTo>
                    <a:pt x="348" y="493"/>
                  </a:lnTo>
                  <a:lnTo>
                    <a:pt x="354" y="493"/>
                  </a:lnTo>
                  <a:lnTo>
                    <a:pt x="359" y="493"/>
                  </a:lnTo>
                  <a:lnTo>
                    <a:pt x="364" y="498"/>
                  </a:lnTo>
                  <a:lnTo>
                    <a:pt x="364" y="504"/>
                  </a:lnTo>
                  <a:lnTo>
                    <a:pt x="370" y="509"/>
                  </a:lnTo>
                  <a:lnTo>
                    <a:pt x="370" y="514"/>
                  </a:lnTo>
                  <a:lnTo>
                    <a:pt x="375" y="514"/>
                  </a:lnTo>
                  <a:lnTo>
                    <a:pt x="380" y="514"/>
                  </a:lnTo>
                  <a:lnTo>
                    <a:pt x="380" y="520"/>
                  </a:lnTo>
                  <a:lnTo>
                    <a:pt x="386" y="520"/>
                  </a:lnTo>
                  <a:lnTo>
                    <a:pt x="386" y="525"/>
                  </a:lnTo>
                  <a:lnTo>
                    <a:pt x="386" y="530"/>
                  </a:lnTo>
                  <a:lnTo>
                    <a:pt x="391" y="530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396" y="530"/>
                  </a:lnTo>
                  <a:lnTo>
                    <a:pt x="396" y="536"/>
                  </a:lnTo>
                  <a:lnTo>
                    <a:pt x="402" y="536"/>
                  </a:lnTo>
                  <a:lnTo>
                    <a:pt x="402" y="541"/>
                  </a:lnTo>
                  <a:lnTo>
                    <a:pt x="407" y="541"/>
                  </a:lnTo>
                  <a:lnTo>
                    <a:pt x="413" y="541"/>
                  </a:lnTo>
                  <a:lnTo>
                    <a:pt x="413" y="546"/>
                  </a:lnTo>
                  <a:lnTo>
                    <a:pt x="413" y="552"/>
                  </a:lnTo>
                  <a:lnTo>
                    <a:pt x="407" y="552"/>
                  </a:lnTo>
                  <a:lnTo>
                    <a:pt x="402" y="552"/>
                  </a:lnTo>
                  <a:lnTo>
                    <a:pt x="402" y="557"/>
                  </a:lnTo>
                  <a:lnTo>
                    <a:pt x="407" y="562"/>
                  </a:lnTo>
                  <a:lnTo>
                    <a:pt x="423" y="562"/>
                  </a:lnTo>
                  <a:lnTo>
                    <a:pt x="423" y="557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52"/>
                  </a:lnTo>
                  <a:lnTo>
                    <a:pt x="418" y="552"/>
                  </a:lnTo>
                  <a:lnTo>
                    <a:pt x="423" y="546"/>
                  </a:lnTo>
                  <a:lnTo>
                    <a:pt x="423" y="541"/>
                  </a:lnTo>
                  <a:lnTo>
                    <a:pt x="423" y="536"/>
                  </a:lnTo>
                  <a:lnTo>
                    <a:pt x="423" y="530"/>
                  </a:lnTo>
                  <a:lnTo>
                    <a:pt x="418" y="530"/>
                  </a:lnTo>
                  <a:lnTo>
                    <a:pt x="418" y="525"/>
                  </a:lnTo>
                  <a:lnTo>
                    <a:pt x="413" y="525"/>
                  </a:lnTo>
                  <a:lnTo>
                    <a:pt x="413" y="520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3" y="514"/>
                  </a:lnTo>
                  <a:lnTo>
                    <a:pt x="418" y="514"/>
                  </a:lnTo>
                  <a:lnTo>
                    <a:pt x="418" y="509"/>
                  </a:lnTo>
                  <a:lnTo>
                    <a:pt x="418" y="504"/>
                  </a:lnTo>
                  <a:lnTo>
                    <a:pt x="423" y="504"/>
                  </a:lnTo>
                  <a:lnTo>
                    <a:pt x="423" y="498"/>
                  </a:lnTo>
                  <a:lnTo>
                    <a:pt x="423" y="493"/>
                  </a:lnTo>
                  <a:lnTo>
                    <a:pt x="423" y="487"/>
                  </a:lnTo>
                  <a:lnTo>
                    <a:pt x="429" y="487"/>
                  </a:lnTo>
                  <a:lnTo>
                    <a:pt x="429" y="482"/>
                  </a:lnTo>
                  <a:lnTo>
                    <a:pt x="434" y="482"/>
                  </a:lnTo>
                  <a:lnTo>
                    <a:pt x="434" y="477"/>
                  </a:lnTo>
                  <a:lnTo>
                    <a:pt x="439" y="482"/>
                  </a:lnTo>
                  <a:lnTo>
                    <a:pt x="445" y="482"/>
                  </a:lnTo>
                  <a:lnTo>
                    <a:pt x="450" y="482"/>
                  </a:lnTo>
                  <a:lnTo>
                    <a:pt x="450" y="477"/>
                  </a:lnTo>
                  <a:lnTo>
                    <a:pt x="455" y="477"/>
                  </a:lnTo>
                  <a:lnTo>
                    <a:pt x="461" y="477"/>
                  </a:lnTo>
                  <a:lnTo>
                    <a:pt x="461" y="471"/>
                  </a:lnTo>
                  <a:lnTo>
                    <a:pt x="466" y="471"/>
                  </a:lnTo>
                  <a:lnTo>
                    <a:pt x="466" y="466"/>
                  </a:lnTo>
                  <a:lnTo>
                    <a:pt x="466" y="461"/>
                  </a:lnTo>
                  <a:lnTo>
                    <a:pt x="471" y="418"/>
                  </a:lnTo>
                  <a:lnTo>
                    <a:pt x="466" y="396"/>
                  </a:lnTo>
                  <a:lnTo>
                    <a:pt x="471" y="375"/>
                  </a:lnTo>
                  <a:lnTo>
                    <a:pt x="471" y="359"/>
                  </a:lnTo>
                  <a:lnTo>
                    <a:pt x="439" y="321"/>
                  </a:lnTo>
                  <a:lnTo>
                    <a:pt x="439" y="316"/>
                  </a:lnTo>
                  <a:lnTo>
                    <a:pt x="418" y="289"/>
                  </a:lnTo>
                  <a:lnTo>
                    <a:pt x="407" y="273"/>
                  </a:lnTo>
                  <a:lnTo>
                    <a:pt x="391" y="262"/>
                  </a:lnTo>
                  <a:lnTo>
                    <a:pt x="386" y="257"/>
                  </a:lnTo>
                  <a:lnTo>
                    <a:pt x="364" y="257"/>
                  </a:lnTo>
                  <a:lnTo>
                    <a:pt x="364" y="252"/>
                  </a:lnTo>
                  <a:lnTo>
                    <a:pt x="359" y="246"/>
                  </a:lnTo>
                  <a:lnTo>
                    <a:pt x="359" y="241"/>
                  </a:lnTo>
                  <a:lnTo>
                    <a:pt x="359" y="235"/>
                  </a:lnTo>
                  <a:lnTo>
                    <a:pt x="359" y="225"/>
                  </a:lnTo>
                  <a:lnTo>
                    <a:pt x="359" y="219"/>
                  </a:lnTo>
                  <a:lnTo>
                    <a:pt x="359" y="209"/>
                  </a:lnTo>
                  <a:lnTo>
                    <a:pt x="359" y="203"/>
                  </a:lnTo>
                  <a:lnTo>
                    <a:pt x="359" y="198"/>
                  </a:lnTo>
                  <a:lnTo>
                    <a:pt x="359" y="193"/>
                  </a:lnTo>
                  <a:lnTo>
                    <a:pt x="354" y="187"/>
                  </a:lnTo>
                  <a:lnTo>
                    <a:pt x="348" y="160"/>
                  </a:lnTo>
                  <a:lnTo>
                    <a:pt x="348" y="155"/>
                  </a:lnTo>
                  <a:lnTo>
                    <a:pt x="348" y="144"/>
                  </a:lnTo>
                  <a:lnTo>
                    <a:pt x="354" y="134"/>
                  </a:lnTo>
                  <a:lnTo>
                    <a:pt x="359" y="128"/>
                  </a:lnTo>
                  <a:lnTo>
                    <a:pt x="364" y="112"/>
                  </a:lnTo>
                  <a:lnTo>
                    <a:pt x="370" y="101"/>
                  </a:lnTo>
                  <a:lnTo>
                    <a:pt x="370" y="96"/>
                  </a:lnTo>
                  <a:lnTo>
                    <a:pt x="396" y="91"/>
                  </a:lnTo>
                  <a:lnTo>
                    <a:pt x="429" y="91"/>
                  </a:lnTo>
                  <a:lnTo>
                    <a:pt x="429" y="96"/>
                  </a:lnTo>
                  <a:lnTo>
                    <a:pt x="434" y="91"/>
                  </a:lnTo>
                  <a:lnTo>
                    <a:pt x="434" y="96"/>
                  </a:lnTo>
                  <a:lnTo>
                    <a:pt x="439" y="96"/>
                  </a:lnTo>
                  <a:lnTo>
                    <a:pt x="439" y="91"/>
                  </a:lnTo>
                  <a:lnTo>
                    <a:pt x="439" y="96"/>
                  </a:lnTo>
                  <a:lnTo>
                    <a:pt x="445" y="96"/>
                  </a:lnTo>
                  <a:lnTo>
                    <a:pt x="450" y="96"/>
                  </a:lnTo>
                  <a:lnTo>
                    <a:pt x="455" y="91"/>
                  </a:lnTo>
                  <a:lnTo>
                    <a:pt x="455" y="85"/>
                  </a:lnTo>
                  <a:lnTo>
                    <a:pt x="461" y="85"/>
                  </a:lnTo>
                  <a:lnTo>
                    <a:pt x="466" y="80"/>
                  </a:lnTo>
                  <a:lnTo>
                    <a:pt x="471" y="80"/>
                  </a:lnTo>
                  <a:lnTo>
                    <a:pt x="477" y="80"/>
                  </a:lnTo>
                  <a:lnTo>
                    <a:pt x="477" y="85"/>
                  </a:lnTo>
                  <a:lnTo>
                    <a:pt x="482" y="85"/>
                  </a:lnTo>
                  <a:lnTo>
                    <a:pt x="488" y="91"/>
                  </a:lnTo>
                  <a:lnTo>
                    <a:pt x="493" y="91"/>
                  </a:lnTo>
                  <a:lnTo>
                    <a:pt x="493" y="96"/>
                  </a:lnTo>
                  <a:lnTo>
                    <a:pt x="498" y="96"/>
                  </a:lnTo>
                  <a:lnTo>
                    <a:pt x="493" y="96"/>
                  </a:lnTo>
                  <a:lnTo>
                    <a:pt x="498" y="101"/>
                  </a:lnTo>
                  <a:lnTo>
                    <a:pt x="493" y="101"/>
                  </a:lnTo>
                  <a:lnTo>
                    <a:pt x="498" y="101"/>
                  </a:lnTo>
                  <a:lnTo>
                    <a:pt x="498" y="107"/>
                  </a:lnTo>
                  <a:lnTo>
                    <a:pt x="504" y="107"/>
                  </a:lnTo>
                  <a:lnTo>
                    <a:pt x="509" y="101"/>
                  </a:lnTo>
                  <a:lnTo>
                    <a:pt x="509" y="107"/>
                  </a:lnTo>
                  <a:lnTo>
                    <a:pt x="514" y="101"/>
                  </a:lnTo>
                  <a:lnTo>
                    <a:pt x="520" y="101"/>
                  </a:lnTo>
                  <a:lnTo>
                    <a:pt x="525" y="107"/>
                  </a:lnTo>
                  <a:lnTo>
                    <a:pt x="530" y="107"/>
                  </a:lnTo>
                  <a:lnTo>
                    <a:pt x="536" y="107"/>
                  </a:lnTo>
                  <a:lnTo>
                    <a:pt x="541" y="101"/>
                  </a:lnTo>
                  <a:lnTo>
                    <a:pt x="547" y="101"/>
                  </a:lnTo>
                  <a:lnTo>
                    <a:pt x="547" y="96"/>
                  </a:lnTo>
                  <a:lnTo>
                    <a:pt x="552" y="96"/>
                  </a:lnTo>
                  <a:lnTo>
                    <a:pt x="557" y="96"/>
                  </a:lnTo>
                  <a:lnTo>
                    <a:pt x="563" y="96"/>
                  </a:lnTo>
                  <a:lnTo>
                    <a:pt x="568" y="91"/>
                  </a:lnTo>
                  <a:lnTo>
                    <a:pt x="568" y="96"/>
                  </a:lnTo>
                  <a:lnTo>
                    <a:pt x="573" y="96"/>
                  </a:lnTo>
                  <a:lnTo>
                    <a:pt x="573" y="101"/>
                  </a:lnTo>
                  <a:lnTo>
                    <a:pt x="584" y="101"/>
                  </a:lnTo>
                  <a:lnTo>
                    <a:pt x="584" y="107"/>
                  </a:lnTo>
                  <a:lnTo>
                    <a:pt x="589" y="107"/>
                  </a:lnTo>
                  <a:lnTo>
                    <a:pt x="589" y="101"/>
                  </a:lnTo>
                  <a:lnTo>
                    <a:pt x="595" y="101"/>
                  </a:lnTo>
                  <a:lnTo>
                    <a:pt x="595" y="107"/>
                  </a:lnTo>
                  <a:lnTo>
                    <a:pt x="600" y="107"/>
                  </a:lnTo>
                  <a:lnTo>
                    <a:pt x="606" y="107"/>
                  </a:lnTo>
                  <a:lnTo>
                    <a:pt x="606" y="101"/>
                  </a:lnTo>
                  <a:lnTo>
                    <a:pt x="611" y="101"/>
                  </a:lnTo>
                  <a:lnTo>
                    <a:pt x="616" y="101"/>
                  </a:lnTo>
                  <a:lnTo>
                    <a:pt x="622" y="96"/>
                  </a:lnTo>
                  <a:lnTo>
                    <a:pt x="632" y="91"/>
                  </a:lnTo>
                  <a:lnTo>
                    <a:pt x="632" y="85"/>
                  </a:lnTo>
                  <a:lnTo>
                    <a:pt x="632" y="80"/>
                  </a:lnTo>
                  <a:lnTo>
                    <a:pt x="638" y="80"/>
                  </a:lnTo>
                  <a:lnTo>
                    <a:pt x="638" y="75"/>
                  </a:lnTo>
                  <a:lnTo>
                    <a:pt x="638" y="69"/>
                  </a:lnTo>
                  <a:lnTo>
                    <a:pt x="643" y="69"/>
                  </a:lnTo>
                  <a:lnTo>
                    <a:pt x="648" y="69"/>
                  </a:lnTo>
                  <a:lnTo>
                    <a:pt x="654" y="69"/>
                  </a:lnTo>
                  <a:lnTo>
                    <a:pt x="659" y="64"/>
                  </a:lnTo>
                  <a:lnTo>
                    <a:pt x="659" y="69"/>
                  </a:lnTo>
                  <a:lnTo>
                    <a:pt x="664" y="69"/>
                  </a:lnTo>
                  <a:lnTo>
                    <a:pt x="670" y="69"/>
                  </a:lnTo>
                  <a:lnTo>
                    <a:pt x="670" y="75"/>
                  </a:lnTo>
                  <a:lnTo>
                    <a:pt x="675" y="75"/>
                  </a:lnTo>
                  <a:lnTo>
                    <a:pt x="681" y="75"/>
                  </a:lnTo>
                  <a:lnTo>
                    <a:pt x="681" y="80"/>
                  </a:lnTo>
                  <a:lnTo>
                    <a:pt x="686" y="80"/>
                  </a:lnTo>
                  <a:lnTo>
                    <a:pt x="691" y="80"/>
                  </a:lnTo>
                  <a:lnTo>
                    <a:pt x="691" y="75"/>
                  </a:lnTo>
                  <a:lnTo>
                    <a:pt x="697" y="75"/>
                  </a:lnTo>
                  <a:lnTo>
                    <a:pt x="697" y="69"/>
                  </a:lnTo>
                  <a:lnTo>
                    <a:pt x="702" y="69"/>
                  </a:lnTo>
                  <a:lnTo>
                    <a:pt x="707" y="69"/>
                  </a:lnTo>
                  <a:lnTo>
                    <a:pt x="713" y="64"/>
                  </a:lnTo>
                  <a:lnTo>
                    <a:pt x="718" y="64"/>
                  </a:lnTo>
                  <a:lnTo>
                    <a:pt x="718" y="59"/>
                  </a:lnTo>
                  <a:lnTo>
                    <a:pt x="723" y="59"/>
                  </a:lnTo>
                  <a:lnTo>
                    <a:pt x="729" y="59"/>
                  </a:lnTo>
                  <a:lnTo>
                    <a:pt x="734" y="59"/>
                  </a:lnTo>
                  <a:lnTo>
                    <a:pt x="740" y="59"/>
                  </a:lnTo>
                  <a:lnTo>
                    <a:pt x="745" y="59"/>
                  </a:lnTo>
                  <a:lnTo>
                    <a:pt x="750" y="59"/>
                  </a:lnTo>
                  <a:lnTo>
                    <a:pt x="756" y="59"/>
                  </a:lnTo>
                  <a:lnTo>
                    <a:pt x="761" y="53"/>
                  </a:lnTo>
                  <a:lnTo>
                    <a:pt x="766" y="48"/>
                  </a:lnTo>
                  <a:lnTo>
                    <a:pt x="772" y="48"/>
                  </a:lnTo>
                  <a:lnTo>
                    <a:pt x="772" y="43"/>
                  </a:lnTo>
                  <a:lnTo>
                    <a:pt x="777" y="43"/>
                  </a:lnTo>
                  <a:lnTo>
                    <a:pt x="782" y="43"/>
                  </a:lnTo>
                  <a:lnTo>
                    <a:pt x="788" y="43"/>
                  </a:lnTo>
                  <a:lnTo>
                    <a:pt x="788" y="37"/>
                  </a:lnTo>
                  <a:lnTo>
                    <a:pt x="793" y="37"/>
                  </a:lnTo>
                  <a:lnTo>
                    <a:pt x="799" y="37"/>
                  </a:lnTo>
                  <a:lnTo>
                    <a:pt x="799" y="32"/>
                  </a:lnTo>
                  <a:lnTo>
                    <a:pt x="804" y="32"/>
                  </a:lnTo>
                  <a:lnTo>
                    <a:pt x="809" y="32"/>
                  </a:lnTo>
                  <a:lnTo>
                    <a:pt x="815" y="26"/>
                  </a:lnTo>
                  <a:lnTo>
                    <a:pt x="820" y="21"/>
                  </a:lnTo>
                  <a:lnTo>
                    <a:pt x="825" y="16"/>
                  </a:lnTo>
                  <a:lnTo>
                    <a:pt x="831" y="16"/>
                  </a:lnTo>
                  <a:lnTo>
                    <a:pt x="831" y="10"/>
                  </a:lnTo>
                  <a:lnTo>
                    <a:pt x="836" y="10"/>
                  </a:lnTo>
                  <a:lnTo>
                    <a:pt x="841" y="10"/>
                  </a:lnTo>
                  <a:lnTo>
                    <a:pt x="841" y="5"/>
                  </a:lnTo>
                  <a:lnTo>
                    <a:pt x="847" y="5"/>
                  </a:lnTo>
                  <a:lnTo>
                    <a:pt x="847" y="0"/>
                  </a:lnTo>
                  <a:lnTo>
                    <a:pt x="852" y="0"/>
                  </a:lnTo>
                  <a:lnTo>
                    <a:pt x="857" y="0"/>
                  </a:lnTo>
                  <a:lnTo>
                    <a:pt x="857" y="5"/>
                  </a:lnTo>
                  <a:lnTo>
                    <a:pt x="857" y="10"/>
                  </a:lnTo>
                  <a:lnTo>
                    <a:pt x="863" y="10"/>
                  </a:lnTo>
                  <a:lnTo>
                    <a:pt x="857" y="10"/>
                  </a:lnTo>
                  <a:lnTo>
                    <a:pt x="863" y="16"/>
                  </a:lnTo>
                  <a:lnTo>
                    <a:pt x="868" y="16"/>
                  </a:lnTo>
                  <a:lnTo>
                    <a:pt x="868" y="21"/>
                  </a:lnTo>
                  <a:lnTo>
                    <a:pt x="863" y="21"/>
                  </a:lnTo>
                  <a:lnTo>
                    <a:pt x="863" y="16"/>
                  </a:lnTo>
                  <a:lnTo>
                    <a:pt x="857" y="21"/>
                  </a:lnTo>
                  <a:lnTo>
                    <a:pt x="852" y="21"/>
                  </a:lnTo>
                  <a:lnTo>
                    <a:pt x="852" y="26"/>
                  </a:lnTo>
                  <a:lnTo>
                    <a:pt x="857" y="26"/>
                  </a:lnTo>
                  <a:lnTo>
                    <a:pt x="863" y="32"/>
                  </a:lnTo>
                  <a:lnTo>
                    <a:pt x="857" y="37"/>
                  </a:lnTo>
                  <a:lnTo>
                    <a:pt x="852" y="37"/>
                  </a:lnTo>
                  <a:lnTo>
                    <a:pt x="852" y="43"/>
                  </a:lnTo>
                  <a:lnTo>
                    <a:pt x="857" y="43"/>
                  </a:lnTo>
                  <a:lnTo>
                    <a:pt x="863" y="48"/>
                  </a:lnTo>
                  <a:lnTo>
                    <a:pt x="857" y="48"/>
                  </a:lnTo>
                  <a:lnTo>
                    <a:pt x="857" y="53"/>
                  </a:lnTo>
                  <a:lnTo>
                    <a:pt x="852" y="59"/>
                  </a:lnTo>
                  <a:lnTo>
                    <a:pt x="857" y="64"/>
                  </a:lnTo>
                  <a:lnTo>
                    <a:pt x="847" y="64"/>
                  </a:lnTo>
                  <a:lnTo>
                    <a:pt x="847" y="69"/>
                  </a:lnTo>
                  <a:lnTo>
                    <a:pt x="847" y="75"/>
                  </a:lnTo>
                  <a:lnTo>
                    <a:pt x="841" y="69"/>
                  </a:lnTo>
                  <a:lnTo>
                    <a:pt x="841" y="75"/>
                  </a:lnTo>
                  <a:lnTo>
                    <a:pt x="847" y="75"/>
                  </a:lnTo>
                  <a:lnTo>
                    <a:pt x="847" y="80"/>
                  </a:lnTo>
                  <a:lnTo>
                    <a:pt x="852" y="80"/>
                  </a:lnTo>
                  <a:lnTo>
                    <a:pt x="852" y="85"/>
                  </a:lnTo>
                  <a:lnTo>
                    <a:pt x="852" y="91"/>
                  </a:lnTo>
                  <a:lnTo>
                    <a:pt x="847" y="91"/>
                  </a:lnTo>
                  <a:lnTo>
                    <a:pt x="847" y="96"/>
                  </a:lnTo>
                  <a:lnTo>
                    <a:pt x="852" y="96"/>
                  </a:lnTo>
                  <a:lnTo>
                    <a:pt x="847" y="96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47" y="101"/>
                  </a:lnTo>
                  <a:lnTo>
                    <a:pt x="852" y="101"/>
                  </a:lnTo>
                  <a:lnTo>
                    <a:pt x="852" y="107"/>
                  </a:lnTo>
                  <a:lnTo>
                    <a:pt x="852" y="112"/>
                  </a:lnTo>
                  <a:lnTo>
                    <a:pt x="852" y="118"/>
                  </a:lnTo>
                  <a:lnTo>
                    <a:pt x="857" y="118"/>
                  </a:lnTo>
                  <a:lnTo>
                    <a:pt x="852" y="118"/>
                  </a:lnTo>
                  <a:lnTo>
                    <a:pt x="852" y="123"/>
                  </a:lnTo>
                  <a:lnTo>
                    <a:pt x="852" y="128"/>
                  </a:lnTo>
                  <a:lnTo>
                    <a:pt x="857" y="128"/>
                  </a:lnTo>
                  <a:lnTo>
                    <a:pt x="857" y="134"/>
                  </a:lnTo>
                  <a:lnTo>
                    <a:pt x="852" y="134"/>
                  </a:lnTo>
                  <a:lnTo>
                    <a:pt x="857" y="134"/>
                  </a:lnTo>
                  <a:lnTo>
                    <a:pt x="857" y="139"/>
                  </a:lnTo>
                  <a:lnTo>
                    <a:pt x="852" y="139"/>
                  </a:lnTo>
                  <a:lnTo>
                    <a:pt x="852" y="144"/>
                  </a:lnTo>
                  <a:lnTo>
                    <a:pt x="857" y="144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57" y="150"/>
                  </a:lnTo>
                  <a:lnTo>
                    <a:pt x="852" y="150"/>
                  </a:lnTo>
                  <a:lnTo>
                    <a:pt x="847" y="155"/>
                  </a:lnTo>
                  <a:lnTo>
                    <a:pt x="852" y="155"/>
                  </a:lnTo>
                  <a:lnTo>
                    <a:pt x="852" y="150"/>
                  </a:lnTo>
                  <a:lnTo>
                    <a:pt x="852" y="155"/>
                  </a:lnTo>
                  <a:lnTo>
                    <a:pt x="852" y="160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7" y="160"/>
                  </a:lnTo>
                  <a:lnTo>
                    <a:pt x="857" y="166"/>
                  </a:lnTo>
                  <a:lnTo>
                    <a:pt x="852" y="171"/>
                  </a:lnTo>
                  <a:lnTo>
                    <a:pt x="852" y="166"/>
                  </a:lnTo>
                  <a:lnTo>
                    <a:pt x="852" y="171"/>
                  </a:lnTo>
                  <a:lnTo>
                    <a:pt x="847" y="171"/>
                  </a:lnTo>
                  <a:lnTo>
                    <a:pt x="852" y="177"/>
                  </a:lnTo>
                  <a:lnTo>
                    <a:pt x="847" y="177"/>
                  </a:lnTo>
                  <a:lnTo>
                    <a:pt x="852" y="177"/>
                  </a:lnTo>
                  <a:lnTo>
                    <a:pt x="852" y="171"/>
                  </a:lnTo>
                  <a:lnTo>
                    <a:pt x="852" y="177"/>
                  </a:lnTo>
                  <a:lnTo>
                    <a:pt x="857" y="177"/>
                  </a:lnTo>
                  <a:lnTo>
                    <a:pt x="863" y="177"/>
                  </a:lnTo>
                  <a:lnTo>
                    <a:pt x="857" y="177"/>
                  </a:lnTo>
                  <a:lnTo>
                    <a:pt x="857" y="182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63" y="182"/>
                  </a:lnTo>
                  <a:lnTo>
                    <a:pt x="863" y="187"/>
                  </a:lnTo>
                  <a:lnTo>
                    <a:pt x="857" y="187"/>
                  </a:lnTo>
                  <a:lnTo>
                    <a:pt x="863" y="193"/>
                  </a:lnTo>
                  <a:lnTo>
                    <a:pt x="863" y="187"/>
                  </a:lnTo>
                  <a:lnTo>
                    <a:pt x="863" y="193"/>
                  </a:lnTo>
                  <a:lnTo>
                    <a:pt x="868" y="193"/>
                  </a:lnTo>
                  <a:lnTo>
                    <a:pt x="863" y="198"/>
                  </a:lnTo>
                  <a:lnTo>
                    <a:pt x="857" y="198"/>
                  </a:lnTo>
                  <a:lnTo>
                    <a:pt x="857" y="203"/>
                  </a:lnTo>
                  <a:lnTo>
                    <a:pt x="857" y="209"/>
                  </a:lnTo>
                  <a:lnTo>
                    <a:pt x="857" y="203"/>
                  </a:lnTo>
                  <a:lnTo>
                    <a:pt x="852" y="203"/>
                  </a:lnTo>
                  <a:lnTo>
                    <a:pt x="847" y="209"/>
                  </a:lnTo>
                  <a:lnTo>
                    <a:pt x="847" y="214"/>
                  </a:lnTo>
                  <a:lnTo>
                    <a:pt x="852" y="214"/>
                  </a:lnTo>
                  <a:lnTo>
                    <a:pt x="847" y="219"/>
                  </a:lnTo>
                  <a:lnTo>
                    <a:pt x="852" y="214"/>
                  </a:lnTo>
                  <a:lnTo>
                    <a:pt x="852" y="219"/>
                  </a:lnTo>
                  <a:lnTo>
                    <a:pt x="857" y="219"/>
                  </a:lnTo>
                  <a:lnTo>
                    <a:pt x="857" y="214"/>
                  </a:lnTo>
                  <a:lnTo>
                    <a:pt x="852" y="214"/>
                  </a:lnTo>
                  <a:lnTo>
                    <a:pt x="852" y="209"/>
                  </a:lnTo>
                  <a:lnTo>
                    <a:pt x="857" y="214"/>
                  </a:lnTo>
                  <a:lnTo>
                    <a:pt x="863" y="209"/>
                  </a:lnTo>
                  <a:lnTo>
                    <a:pt x="863" y="214"/>
                  </a:lnTo>
                  <a:lnTo>
                    <a:pt x="857" y="219"/>
                  </a:lnTo>
                  <a:lnTo>
                    <a:pt x="857" y="225"/>
                  </a:lnTo>
                  <a:lnTo>
                    <a:pt x="857" y="230"/>
                  </a:lnTo>
                  <a:lnTo>
                    <a:pt x="857" y="235"/>
                  </a:lnTo>
                  <a:lnTo>
                    <a:pt x="857" y="241"/>
                  </a:lnTo>
                  <a:lnTo>
                    <a:pt x="863" y="241"/>
                  </a:lnTo>
                  <a:lnTo>
                    <a:pt x="863" y="246"/>
                  </a:lnTo>
                  <a:lnTo>
                    <a:pt x="857" y="252"/>
                  </a:lnTo>
                  <a:lnTo>
                    <a:pt x="857" y="257"/>
                  </a:lnTo>
                  <a:lnTo>
                    <a:pt x="852" y="257"/>
                  </a:lnTo>
                  <a:lnTo>
                    <a:pt x="857" y="257"/>
                  </a:lnTo>
                  <a:lnTo>
                    <a:pt x="857" y="262"/>
                  </a:lnTo>
                  <a:lnTo>
                    <a:pt x="863" y="262"/>
                  </a:lnTo>
                  <a:lnTo>
                    <a:pt x="857" y="268"/>
                  </a:lnTo>
                  <a:lnTo>
                    <a:pt x="857" y="273"/>
                  </a:lnTo>
                  <a:lnTo>
                    <a:pt x="863" y="273"/>
                  </a:lnTo>
                  <a:lnTo>
                    <a:pt x="863" y="278"/>
                  </a:lnTo>
                  <a:lnTo>
                    <a:pt x="863" y="284"/>
                  </a:lnTo>
                  <a:lnTo>
                    <a:pt x="863" y="289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3" y="294"/>
                  </a:lnTo>
                  <a:lnTo>
                    <a:pt x="863" y="300"/>
                  </a:lnTo>
                  <a:lnTo>
                    <a:pt x="868" y="300"/>
                  </a:lnTo>
                  <a:lnTo>
                    <a:pt x="868" y="305"/>
                  </a:lnTo>
                  <a:lnTo>
                    <a:pt x="863" y="305"/>
                  </a:lnTo>
                  <a:lnTo>
                    <a:pt x="863" y="311"/>
                  </a:lnTo>
                  <a:lnTo>
                    <a:pt x="857" y="311"/>
                  </a:lnTo>
                  <a:lnTo>
                    <a:pt x="857" y="316"/>
                  </a:lnTo>
                  <a:lnTo>
                    <a:pt x="857" y="321"/>
                  </a:lnTo>
                  <a:lnTo>
                    <a:pt x="863" y="316"/>
                  </a:lnTo>
                  <a:lnTo>
                    <a:pt x="863" y="321"/>
                  </a:lnTo>
                  <a:lnTo>
                    <a:pt x="863" y="316"/>
                  </a:lnTo>
                  <a:lnTo>
                    <a:pt x="868" y="316"/>
                  </a:lnTo>
                  <a:lnTo>
                    <a:pt x="874" y="316"/>
                  </a:lnTo>
                  <a:lnTo>
                    <a:pt x="874" y="321"/>
                  </a:lnTo>
                  <a:lnTo>
                    <a:pt x="874" y="327"/>
                  </a:lnTo>
                  <a:lnTo>
                    <a:pt x="874" y="332"/>
                  </a:lnTo>
                  <a:lnTo>
                    <a:pt x="868" y="332"/>
                  </a:lnTo>
                  <a:lnTo>
                    <a:pt x="868" y="327"/>
                  </a:lnTo>
                  <a:lnTo>
                    <a:pt x="868" y="332"/>
                  </a:lnTo>
                  <a:lnTo>
                    <a:pt x="868" y="337"/>
                  </a:lnTo>
                  <a:lnTo>
                    <a:pt x="868" y="343"/>
                  </a:lnTo>
                  <a:lnTo>
                    <a:pt x="863" y="343"/>
                  </a:lnTo>
                  <a:lnTo>
                    <a:pt x="868" y="343"/>
                  </a:lnTo>
                  <a:lnTo>
                    <a:pt x="868" y="348"/>
                  </a:lnTo>
                  <a:lnTo>
                    <a:pt x="863" y="348"/>
                  </a:lnTo>
                  <a:lnTo>
                    <a:pt x="868" y="348"/>
                  </a:lnTo>
                  <a:lnTo>
                    <a:pt x="868" y="343"/>
                  </a:lnTo>
                  <a:lnTo>
                    <a:pt x="868" y="337"/>
                  </a:lnTo>
                  <a:lnTo>
                    <a:pt x="874" y="337"/>
                  </a:lnTo>
                  <a:lnTo>
                    <a:pt x="879" y="332"/>
                  </a:lnTo>
                  <a:lnTo>
                    <a:pt x="884" y="337"/>
                  </a:lnTo>
                  <a:lnTo>
                    <a:pt x="884" y="343"/>
                  </a:lnTo>
                  <a:lnTo>
                    <a:pt x="884" y="348"/>
                  </a:lnTo>
                  <a:lnTo>
                    <a:pt x="879" y="348"/>
                  </a:lnTo>
                  <a:lnTo>
                    <a:pt x="879" y="353"/>
                  </a:lnTo>
                  <a:lnTo>
                    <a:pt x="884" y="353"/>
                  </a:lnTo>
                  <a:lnTo>
                    <a:pt x="884" y="359"/>
                  </a:lnTo>
                  <a:lnTo>
                    <a:pt x="884" y="364"/>
                  </a:lnTo>
                  <a:lnTo>
                    <a:pt x="879" y="370"/>
                  </a:lnTo>
                  <a:lnTo>
                    <a:pt x="884" y="370"/>
                  </a:lnTo>
                  <a:lnTo>
                    <a:pt x="879" y="370"/>
                  </a:lnTo>
                  <a:lnTo>
                    <a:pt x="879" y="375"/>
                  </a:lnTo>
                  <a:lnTo>
                    <a:pt x="874" y="375"/>
                  </a:lnTo>
                  <a:lnTo>
                    <a:pt x="868" y="375"/>
                  </a:lnTo>
                  <a:lnTo>
                    <a:pt x="868" y="370"/>
                  </a:lnTo>
                  <a:lnTo>
                    <a:pt x="863" y="370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3" y="375"/>
                  </a:lnTo>
                  <a:lnTo>
                    <a:pt x="868" y="375"/>
                  </a:lnTo>
                  <a:lnTo>
                    <a:pt x="868" y="380"/>
                  </a:lnTo>
                  <a:lnTo>
                    <a:pt x="874" y="380"/>
                  </a:lnTo>
                  <a:lnTo>
                    <a:pt x="879" y="386"/>
                  </a:lnTo>
                  <a:lnTo>
                    <a:pt x="874" y="386"/>
                  </a:lnTo>
                  <a:lnTo>
                    <a:pt x="874" y="380"/>
                  </a:lnTo>
                  <a:lnTo>
                    <a:pt x="874" y="386"/>
                  </a:lnTo>
                  <a:lnTo>
                    <a:pt x="868" y="386"/>
                  </a:lnTo>
                  <a:lnTo>
                    <a:pt x="868" y="391"/>
                  </a:lnTo>
                  <a:lnTo>
                    <a:pt x="874" y="391"/>
                  </a:lnTo>
                  <a:lnTo>
                    <a:pt x="868" y="391"/>
                  </a:lnTo>
                  <a:lnTo>
                    <a:pt x="863" y="391"/>
                  </a:lnTo>
                  <a:lnTo>
                    <a:pt x="863" y="396"/>
                  </a:lnTo>
                  <a:lnTo>
                    <a:pt x="857" y="396"/>
                  </a:lnTo>
                  <a:lnTo>
                    <a:pt x="857" y="402"/>
                  </a:lnTo>
                  <a:lnTo>
                    <a:pt x="852" y="402"/>
                  </a:lnTo>
                  <a:lnTo>
                    <a:pt x="857" y="402"/>
                  </a:lnTo>
                  <a:lnTo>
                    <a:pt x="863" y="402"/>
                  </a:lnTo>
                  <a:lnTo>
                    <a:pt x="863" y="396"/>
                  </a:lnTo>
                  <a:lnTo>
                    <a:pt x="868" y="396"/>
                  </a:lnTo>
                  <a:lnTo>
                    <a:pt x="868" y="402"/>
                  </a:lnTo>
                  <a:lnTo>
                    <a:pt x="868" y="407"/>
                  </a:lnTo>
                  <a:lnTo>
                    <a:pt x="868" y="412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63" y="412"/>
                  </a:lnTo>
                  <a:lnTo>
                    <a:pt x="863" y="418"/>
                  </a:lnTo>
                  <a:lnTo>
                    <a:pt x="857" y="418"/>
                  </a:lnTo>
                  <a:lnTo>
                    <a:pt x="863" y="418"/>
                  </a:lnTo>
                  <a:lnTo>
                    <a:pt x="857" y="423"/>
                  </a:lnTo>
                  <a:lnTo>
                    <a:pt x="857" y="428"/>
                  </a:lnTo>
                  <a:lnTo>
                    <a:pt x="852" y="428"/>
                  </a:lnTo>
                  <a:lnTo>
                    <a:pt x="852" y="434"/>
                  </a:lnTo>
                  <a:lnTo>
                    <a:pt x="847" y="434"/>
                  </a:lnTo>
                  <a:lnTo>
                    <a:pt x="841" y="445"/>
                  </a:lnTo>
                  <a:lnTo>
                    <a:pt x="831" y="455"/>
                  </a:lnTo>
                  <a:lnTo>
                    <a:pt x="831" y="461"/>
                  </a:lnTo>
                  <a:lnTo>
                    <a:pt x="825" y="466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20" y="466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1"/>
                  </a:lnTo>
                  <a:lnTo>
                    <a:pt x="820" y="471"/>
                  </a:lnTo>
                  <a:lnTo>
                    <a:pt x="815" y="477"/>
                  </a:lnTo>
                  <a:lnTo>
                    <a:pt x="820" y="477"/>
                  </a:lnTo>
                  <a:lnTo>
                    <a:pt x="820" y="471"/>
                  </a:lnTo>
                  <a:lnTo>
                    <a:pt x="825" y="466"/>
                  </a:lnTo>
                  <a:lnTo>
                    <a:pt x="825" y="471"/>
                  </a:lnTo>
                  <a:lnTo>
                    <a:pt x="820" y="471"/>
                  </a:lnTo>
                  <a:lnTo>
                    <a:pt x="820" y="477"/>
                  </a:lnTo>
                  <a:lnTo>
                    <a:pt x="815" y="482"/>
                  </a:lnTo>
                  <a:lnTo>
                    <a:pt x="809" y="487"/>
                  </a:lnTo>
                  <a:lnTo>
                    <a:pt x="809" y="493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804" y="487"/>
                  </a:lnTo>
                  <a:lnTo>
                    <a:pt x="804" y="482"/>
                  </a:lnTo>
                  <a:lnTo>
                    <a:pt x="804" y="487"/>
                  </a:lnTo>
                  <a:lnTo>
                    <a:pt x="799" y="487"/>
                  </a:lnTo>
                  <a:lnTo>
                    <a:pt x="804" y="487"/>
                  </a:lnTo>
                  <a:lnTo>
                    <a:pt x="804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799" y="487"/>
                  </a:lnTo>
                  <a:lnTo>
                    <a:pt x="799" y="493"/>
                  </a:lnTo>
                  <a:lnTo>
                    <a:pt x="804" y="493"/>
                  </a:lnTo>
                  <a:lnTo>
                    <a:pt x="799" y="493"/>
                  </a:lnTo>
                  <a:lnTo>
                    <a:pt x="793" y="493"/>
                  </a:lnTo>
                  <a:lnTo>
                    <a:pt x="799" y="493"/>
                  </a:lnTo>
                  <a:lnTo>
                    <a:pt x="793" y="498"/>
                  </a:lnTo>
                  <a:lnTo>
                    <a:pt x="799" y="504"/>
                  </a:lnTo>
                  <a:lnTo>
                    <a:pt x="793" y="504"/>
                  </a:lnTo>
                  <a:lnTo>
                    <a:pt x="793" y="509"/>
                  </a:lnTo>
                  <a:lnTo>
                    <a:pt x="793" y="504"/>
                  </a:lnTo>
                  <a:lnTo>
                    <a:pt x="799" y="504"/>
                  </a:lnTo>
                  <a:lnTo>
                    <a:pt x="799" y="509"/>
                  </a:lnTo>
                  <a:lnTo>
                    <a:pt x="804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9" y="509"/>
                  </a:lnTo>
                  <a:lnTo>
                    <a:pt x="793" y="509"/>
                  </a:lnTo>
                  <a:lnTo>
                    <a:pt x="793" y="514"/>
                  </a:lnTo>
                  <a:lnTo>
                    <a:pt x="788" y="514"/>
                  </a:lnTo>
                  <a:lnTo>
                    <a:pt x="782" y="520"/>
                  </a:lnTo>
                  <a:lnTo>
                    <a:pt x="777" y="525"/>
                  </a:lnTo>
                  <a:lnTo>
                    <a:pt x="772" y="525"/>
                  </a:lnTo>
                  <a:lnTo>
                    <a:pt x="756" y="536"/>
                  </a:lnTo>
                  <a:lnTo>
                    <a:pt x="750" y="536"/>
                  </a:lnTo>
                  <a:lnTo>
                    <a:pt x="750" y="541"/>
                  </a:lnTo>
                  <a:lnTo>
                    <a:pt x="740" y="546"/>
                  </a:lnTo>
                  <a:lnTo>
                    <a:pt x="734" y="546"/>
                  </a:lnTo>
                  <a:lnTo>
                    <a:pt x="734" y="552"/>
                  </a:lnTo>
                  <a:lnTo>
                    <a:pt x="740" y="552"/>
                  </a:lnTo>
                  <a:lnTo>
                    <a:pt x="740" y="546"/>
                  </a:lnTo>
                  <a:lnTo>
                    <a:pt x="740" y="552"/>
                  </a:lnTo>
                  <a:lnTo>
                    <a:pt x="734" y="557"/>
                  </a:lnTo>
                  <a:lnTo>
                    <a:pt x="729" y="557"/>
                  </a:lnTo>
                  <a:lnTo>
                    <a:pt x="723" y="557"/>
                  </a:lnTo>
                  <a:lnTo>
                    <a:pt x="718" y="557"/>
                  </a:lnTo>
                  <a:lnTo>
                    <a:pt x="713" y="557"/>
                  </a:lnTo>
                  <a:lnTo>
                    <a:pt x="707" y="562"/>
                  </a:lnTo>
                  <a:lnTo>
                    <a:pt x="702" y="562"/>
                  </a:lnTo>
                  <a:lnTo>
                    <a:pt x="702" y="557"/>
                  </a:lnTo>
                  <a:lnTo>
                    <a:pt x="702" y="562"/>
                  </a:lnTo>
                  <a:lnTo>
                    <a:pt x="697" y="562"/>
                  </a:lnTo>
                  <a:lnTo>
                    <a:pt x="691" y="562"/>
                  </a:lnTo>
                  <a:lnTo>
                    <a:pt x="686" y="562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81" y="562"/>
                  </a:lnTo>
                  <a:lnTo>
                    <a:pt x="681" y="568"/>
                  </a:lnTo>
                  <a:lnTo>
                    <a:pt x="686" y="568"/>
                  </a:lnTo>
                  <a:lnTo>
                    <a:pt x="681" y="568"/>
                  </a:lnTo>
                  <a:lnTo>
                    <a:pt x="670" y="573"/>
                  </a:lnTo>
                  <a:lnTo>
                    <a:pt x="664" y="573"/>
                  </a:lnTo>
                  <a:lnTo>
                    <a:pt x="664" y="579"/>
                  </a:lnTo>
                  <a:lnTo>
                    <a:pt x="659" y="579"/>
                  </a:lnTo>
                  <a:lnTo>
                    <a:pt x="659" y="573"/>
                  </a:lnTo>
                  <a:lnTo>
                    <a:pt x="654" y="573"/>
                  </a:lnTo>
                  <a:lnTo>
                    <a:pt x="654" y="568"/>
                  </a:lnTo>
                  <a:lnTo>
                    <a:pt x="654" y="573"/>
                  </a:lnTo>
                  <a:lnTo>
                    <a:pt x="659" y="573"/>
                  </a:lnTo>
                  <a:lnTo>
                    <a:pt x="659" y="579"/>
                  </a:lnTo>
                  <a:lnTo>
                    <a:pt x="654" y="579"/>
                  </a:lnTo>
                  <a:lnTo>
                    <a:pt x="654" y="584"/>
                  </a:lnTo>
                  <a:lnTo>
                    <a:pt x="648" y="579"/>
                  </a:lnTo>
                  <a:lnTo>
                    <a:pt x="654" y="584"/>
                  </a:lnTo>
                  <a:lnTo>
                    <a:pt x="648" y="584"/>
                  </a:lnTo>
                  <a:lnTo>
                    <a:pt x="643" y="584"/>
                  </a:lnTo>
                  <a:lnTo>
                    <a:pt x="638" y="584"/>
                  </a:lnTo>
                  <a:lnTo>
                    <a:pt x="632" y="589"/>
                  </a:lnTo>
                  <a:lnTo>
                    <a:pt x="622" y="595"/>
                  </a:lnTo>
                  <a:lnTo>
                    <a:pt x="627" y="595"/>
                  </a:lnTo>
                  <a:lnTo>
                    <a:pt x="627" y="589"/>
                  </a:lnTo>
                  <a:lnTo>
                    <a:pt x="627" y="595"/>
                  </a:lnTo>
                  <a:lnTo>
                    <a:pt x="622" y="595"/>
                  </a:lnTo>
                  <a:lnTo>
                    <a:pt x="616" y="600"/>
                  </a:lnTo>
                  <a:lnTo>
                    <a:pt x="611" y="600"/>
                  </a:lnTo>
                  <a:lnTo>
                    <a:pt x="606" y="600"/>
                  </a:lnTo>
                  <a:lnTo>
                    <a:pt x="611" y="600"/>
                  </a:lnTo>
                  <a:lnTo>
                    <a:pt x="606" y="605"/>
                  </a:lnTo>
                  <a:lnTo>
                    <a:pt x="600" y="605"/>
                  </a:lnTo>
                  <a:lnTo>
                    <a:pt x="595" y="611"/>
                  </a:lnTo>
                  <a:lnTo>
                    <a:pt x="589" y="611"/>
                  </a:lnTo>
                  <a:lnTo>
                    <a:pt x="589" y="616"/>
                  </a:lnTo>
                  <a:lnTo>
                    <a:pt x="584" y="616"/>
                  </a:lnTo>
                  <a:lnTo>
                    <a:pt x="584" y="621"/>
                  </a:lnTo>
                  <a:lnTo>
                    <a:pt x="579" y="621"/>
                  </a:lnTo>
                  <a:lnTo>
                    <a:pt x="573" y="627"/>
                  </a:lnTo>
                  <a:lnTo>
                    <a:pt x="568" y="638"/>
                  </a:lnTo>
                  <a:lnTo>
                    <a:pt x="563" y="643"/>
                  </a:lnTo>
                  <a:lnTo>
                    <a:pt x="563" y="638"/>
                  </a:lnTo>
                  <a:lnTo>
                    <a:pt x="557" y="638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3"/>
                  </a:lnTo>
                  <a:lnTo>
                    <a:pt x="563" y="643"/>
                  </a:lnTo>
                  <a:lnTo>
                    <a:pt x="557" y="648"/>
                  </a:lnTo>
                  <a:lnTo>
                    <a:pt x="557" y="654"/>
                  </a:lnTo>
                  <a:lnTo>
                    <a:pt x="552" y="654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47" y="654"/>
                  </a:lnTo>
                  <a:lnTo>
                    <a:pt x="547" y="659"/>
                  </a:lnTo>
                  <a:lnTo>
                    <a:pt x="552" y="654"/>
                  </a:lnTo>
                  <a:lnTo>
                    <a:pt x="552" y="659"/>
                  </a:lnTo>
                  <a:lnTo>
                    <a:pt x="547" y="664"/>
                  </a:lnTo>
                  <a:lnTo>
                    <a:pt x="536" y="670"/>
                  </a:lnTo>
                  <a:lnTo>
                    <a:pt x="536" y="675"/>
                  </a:lnTo>
                  <a:lnTo>
                    <a:pt x="530" y="675"/>
                  </a:lnTo>
                  <a:lnTo>
                    <a:pt x="53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5" y="680"/>
                  </a:lnTo>
                  <a:lnTo>
                    <a:pt x="520" y="680"/>
                  </a:lnTo>
                  <a:lnTo>
                    <a:pt x="525" y="680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25" y="686"/>
                  </a:lnTo>
                  <a:lnTo>
                    <a:pt x="520" y="686"/>
                  </a:lnTo>
                  <a:lnTo>
                    <a:pt x="514" y="686"/>
                  </a:lnTo>
                  <a:lnTo>
                    <a:pt x="520" y="691"/>
                  </a:lnTo>
                  <a:lnTo>
                    <a:pt x="514" y="697"/>
                  </a:lnTo>
                  <a:lnTo>
                    <a:pt x="514" y="702"/>
                  </a:lnTo>
                  <a:lnTo>
                    <a:pt x="509" y="702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14" y="702"/>
                  </a:lnTo>
                  <a:lnTo>
                    <a:pt x="514" y="707"/>
                  </a:lnTo>
                  <a:lnTo>
                    <a:pt x="509" y="707"/>
                  </a:lnTo>
                  <a:lnTo>
                    <a:pt x="514" y="707"/>
                  </a:lnTo>
                  <a:lnTo>
                    <a:pt x="509" y="713"/>
                  </a:lnTo>
                  <a:lnTo>
                    <a:pt x="504" y="713"/>
                  </a:lnTo>
                  <a:lnTo>
                    <a:pt x="504" y="707"/>
                  </a:lnTo>
                  <a:lnTo>
                    <a:pt x="504" y="713"/>
                  </a:lnTo>
                  <a:lnTo>
                    <a:pt x="498" y="713"/>
                  </a:lnTo>
                  <a:lnTo>
                    <a:pt x="493" y="718"/>
                  </a:lnTo>
                  <a:lnTo>
                    <a:pt x="493" y="713"/>
                  </a:lnTo>
                  <a:lnTo>
                    <a:pt x="488" y="718"/>
                  </a:lnTo>
                  <a:lnTo>
                    <a:pt x="488" y="713"/>
                  </a:lnTo>
                  <a:lnTo>
                    <a:pt x="488" y="718"/>
                  </a:lnTo>
                  <a:lnTo>
                    <a:pt x="482" y="718"/>
                  </a:lnTo>
                  <a:lnTo>
                    <a:pt x="477" y="718"/>
                  </a:lnTo>
                  <a:lnTo>
                    <a:pt x="477" y="723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71" y="718"/>
                  </a:lnTo>
                  <a:lnTo>
                    <a:pt x="471" y="723"/>
                  </a:lnTo>
                  <a:lnTo>
                    <a:pt x="461" y="729"/>
                  </a:lnTo>
                  <a:lnTo>
                    <a:pt x="461" y="734"/>
                  </a:lnTo>
                  <a:lnTo>
                    <a:pt x="455" y="729"/>
                  </a:lnTo>
                  <a:lnTo>
                    <a:pt x="455" y="734"/>
                  </a:lnTo>
                  <a:lnTo>
                    <a:pt x="450" y="734"/>
                  </a:lnTo>
                  <a:lnTo>
                    <a:pt x="450" y="739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5" y="739"/>
                  </a:lnTo>
                  <a:lnTo>
                    <a:pt x="455" y="734"/>
                  </a:lnTo>
                  <a:lnTo>
                    <a:pt x="450" y="739"/>
                  </a:lnTo>
                  <a:lnTo>
                    <a:pt x="450" y="745"/>
                  </a:lnTo>
                  <a:lnTo>
                    <a:pt x="445" y="745"/>
                  </a:lnTo>
                  <a:lnTo>
                    <a:pt x="450" y="745"/>
                  </a:lnTo>
                  <a:lnTo>
                    <a:pt x="445" y="750"/>
                  </a:lnTo>
                  <a:lnTo>
                    <a:pt x="439" y="750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9" y="755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34" y="755"/>
                  </a:lnTo>
                  <a:lnTo>
                    <a:pt x="434" y="761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9" y="761"/>
                  </a:lnTo>
                  <a:lnTo>
                    <a:pt x="429" y="766"/>
                  </a:lnTo>
                  <a:lnTo>
                    <a:pt x="423" y="766"/>
                  </a:lnTo>
                  <a:lnTo>
                    <a:pt x="423" y="772"/>
                  </a:lnTo>
                  <a:lnTo>
                    <a:pt x="429" y="766"/>
                  </a:lnTo>
                  <a:lnTo>
                    <a:pt x="423" y="772"/>
                  </a:lnTo>
                  <a:lnTo>
                    <a:pt x="418" y="772"/>
                  </a:lnTo>
                  <a:lnTo>
                    <a:pt x="418" y="777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13" y="782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7" y="782"/>
                  </a:lnTo>
                  <a:lnTo>
                    <a:pt x="407" y="788"/>
                  </a:lnTo>
                  <a:lnTo>
                    <a:pt x="402" y="788"/>
                  </a:lnTo>
                  <a:lnTo>
                    <a:pt x="396" y="793"/>
                  </a:lnTo>
                  <a:lnTo>
                    <a:pt x="391" y="793"/>
                  </a:lnTo>
                  <a:lnTo>
                    <a:pt x="391" y="798"/>
                  </a:lnTo>
                  <a:lnTo>
                    <a:pt x="386" y="798"/>
                  </a:lnTo>
                  <a:lnTo>
                    <a:pt x="386" y="793"/>
                  </a:lnTo>
                  <a:lnTo>
                    <a:pt x="380" y="793"/>
                  </a:lnTo>
                  <a:lnTo>
                    <a:pt x="375" y="788"/>
                  </a:lnTo>
                  <a:lnTo>
                    <a:pt x="370" y="782"/>
                  </a:lnTo>
                  <a:lnTo>
                    <a:pt x="370" y="788"/>
                  </a:lnTo>
                  <a:lnTo>
                    <a:pt x="375" y="788"/>
                  </a:lnTo>
                  <a:lnTo>
                    <a:pt x="375" y="793"/>
                  </a:lnTo>
                  <a:lnTo>
                    <a:pt x="380" y="793"/>
                  </a:lnTo>
                  <a:lnTo>
                    <a:pt x="380" y="798"/>
                  </a:lnTo>
                  <a:lnTo>
                    <a:pt x="375" y="798"/>
                  </a:lnTo>
                  <a:lnTo>
                    <a:pt x="380" y="798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80" y="809"/>
                  </a:lnTo>
                  <a:lnTo>
                    <a:pt x="375" y="809"/>
                  </a:lnTo>
                  <a:lnTo>
                    <a:pt x="375" y="814"/>
                  </a:lnTo>
                  <a:lnTo>
                    <a:pt x="380" y="820"/>
                  </a:lnTo>
                  <a:lnTo>
                    <a:pt x="38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0" y="820"/>
                  </a:lnTo>
                  <a:lnTo>
                    <a:pt x="364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0" y="825"/>
                  </a:lnTo>
                  <a:lnTo>
                    <a:pt x="375" y="825"/>
                  </a:lnTo>
                  <a:lnTo>
                    <a:pt x="375" y="831"/>
                  </a:lnTo>
                  <a:lnTo>
                    <a:pt x="375" y="836"/>
                  </a:lnTo>
                  <a:lnTo>
                    <a:pt x="370" y="836"/>
                  </a:lnTo>
                  <a:lnTo>
                    <a:pt x="370" y="841"/>
                  </a:lnTo>
                  <a:lnTo>
                    <a:pt x="375" y="841"/>
                  </a:lnTo>
                  <a:lnTo>
                    <a:pt x="370" y="841"/>
                  </a:lnTo>
                  <a:lnTo>
                    <a:pt x="370" y="847"/>
                  </a:lnTo>
                  <a:lnTo>
                    <a:pt x="375" y="847"/>
                  </a:lnTo>
                  <a:lnTo>
                    <a:pt x="375" y="852"/>
                  </a:lnTo>
                  <a:lnTo>
                    <a:pt x="370" y="852"/>
                  </a:lnTo>
                  <a:lnTo>
                    <a:pt x="364" y="852"/>
                  </a:lnTo>
                  <a:lnTo>
                    <a:pt x="370" y="852"/>
                  </a:lnTo>
                  <a:lnTo>
                    <a:pt x="370" y="857"/>
                  </a:lnTo>
                  <a:lnTo>
                    <a:pt x="370" y="863"/>
                  </a:lnTo>
                  <a:lnTo>
                    <a:pt x="370" y="857"/>
                  </a:lnTo>
                  <a:lnTo>
                    <a:pt x="370" y="852"/>
                  </a:lnTo>
                  <a:lnTo>
                    <a:pt x="375" y="857"/>
                  </a:lnTo>
                  <a:lnTo>
                    <a:pt x="380" y="857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0" y="863"/>
                  </a:lnTo>
                  <a:lnTo>
                    <a:pt x="386" y="863"/>
                  </a:lnTo>
                  <a:lnTo>
                    <a:pt x="386" y="868"/>
                  </a:lnTo>
                  <a:lnTo>
                    <a:pt x="380" y="863"/>
                  </a:lnTo>
                  <a:lnTo>
                    <a:pt x="380" y="868"/>
                  </a:lnTo>
                  <a:lnTo>
                    <a:pt x="386" y="868"/>
                  </a:lnTo>
                  <a:lnTo>
                    <a:pt x="386" y="863"/>
                  </a:lnTo>
                  <a:lnTo>
                    <a:pt x="391" y="863"/>
                  </a:lnTo>
                  <a:lnTo>
                    <a:pt x="391" y="868"/>
                  </a:lnTo>
                  <a:lnTo>
                    <a:pt x="386" y="868"/>
                  </a:lnTo>
                  <a:lnTo>
                    <a:pt x="386" y="873"/>
                  </a:lnTo>
                  <a:lnTo>
                    <a:pt x="391" y="873"/>
                  </a:lnTo>
                  <a:lnTo>
                    <a:pt x="386" y="868"/>
                  </a:lnTo>
                  <a:lnTo>
                    <a:pt x="391" y="868"/>
                  </a:lnTo>
                  <a:lnTo>
                    <a:pt x="391" y="873"/>
                  </a:lnTo>
                  <a:lnTo>
                    <a:pt x="391" y="868"/>
                  </a:lnTo>
                  <a:lnTo>
                    <a:pt x="396" y="868"/>
                  </a:lnTo>
                  <a:lnTo>
                    <a:pt x="396" y="873"/>
                  </a:lnTo>
                  <a:lnTo>
                    <a:pt x="402" y="879"/>
                  </a:lnTo>
                  <a:lnTo>
                    <a:pt x="396" y="879"/>
                  </a:lnTo>
                  <a:lnTo>
                    <a:pt x="396" y="884"/>
                  </a:lnTo>
                  <a:lnTo>
                    <a:pt x="402" y="879"/>
                  </a:lnTo>
                  <a:lnTo>
                    <a:pt x="402" y="884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2" y="889"/>
                  </a:lnTo>
                  <a:lnTo>
                    <a:pt x="407" y="889"/>
                  </a:lnTo>
                  <a:lnTo>
                    <a:pt x="407" y="895"/>
                  </a:lnTo>
                  <a:lnTo>
                    <a:pt x="402" y="895"/>
                  </a:lnTo>
                  <a:lnTo>
                    <a:pt x="402" y="900"/>
                  </a:lnTo>
                  <a:lnTo>
                    <a:pt x="407" y="900"/>
                  </a:lnTo>
                  <a:lnTo>
                    <a:pt x="402" y="900"/>
                  </a:lnTo>
                  <a:lnTo>
                    <a:pt x="396" y="900"/>
                  </a:lnTo>
                  <a:lnTo>
                    <a:pt x="402" y="900"/>
                  </a:lnTo>
                  <a:lnTo>
                    <a:pt x="396" y="906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2" y="906"/>
                  </a:lnTo>
                  <a:lnTo>
                    <a:pt x="402" y="911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2" y="916"/>
                  </a:lnTo>
                  <a:lnTo>
                    <a:pt x="402" y="911"/>
                  </a:lnTo>
                  <a:lnTo>
                    <a:pt x="402" y="916"/>
                  </a:lnTo>
                  <a:lnTo>
                    <a:pt x="402" y="922"/>
                  </a:lnTo>
                  <a:lnTo>
                    <a:pt x="407" y="922"/>
                  </a:lnTo>
                  <a:lnTo>
                    <a:pt x="407" y="916"/>
                  </a:lnTo>
                  <a:lnTo>
                    <a:pt x="407" y="911"/>
                  </a:lnTo>
                  <a:lnTo>
                    <a:pt x="407" y="906"/>
                  </a:lnTo>
                  <a:lnTo>
                    <a:pt x="407" y="911"/>
                  </a:lnTo>
                  <a:lnTo>
                    <a:pt x="407" y="916"/>
                  </a:lnTo>
                  <a:lnTo>
                    <a:pt x="407" y="927"/>
                  </a:lnTo>
                  <a:lnTo>
                    <a:pt x="413" y="938"/>
                  </a:lnTo>
                  <a:lnTo>
                    <a:pt x="418" y="938"/>
                  </a:lnTo>
                  <a:lnTo>
                    <a:pt x="418" y="943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48"/>
                  </a:lnTo>
                  <a:lnTo>
                    <a:pt x="418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18" y="954"/>
                  </a:lnTo>
                  <a:lnTo>
                    <a:pt x="423" y="954"/>
                  </a:lnTo>
                  <a:lnTo>
                    <a:pt x="418" y="959"/>
                  </a:lnTo>
                  <a:lnTo>
                    <a:pt x="423" y="959"/>
                  </a:lnTo>
                  <a:lnTo>
                    <a:pt x="423" y="965"/>
                  </a:lnTo>
                  <a:lnTo>
                    <a:pt x="423" y="970"/>
                  </a:lnTo>
                  <a:lnTo>
                    <a:pt x="423" y="975"/>
                  </a:lnTo>
                  <a:lnTo>
                    <a:pt x="423" y="981"/>
                  </a:lnTo>
                  <a:lnTo>
                    <a:pt x="423" y="986"/>
                  </a:lnTo>
                  <a:lnTo>
                    <a:pt x="429" y="986"/>
                  </a:lnTo>
                  <a:lnTo>
                    <a:pt x="423" y="986"/>
                  </a:lnTo>
                  <a:lnTo>
                    <a:pt x="429" y="991"/>
                  </a:lnTo>
                  <a:lnTo>
                    <a:pt x="423" y="991"/>
                  </a:lnTo>
                  <a:lnTo>
                    <a:pt x="429" y="991"/>
                  </a:lnTo>
                  <a:lnTo>
                    <a:pt x="429" y="997"/>
                  </a:lnTo>
                  <a:lnTo>
                    <a:pt x="434" y="997"/>
                  </a:lnTo>
                  <a:lnTo>
                    <a:pt x="434" y="991"/>
                  </a:lnTo>
                  <a:lnTo>
                    <a:pt x="439" y="991"/>
                  </a:lnTo>
                  <a:lnTo>
                    <a:pt x="439" y="986"/>
                  </a:lnTo>
                  <a:lnTo>
                    <a:pt x="439" y="991"/>
                  </a:lnTo>
                  <a:lnTo>
                    <a:pt x="439" y="997"/>
                  </a:lnTo>
                  <a:lnTo>
                    <a:pt x="439" y="1002"/>
                  </a:lnTo>
                  <a:lnTo>
                    <a:pt x="439" y="1007"/>
                  </a:lnTo>
                  <a:lnTo>
                    <a:pt x="439" y="1002"/>
                  </a:lnTo>
                  <a:lnTo>
                    <a:pt x="445" y="997"/>
                  </a:lnTo>
                  <a:lnTo>
                    <a:pt x="445" y="1002"/>
                  </a:lnTo>
                  <a:lnTo>
                    <a:pt x="445" y="1007"/>
                  </a:lnTo>
                  <a:lnTo>
                    <a:pt x="445" y="1018"/>
                  </a:lnTo>
                  <a:lnTo>
                    <a:pt x="439" y="1023"/>
                  </a:lnTo>
                  <a:lnTo>
                    <a:pt x="439" y="1029"/>
                  </a:lnTo>
                  <a:lnTo>
                    <a:pt x="439" y="1040"/>
                  </a:lnTo>
                  <a:lnTo>
                    <a:pt x="439" y="1045"/>
                  </a:lnTo>
                  <a:lnTo>
                    <a:pt x="439" y="1050"/>
                  </a:lnTo>
                  <a:lnTo>
                    <a:pt x="445" y="1056"/>
                  </a:lnTo>
                  <a:lnTo>
                    <a:pt x="445" y="1061"/>
                  </a:lnTo>
                  <a:lnTo>
                    <a:pt x="450" y="1061"/>
                  </a:lnTo>
                  <a:lnTo>
                    <a:pt x="445" y="1056"/>
                  </a:lnTo>
                  <a:lnTo>
                    <a:pt x="450" y="1056"/>
                  </a:lnTo>
                  <a:lnTo>
                    <a:pt x="450" y="1061"/>
                  </a:lnTo>
                  <a:lnTo>
                    <a:pt x="445" y="1061"/>
                  </a:lnTo>
                  <a:lnTo>
                    <a:pt x="439" y="1072"/>
                  </a:lnTo>
                  <a:lnTo>
                    <a:pt x="439" y="1077"/>
                  </a:lnTo>
                  <a:lnTo>
                    <a:pt x="439" y="1082"/>
                  </a:lnTo>
                  <a:lnTo>
                    <a:pt x="439" y="1088"/>
                  </a:lnTo>
                  <a:lnTo>
                    <a:pt x="439" y="1093"/>
                  </a:lnTo>
                  <a:lnTo>
                    <a:pt x="434" y="1099"/>
                  </a:lnTo>
                  <a:lnTo>
                    <a:pt x="434" y="1104"/>
                  </a:lnTo>
                  <a:lnTo>
                    <a:pt x="434" y="1109"/>
                  </a:lnTo>
                  <a:lnTo>
                    <a:pt x="434" y="1125"/>
                  </a:lnTo>
                  <a:lnTo>
                    <a:pt x="429" y="1125"/>
                  </a:lnTo>
                  <a:lnTo>
                    <a:pt x="429" y="1120"/>
                  </a:lnTo>
                  <a:lnTo>
                    <a:pt x="423" y="1120"/>
                  </a:lnTo>
                  <a:lnTo>
                    <a:pt x="423" y="1125"/>
                  </a:lnTo>
                  <a:lnTo>
                    <a:pt x="429" y="1125"/>
                  </a:lnTo>
                  <a:lnTo>
                    <a:pt x="429" y="1131"/>
                  </a:lnTo>
                  <a:lnTo>
                    <a:pt x="429" y="1136"/>
                  </a:lnTo>
                  <a:lnTo>
                    <a:pt x="429" y="1141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3" y="1147"/>
                  </a:lnTo>
                  <a:lnTo>
                    <a:pt x="429" y="1147"/>
                  </a:lnTo>
                  <a:lnTo>
                    <a:pt x="429" y="1141"/>
                  </a:lnTo>
                  <a:lnTo>
                    <a:pt x="429" y="1136"/>
                  </a:lnTo>
                  <a:lnTo>
                    <a:pt x="434" y="1136"/>
                  </a:lnTo>
                  <a:lnTo>
                    <a:pt x="434" y="1141"/>
                  </a:lnTo>
                  <a:lnTo>
                    <a:pt x="439" y="1141"/>
                  </a:lnTo>
                  <a:lnTo>
                    <a:pt x="439" y="1136"/>
                  </a:lnTo>
                  <a:lnTo>
                    <a:pt x="439" y="1131"/>
                  </a:lnTo>
                  <a:lnTo>
                    <a:pt x="445" y="1131"/>
                  </a:lnTo>
                  <a:lnTo>
                    <a:pt x="445" y="1136"/>
                  </a:lnTo>
                  <a:lnTo>
                    <a:pt x="445" y="1141"/>
                  </a:lnTo>
                  <a:lnTo>
                    <a:pt x="439" y="1147"/>
                  </a:lnTo>
                  <a:lnTo>
                    <a:pt x="439" y="1152"/>
                  </a:lnTo>
                  <a:lnTo>
                    <a:pt x="439" y="1158"/>
                  </a:lnTo>
                  <a:lnTo>
                    <a:pt x="439" y="1163"/>
                  </a:lnTo>
                  <a:lnTo>
                    <a:pt x="434" y="1168"/>
                  </a:lnTo>
                  <a:lnTo>
                    <a:pt x="434" y="1174"/>
                  </a:lnTo>
                  <a:lnTo>
                    <a:pt x="423" y="1184"/>
                  </a:lnTo>
                  <a:lnTo>
                    <a:pt x="418" y="1190"/>
                  </a:lnTo>
                  <a:lnTo>
                    <a:pt x="413" y="1190"/>
                  </a:lnTo>
                  <a:lnTo>
                    <a:pt x="413" y="1195"/>
                  </a:lnTo>
                  <a:lnTo>
                    <a:pt x="413" y="1200"/>
                  </a:lnTo>
                  <a:lnTo>
                    <a:pt x="407" y="1200"/>
                  </a:lnTo>
                  <a:lnTo>
                    <a:pt x="396" y="1206"/>
                  </a:lnTo>
                  <a:lnTo>
                    <a:pt x="380" y="1216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54" y="1222"/>
                  </a:lnTo>
                  <a:lnTo>
                    <a:pt x="348" y="1222"/>
                  </a:lnTo>
                  <a:lnTo>
                    <a:pt x="348" y="1227"/>
                  </a:lnTo>
                  <a:lnTo>
                    <a:pt x="343" y="1227"/>
                  </a:lnTo>
                  <a:lnTo>
                    <a:pt x="332" y="1233"/>
                  </a:lnTo>
                  <a:lnTo>
                    <a:pt x="316" y="1238"/>
                  </a:lnTo>
                  <a:lnTo>
                    <a:pt x="311" y="1238"/>
                  </a:lnTo>
                  <a:lnTo>
                    <a:pt x="305" y="1238"/>
                  </a:lnTo>
                  <a:lnTo>
                    <a:pt x="305" y="1243"/>
                  </a:lnTo>
                  <a:lnTo>
                    <a:pt x="300" y="1243"/>
                  </a:lnTo>
                  <a:lnTo>
                    <a:pt x="289" y="1243"/>
                  </a:lnTo>
                  <a:lnTo>
                    <a:pt x="284" y="1249"/>
                  </a:lnTo>
                  <a:lnTo>
                    <a:pt x="273" y="1254"/>
                  </a:lnTo>
                  <a:lnTo>
                    <a:pt x="268" y="1254"/>
                  </a:lnTo>
                  <a:lnTo>
                    <a:pt x="252" y="1265"/>
                  </a:lnTo>
                  <a:lnTo>
                    <a:pt x="241" y="1270"/>
                  </a:lnTo>
                  <a:lnTo>
                    <a:pt x="236" y="1270"/>
                  </a:lnTo>
                  <a:lnTo>
                    <a:pt x="225" y="1281"/>
                  </a:lnTo>
                  <a:lnTo>
                    <a:pt x="220" y="1281"/>
                  </a:lnTo>
                  <a:lnTo>
                    <a:pt x="220" y="1286"/>
                  </a:lnTo>
                  <a:lnTo>
                    <a:pt x="214" y="1292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297"/>
                  </a:lnTo>
                  <a:lnTo>
                    <a:pt x="203" y="1297"/>
                  </a:lnTo>
                  <a:lnTo>
                    <a:pt x="209" y="1297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9" y="1302"/>
                  </a:lnTo>
                  <a:lnTo>
                    <a:pt x="209" y="1308"/>
                  </a:lnTo>
                  <a:lnTo>
                    <a:pt x="203" y="1308"/>
                  </a:lnTo>
                  <a:lnTo>
                    <a:pt x="203" y="1313"/>
                  </a:lnTo>
                  <a:lnTo>
                    <a:pt x="198" y="1318"/>
                  </a:lnTo>
                  <a:lnTo>
                    <a:pt x="193" y="1313"/>
                  </a:lnTo>
                  <a:lnTo>
                    <a:pt x="187" y="1318"/>
                  </a:lnTo>
                  <a:lnTo>
                    <a:pt x="187" y="1324"/>
                  </a:lnTo>
                  <a:lnTo>
                    <a:pt x="193" y="1318"/>
                  </a:lnTo>
                  <a:lnTo>
                    <a:pt x="187" y="1318"/>
                  </a:lnTo>
                  <a:lnTo>
                    <a:pt x="193" y="1318"/>
                  </a:lnTo>
                  <a:lnTo>
                    <a:pt x="198" y="1318"/>
                  </a:lnTo>
                  <a:lnTo>
                    <a:pt x="198" y="1324"/>
                  </a:lnTo>
                  <a:lnTo>
                    <a:pt x="203" y="1329"/>
                  </a:lnTo>
                  <a:lnTo>
                    <a:pt x="203" y="1334"/>
                  </a:lnTo>
                  <a:lnTo>
                    <a:pt x="203" y="1340"/>
                  </a:lnTo>
                  <a:lnTo>
                    <a:pt x="209" y="1345"/>
                  </a:lnTo>
                  <a:lnTo>
                    <a:pt x="209" y="1350"/>
                  </a:lnTo>
                  <a:lnTo>
                    <a:pt x="203" y="1350"/>
                  </a:lnTo>
                  <a:lnTo>
                    <a:pt x="209" y="1345"/>
                  </a:lnTo>
                  <a:lnTo>
                    <a:pt x="203" y="1334"/>
                  </a:lnTo>
                  <a:lnTo>
                    <a:pt x="209" y="1334"/>
                  </a:lnTo>
                  <a:lnTo>
                    <a:pt x="214" y="1340"/>
                  </a:lnTo>
                  <a:lnTo>
                    <a:pt x="214" y="1345"/>
                  </a:lnTo>
                  <a:lnTo>
                    <a:pt x="220" y="1345"/>
                  </a:lnTo>
                  <a:lnTo>
                    <a:pt x="225" y="1345"/>
                  </a:lnTo>
                  <a:lnTo>
                    <a:pt x="220" y="1340"/>
                  </a:lnTo>
                  <a:lnTo>
                    <a:pt x="220" y="1334"/>
                  </a:lnTo>
                  <a:lnTo>
                    <a:pt x="225" y="1329"/>
                  </a:lnTo>
                  <a:lnTo>
                    <a:pt x="230" y="1329"/>
                  </a:lnTo>
                  <a:lnTo>
                    <a:pt x="225" y="1345"/>
                  </a:lnTo>
                  <a:lnTo>
                    <a:pt x="225" y="1350"/>
                  </a:lnTo>
                  <a:lnTo>
                    <a:pt x="225" y="1356"/>
                  </a:lnTo>
                  <a:lnTo>
                    <a:pt x="225" y="1361"/>
                  </a:lnTo>
                  <a:lnTo>
                    <a:pt x="225" y="1372"/>
                  </a:lnTo>
                  <a:lnTo>
                    <a:pt x="225" y="1377"/>
                  </a:lnTo>
                  <a:lnTo>
                    <a:pt x="225" y="1383"/>
                  </a:lnTo>
                  <a:lnTo>
                    <a:pt x="225" y="1388"/>
                  </a:lnTo>
                  <a:lnTo>
                    <a:pt x="225" y="1393"/>
                  </a:lnTo>
                  <a:lnTo>
                    <a:pt x="220" y="1393"/>
                  </a:lnTo>
                  <a:lnTo>
                    <a:pt x="214" y="1393"/>
                  </a:lnTo>
                  <a:lnTo>
                    <a:pt x="182" y="1393"/>
                  </a:lnTo>
                  <a:lnTo>
                    <a:pt x="177" y="1393"/>
                  </a:lnTo>
                  <a:lnTo>
                    <a:pt x="171" y="1393"/>
                  </a:lnTo>
                  <a:lnTo>
                    <a:pt x="166" y="1388"/>
                  </a:lnTo>
                  <a:lnTo>
                    <a:pt x="166" y="1393"/>
                  </a:lnTo>
                  <a:lnTo>
                    <a:pt x="161" y="1393"/>
                  </a:lnTo>
                  <a:lnTo>
                    <a:pt x="161" y="1388"/>
                  </a:lnTo>
                  <a:lnTo>
                    <a:pt x="161" y="1367"/>
                  </a:lnTo>
                  <a:lnTo>
                    <a:pt x="155" y="1356"/>
                  </a:lnTo>
                  <a:lnTo>
                    <a:pt x="155" y="1350"/>
                  </a:lnTo>
                  <a:lnTo>
                    <a:pt x="155" y="1345"/>
                  </a:lnTo>
                  <a:lnTo>
                    <a:pt x="155" y="1334"/>
                  </a:lnTo>
                  <a:lnTo>
                    <a:pt x="155" y="1318"/>
                  </a:lnTo>
                  <a:lnTo>
                    <a:pt x="150" y="1318"/>
                  </a:lnTo>
                  <a:lnTo>
                    <a:pt x="150" y="1313"/>
                  </a:lnTo>
                  <a:lnTo>
                    <a:pt x="144" y="1308"/>
                  </a:lnTo>
                  <a:lnTo>
                    <a:pt x="144" y="1297"/>
                  </a:lnTo>
                  <a:lnTo>
                    <a:pt x="150" y="1292"/>
                  </a:lnTo>
                  <a:lnTo>
                    <a:pt x="150" y="1286"/>
                  </a:lnTo>
                  <a:lnTo>
                    <a:pt x="150" y="1281"/>
                  </a:lnTo>
                  <a:lnTo>
                    <a:pt x="144" y="1281"/>
                  </a:lnTo>
                  <a:lnTo>
                    <a:pt x="150" y="1275"/>
                  </a:lnTo>
                  <a:lnTo>
                    <a:pt x="150" y="1270"/>
                  </a:lnTo>
                  <a:lnTo>
                    <a:pt x="150" y="1265"/>
                  </a:lnTo>
                  <a:lnTo>
                    <a:pt x="150" y="1259"/>
                  </a:lnTo>
                  <a:lnTo>
                    <a:pt x="150" y="1243"/>
                  </a:lnTo>
                  <a:lnTo>
                    <a:pt x="150" y="1238"/>
                  </a:lnTo>
                  <a:lnTo>
                    <a:pt x="150" y="1233"/>
                  </a:lnTo>
                  <a:lnTo>
                    <a:pt x="150" y="1206"/>
                  </a:lnTo>
                  <a:lnTo>
                    <a:pt x="150" y="1190"/>
                  </a:lnTo>
                  <a:lnTo>
                    <a:pt x="150" y="1184"/>
                  </a:lnTo>
                  <a:lnTo>
                    <a:pt x="150" y="1174"/>
                  </a:lnTo>
                  <a:lnTo>
                    <a:pt x="139" y="1168"/>
                  </a:lnTo>
                  <a:lnTo>
                    <a:pt x="139" y="1152"/>
                  </a:lnTo>
                  <a:lnTo>
                    <a:pt x="139" y="1147"/>
                  </a:lnTo>
                  <a:lnTo>
                    <a:pt x="128" y="1141"/>
                  </a:lnTo>
                  <a:lnTo>
                    <a:pt x="123" y="1125"/>
                  </a:lnTo>
                  <a:lnTo>
                    <a:pt x="123" y="1115"/>
                  </a:lnTo>
                  <a:lnTo>
                    <a:pt x="112" y="1104"/>
                  </a:lnTo>
                  <a:lnTo>
                    <a:pt x="112" y="1099"/>
                  </a:lnTo>
                  <a:lnTo>
                    <a:pt x="112" y="1077"/>
                  </a:lnTo>
                  <a:lnTo>
                    <a:pt x="91" y="1018"/>
                  </a:lnTo>
                  <a:lnTo>
                    <a:pt x="91" y="1013"/>
                  </a:lnTo>
                  <a:lnTo>
                    <a:pt x="96" y="1013"/>
                  </a:lnTo>
                  <a:lnTo>
                    <a:pt x="107" y="1002"/>
                  </a:lnTo>
                  <a:lnTo>
                    <a:pt x="107" y="997"/>
                  </a:lnTo>
                  <a:lnTo>
                    <a:pt x="139" y="970"/>
                  </a:lnTo>
                  <a:lnTo>
                    <a:pt x="182" y="922"/>
                  </a:lnTo>
                  <a:lnTo>
                    <a:pt x="187" y="922"/>
                  </a:lnTo>
                  <a:lnTo>
                    <a:pt x="182" y="916"/>
                  </a:lnTo>
                  <a:lnTo>
                    <a:pt x="182" y="911"/>
                  </a:lnTo>
                  <a:lnTo>
                    <a:pt x="177" y="906"/>
                  </a:lnTo>
                  <a:lnTo>
                    <a:pt x="182" y="906"/>
                  </a:lnTo>
                  <a:lnTo>
                    <a:pt x="187" y="900"/>
                  </a:lnTo>
                  <a:lnTo>
                    <a:pt x="187" y="895"/>
                  </a:lnTo>
                  <a:lnTo>
                    <a:pt x="193" y="889"/>
                  </a:lnTo>
                  <a:lnTo>
                    <a:pt x="193" y="884"/>
                  </a:lnTo>
                  <a:lnTo>
                    <a:pt x="193" y="879"/>
                  </a:lnTo>
                  <a:lnTo>
                    <a:pt x="187" y="868"/>
                  </a:lnTo>
                  <a:lnTo>
                    <a:pt x="187" y="863"/>
                  </a:lnTo>
                  <a:lnTo>
                    <a:pt x="193" y="863"/>
                  </a:lnTo>
                  <a:lnTo>
                    <a:pt x="198" y="857"/>
                  </a:lnTo>
                  <a:lnTo>
                    <a:pt x="203" y="857"/>
                  </a:lnTo>
                  <a:lnTo>
                    <a:pt x="209" y="847"/>
                  </a:lnTo>
                  <a:lnTo>
                    <a:pt x="214" y="841"/>
                  </a:lnTo>
                  <a:lnTo>
                    <a:pt x="214" y="836"/>
                  </a:lnTo>
                  <a:lnTo>
                    <a:pt x="220" y="836"/>
                  </a:lnTo>
                  <a:lnTo>
                    <a:pt x="220" y="831"/>
                  </a:lnTo>
                  <a:lnTo>
                    <a:pt x="220" y="825"/>
                  </a:lnTo>
                  <a:lnTo>
                    <a:pt x="220" y="820"/>
                  </a:lnTo>
                  <a:lnTo>
                    <a:pt x="225" y="820"/>
                  </a:lnTo>
                  <a:lnTo>
                    <a:pt x="225" y="814"/>
                  </a:lnTo>
                  <a:lnTo>
                    <a:pt x="230" y="814"/>
                  </a:lnTo>
                  <a:lnTo>
                    <a:pt x="230" y="809"/>
                  </a:lnTo>
                  <a:lnTo>
                    <a:pt x="236" y="793"/>
                  </a:lnTo>
                  <a:lnTo>
                    <a:pt x="236" y="788"/>
                  </a:lnTo>
                  <a:lnTo>
                    <a:pt x="230" y="788"/>
                  </a:lnTo>
                  <a:lnTo>
                    <a:pt x="230" y="782"/>
                  </a:lnTo>
                  <a:lnTo>
                    <a:pt x="225" y="782"/>
                  </a:lnTo>
                  <a:lnTo>
                    <a:pt x="220" y="782"/>
                  </a:lnTo>
                  <a:lnTo>
                    <a:pt x="220" y="777"/>
                  </a:lnTo>
                  <a:lnTo>
                    <a:pt x="220" y="772"/>
                  </a:lnTo>
                  <a:lnTo>
                    <a:pt x="220" y="766"/>
                  </a:lnTo>
                  <a:lnTo>
                    <a:pt x="214" y="766"/>
                  </a:lnTo>
                  <a:lnTo>
                    <a:pt x="214" y="761"/>
                  </a:lnTo>
                  <a:lnTo>
                    <a:pt x="214" y="755"/>
                  </a:lnTo>
                  <a:lnTo>
                    <a:pt x="220" y="750"/>
                  </a:lnTo>
                  <a:lnTo>
                    <a:pt x="220" y="745"/>
                  </a:lnTo>
                  <a:lnTo>
                    <a:pt x="220" y="734"/>
                  </a:lnTo>
                  <a:lnTo>
                    <a:pt x="220" y="729"/>
                  </a:lnTo>
                  <a:lnTo>
                    <a:pt x="220" y="723"/>
                  </a:lnTo>
                  <a:lnTo>
                    <a:pt x="214" y="723"/>
                  </a:lnTo>
                  <a:lnTo>
                    <a:pt x="214" y="729"/>
                  </a:lnTo>
                  <a:lnTo>
                    <a:pt x="209" y="729"/>
                  </a:lnTo>
                  <a:lnTo>
                    <a:pt x="209" y="723"/>
                  </a:lnTo>
                  <a:lnTo>
                    <a:pt x="209" y="718"/>
                  </a:lnTo>
                  <a:lnTo>
                    <a:pt x="209" y="713"/>
                  </a:lnTo>
                  <a:lnTo>
                    <a:pt x="209" y="707"/>
                  </a:lnTo>
                  <a:lnTo>
                    <a:pt x="214" y="707"/>
                  </a:lnTo>
                  <a:lnTo>
                    <a:pt x="220" y="707"/>
                  </a:lnTo>
                  <a:lnTo>
                    <a:pt x="225" y="707"/>
                  </a:lnTo>
                  <a:lnTo>
                    <a:pt x="225" y="702"/>
                  </a:lnTo>
                  <a:lnTo>
                    <a:pt x="230" y="697"/>
                  </a:lnTo>
                  <a:lnTo>
                    <a:pt x="225" y="691"/>
                  </a:lnTo>
                  <a:lnTo>
                    <a:pt x="225" y="686"/>
                  </a:lnTo>
                  <a:lnTo>
                    <a:pt x="220" y="686"/>
                  </a:lnTo>
                  <a:lnTo>
                    <a:pt x="225" y="680"/>
                  </a:lnTo>
                  <a:lnTo>
                    <a:pt x="230" y="680"/>
                  </a:lnTo>
                  <a:lnTo>
                    <a:pt x="236" y="680"/>
                  </a:lnTo>
                  <a:lnTo>
                    <a:pt x="236" y="675"/>
                  </a:lnTo>
                  <a:lnTo>
                    <a:pt x="236" y="670"/>
                  </a:lnTo>
                  <a:lnTo>
                    <a:pt x="230" y="664"/>
                  </a:lnTo>
                  <a:lnTo>
                    <a:pt x="230" y="659"/>
                  </a:lnTo>
                  <a:lnTo>
                    <a:pt x="230" y="654"/>
                  </a:lnTo>
                  <a:lnTo>
                    <a:pt x="230" y="648"/>
                  </a:lnTo>
                  <a:lnTo>
                    <a:pt x="230" y="643"/>
                  </a:lnTo>
                  <a:lnTo>
                    <a:pt x="225" y="643"/>
                  </a:lnTo>
                  <a:lnTo>
                    <a:pt x="225" y="638"/>
                  </a:lnTo>
                  <a:lnTo>
                    <a:pt x="230" y="638"/>
                  </a:lnTo>
                  <a:lnTo>
                    <a:pt x="230" y="632"/>
                  </a:lnTo>
                  <a:lnTo>
                    <a:pt x="230" y="627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21"/>
                  </a:lnTo>
                  <a:lnTo>
                    <a:pt x="236" y="621"/>
                  </a:lnTo>
                  <a:lnTo>
                    <a:pt x="230" y="616"/>
                  </a:lnTo>
                  <a:lnTo>
                    <a:pt x="236" y="616"/>
                  </a:lnTo>
                  <a:lnTo>
                    <a:pt x="230" y="616"/>
                  </a:lnTo>
                  <a:lnTo>
                    <a:pt x="236" y="611"/>
                  </a:lnTo>
                  <a:lnTo>
                    <a:pt x="236" y="605"/>
                  </a:lnTo>
                  <a:lnTo>
                    <a:pt x="230" y="605"/>
                  </a:lnTo>
                  <a:lnTo>
                    <a:pt x="230" y="600"/>
                  </a:lnTo>
                  <a:lnTo>
                    <a:pt x="230" y="595"/>
                  </a:lnTo>
                  <a:lnTo>
                    <a:pt x="230" y="589"/>
                  </a:lnTo>
                  <a:lnTo>
                    <a:pt x="236" y="584"/>
                  </a:lnTo>
                  <a:lnTo>
                    <a:pt x="230" y="579"/>
                  </a:lnTo>
                  <a:lnTo>
                    <a:pt x="230" y="568"/>
                  </a:lnTo>
                  <a:lnTo>
                    <a:pt x="225" y="562"/>
                  </a:lnTo>
                  <a:lnTo>
                    <a:pt x="220" y="552"/>
                  </a:lnTo>
                  <a:lnTo>
                    <a:pt x="220" y="546"/>
                  </a:lnTo>
                  <a:lnTo>
                    <a:pt x="225" y="546"/>
                  </a:lnTo>
                  <a:lnTo>
                    <a:pt x="230" y="536"/>
                  </a:lnTo>
                  <a:lnTo>
                    <a:pt x="230" y="530"/>
                  </a:lnTo>
                  <a:lnTo>
                    <a:pt x="225" y="530"/>
                  </a:lnTo>
                  <a:lnTo>
                    <a:pt x="220" y="530"/>
                  </a:lnTo>
                  <a:lnTo>
                    <a:pt x="214" y="530"/>
                  </a:lnTo>
                  <a:lnTo>
                    <a:pt x="209" y="530"/>
                  </a:lnTo>
                  <a:lnTo>
                    <a:pt x="209" y="525"/>
                  </a:lnTo>
                  <a:lnTo>
                    <a:pt x="209" y="520"/>
                  </a:lnTo>
                  <a:lnTo>
                    <a:pt x="187" y="514"/>
                  </a:lnTo>
                  <a:lnTo>
                    <a:pt x="182" y="509"/>
                  </a:lnTo>
                  <a:lnTo>
                    <a:pt x="177" y="509"/>
                  </a:lnTo>
                  <a:lnTo>
                    <a:pt x="171" y="509"/>
                  </a:lnTo>
                  <a:lnTo>
                    <a:pt x="150" y="509"/>
                  </a:lnTo>
                  <a:lnTo>
                    <a:pt x="139" y="504"/>
                  </a:lnTo>
                  <a:lnTo>
                    <a:pt x="139" y="498"/>
                  </a:lnTo>
                  <a:lnTo>
                    <a:pt x="134" y="498"/>
                  </a:lnTo>
                  <a:lnTo>
                    <a:pt x="134" y="493"/>
                  </a:lnTo>
                  <a:lnTo>
                    <a:pt x="128" y="493"/>
                  </a:lnTo>
                  <a:lnTo>
                    <a:pt x="128" y="487"/>
                  </a:lnTo>
                  <a:lnTo>
                    <a:pt x="123" y="487"/>
                  </a:lnTo>
                  <a:lnTo>
                    <a:pt x="118" y="487"/>
                  </a:lnTo>
                  <a:lnTo>
                    <a:pt x="112" y="487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77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80" y="466"/>
                  </a:lnTo>
                  <a:lnTo>
                    <a:pt x="75" y="466"/>
                  </a:lnTo>
                  <a:lnTo>
                    <a:pt x="75" y="471"/>
                  </a:lnTo>
                  <a:lnTo>
                    <a:pt x="69" y="471"/>
                  </a:lnTo>
                  <a:lnTo>
                    <a:pt x="64" y="477"/>
                  </a:lnTo>
                  <a:lnTo>
                    <a:pt x="64" y="471"/>
                  </a:lnTo>
                  <a:lnTo>
                    <a:pt x="59" y="471"/>
                  </a:lnTo>
                  <a:lnTo>
                    <a:pt x="16" y="471"/>
                  </a:lnTo>
                  <a:lnTo>
                    <a:pt x="16" y="439"/>
                  </a:lnTo>
                  <a:lnTo>
                    <a:pt x="16" y="434"/>
                  </a:lnTo>
                  <a:lnTo>
                    <a:pt x="10" y="434"/>
                  </a:lnTo>
                  <a:lnTo>
                    <a:pt x="16" y="428"/>
                  </a:lnTo>
                  <a:lnTo>
                    <a:pt x="16" y="423"/>
                  </a:lnTo>
                  <a:lnTo>
                    <a:pt x="16" y="418"/>
                  </a:lnTo>
                  <a:lnTo>
                    <a:pt x="16" y="412"/>
                  </a:lnTo>
                  <a:lnTo>
                    <a:pt x="10" y="412"/>
                  </a:lnTo>
                  <a:lnTo>
                    <a:pt x="10" y="407"/>
                  </a:lnTo>
                  <a:lnTo>
                    <a:pt x="5" y="407"/>
                  </a:lnTo>
                  <a:lnTo>
                    <a:pt x="5" y="402"/>
                  </a:lnTo>
                  <a:lnTo>
                    <a:pt x="5" y="396"/>
                  </a:lnTo>
                  <a:lnTo>
                    <a:pt x="0" y="396"/>
                  </a:lnTo>
                  <a:lnTo>
                    <a:pt x="0" y="391"/>
                  </a:lnTo>
                  <a:lnTo>
                    <a:pt x="0" y="386"/>
                  </a:lnTo>
                  <a:lnTo>
                    <a:pt x="10" y="380"/>
                  </a:lnTo>
                  <a:lnTo>
                    <a:pt x="27" y="375"/>
                  </a:lnTo>
                  <a:lnTo>
                    <a:pt x="37" y="370"/>
                  </a:lnTo>
                  <a:lnTo>
                    <a:pt x="48" y="364"/>
                  </a:lnTo>
                  <a:lnTo>
                    <a:pt x="69" y="359"/>
                  </a:lnTo>
                  <a:lnTo>
                    <a:pt x="75" y="359"/>
                  </a:lnTo>
                  <a:lnTo>
                    <a:pt x="80" y="359"/>
                  </a:lnTo>
                  <a:lnTo>
                    <a:pt x="85" y="353"/>
                  </a:lnTo>
                  <a:lnTo>
                    <a:pt x="107" y="353"/>
                  </a:lnTo>
                  <a:lnTo>
                    <a:pt x="123" y="343"/>
                  </a:lnTo>
                  <a:lnTo>
                    <a:pt x="134" y="343"/>
                  </a:lnTo>
                  <a:lnTo>
                    <a:pt x="144" y="332"/>
                  </a:lnTo>
                  <a:lnTo>
                    <a:pt x="155" y="332"/>
                  </a:lnTo>
                  <a:lnTo>
                    <a:pt x="171" y="327"/>
                  </a:lnTo>
                  <a:lnTo>
                    <a:pt x="187" y="321"/>
                  </a:lnTo>
                  <a:lnTo>
                    <a:pt x="198" y="316"/>
                  </a:lnTo>
                  <a:lnTo>
                    <a:pt x="252" y="30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2604" name="Group 57"/>
            <p:cNvGrpSpPr>
              <a:grpSpLocks/>
            </p:cNvGrpSpPr>
            <p:nvPr/>
          </p:nvGrpSpPr>
          <p:grpSpPr bwMode="auto">
            <a:xfrm>
              <a:off x="2555" y="2549"/>
              <a:ext cx="520" cy="577"/>
              <a:chOff x="2555" y="2549"/>
              <a:chExt cx="520" cy="577"/>
            </a:xfrm>
          </p:grpSpPr>
          <p:sp>
            <p:nvSpPr>
              <p:cNvPr id="22643" name="Freeform 58"/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555" y="2611"/>
                <a:ext cx="520" cy="515"/>
              </a:xfrm>
              <a:custGeom>
                <a:avLst/>
                <a:gdLst>
                  <a:gd name="T0" fmla="*/ 54 w 612"/>
                  <a:gd name="T1" fmla="*/ 0 h 606"/>
                  <a:gd name="T2" fmla="*/ 75 w 612"/>
                  <a:gd name="T3" fmla="*/ 0 h 606"/>
                  <a:gd name="T4" fmla="*/ 119 w 612"/>
                  <a:gd name="T5" fmla="*/ 0 h 606"/>
                  <a:gd name="T6" fmla="*/ 128 w 612"/>
                  <a:gd name="T7" fmla="*/ 12 h 606"/>
                  <a:gd name="T8" fmla="*/ 134 w 612"/>
                  <a:gd name="T9" fmla="*/ 28 h 606"/>
                  <a:gd name="T10" fmla="*/ 141 w 612"/>
                  <a:gd name="T11" fmla="*/ 43 h 606"/>
                  <a:gd name="T12" fmla="*/ 150 w 612"/>
                  <a:gd name="T13" fmla="*/ 56 h 606"/>
                  <a:gd name="T14" fmla="*/ 162 w 612"/>
                  <a:gd name="T15" fmla="*/ 56 h 606"/>
                  <a:gd name="T16" fmla="*/ 182 w 612"/>
                  <a:gd name="T17" fmla="*/ 56 h 606"/>
                  <a:gd name="T18" fmla="*/ 200 w 612"/>
                  <a:gd name="T19" fmla="*/ 41 h 606"/>
                  <a:gd name="T20" fmla="*/ 223 w 612"/>
                  <a:gd name="T21" fmla="*/ 28 h 606"/>
                  <a:gd name="T22" fmla="*/ 259 w 612"/>
                  <a:gd name="T23" fmla="*/ 41 h 606"/>
                  <a:gd name="T24" fmla="*/ 259 w 612"/>
                  <a:gd name="T25" fmla="*/ 47 h 606"/>
                  <a:gd name="T26" fmla="*/ 263 w 612"/>
                  <a:gd name="T27" fmla="*/ 69 h 606"/>
                  <a:gd name="T28" fmla="*/ 263 w 612"/>
                  <a:gd name="T29" fmla="*/ 88 h 606"/>
                  <a:gd name="T30" fmla="*/ 266 w 612"/>
                  <a:gd name="T31" fmla="*/ 100 h 606"/>
                  <a:gd name="T32" fmla="*/ 272 w 612"/>
                  <a:gd name="T33" fmla="*/ 119 h 606"/>
                  <a:gd name="T34" fmla="*/ 268 w 612"/>
                  <a:gd name="T35" fmla="*/ 132 h 606"/>
                  <a:gd name="T36" fmla="*/ 279 w 612"/>
                  <a:gd name="T37" fmla="*/ 134 h 606"/>
                  <a:gd name="T38" fmla="*/ 294 w 612"/>
                  <a:gd name="T39" fmla="*/ 137 h 606"/>
                  <a:gd name="T40" fmla="*/ 307 w 612"/>
                  <a:gd name="T41" fmla="*/ 134 h 606"/>
                  <a:gd name="T42" fmla="*/ 319 w 612"/>
                  <a:gd name="T43" fmla="*/ 137 h 606"/>
                  <a:gd name="T44" fmla="*/ 319 w 612"/>
                  <a:gd name="T45" fmla="*/ 153 h 606"/>
                  <a:gd name="T46" fmla="*/ 319 w 612"/>
                  <a:gd name="T47" fmla="*/ 172 h 606"/>
                  <a:gd name="T48" fmla="*/ 266 w 612"/>
                  <a:gd name="T49" fmla="*/ 269 h 606"/>
                  <a:gd name="T50" fmla="*/ 281 w 612"/>
                  <a:gd name="T51" fmla="*/ 288 h 606"/>
                  <a:gd name="T52" fmla="*/ 294 w 612"/>
                  <a:gd name="T53" fmla="*/ 301 h 606"/>
                  <a:gd name="T54" fmla="*/ 251 w 612"/>
                  <a:gd name="T55" fmla="*/ 316 h 606"/>
                  <a:gd name="T56" fmla="*/ 231 w 612"/>
                  <a:gd name="T57" fmla="*/ 316 h 606"/>
                  <a:gd name="T58" fmla="*/ 218 w 612"/>
                  <a:gd name="T59" fmla="*/ 313 h 606"/>
                  <a:gd name="T60" fmla="*/ 203 w 612"/>
                  <a:gd name="T61" fmla="*/ 310 h 606"/>
                  <a:gd name="T62" fmla="*/ 200 w 612"/>
                  <a:gd name="T63" fmla="*/ 310 h 606"/>
                  <a:gd name="T64" fmla="*/ 185 w 612"/>
                  <a:gd name="T65" fmla="*/ 310 h 606"/>
                  <a:gd name="T66" fmla="*/ 172 w 612"/>
                  <a:gd name="T67" fmla="*/ 301 h 606"/>
                  <a:gd name="T68" fmla="*/ 56 w 612"/>
                  <a:gd name="T69" fmla="*/ 301 h 606"/>
                  <a:gd name="T70" fmla="*/ 43 w 612"/>
                  <a:gd name="T71" fmla="*/ 291 h 606"/>
                  <a:gd name="T72" fmla="*/ 31 w 612"/>
                  <a:gd name="T73" fmla="*/ 288 h 606"/>
                  <a:gd name="T74" fmla="*/ 19 w 612"/>
                  <a:gd name="T75" fmla="*/ 294 h 606"/>
                  <a:gd name="T76" fmla="*/ 0 w 612"/>
                  <a:gd name="T77" fmla="*/ 297 h 606"/>
                  <a:gd name="T78" fmla="*/ 0 w 612"/>
                  <a:gd name="T79" fmla="*/ 272 h 606"/>
                  <a:gd name="T80" fmla="*/ 3 w 612"/>
                  <a:gd name="T81" fmla="*/ 257 h 606"/>
                  <a:gd name="T82" fmla="*/ 9 w 612"/>
                  <a:gd name="T83" fmla="*/ 238 h 606"/>
                  <a:gd name="T84" fmla="*/ 15 w 612"/>
                  <a:gd name="T85" fmla="*/ 223 h 606"/>
                  <a:gd name="T86" fmla="*/ 15 w 612"/>
                  <a:gd name="T87" fmla="*/ 207 h 606"/>
                  <a:gd name="T88" fmla="*/ 19 w 612"/>
                  <a:gd name="T89" fmla="*/ 200 h 606"/>
                  <a:gd name="T90" fmla="*/ 22 w 612"/>
                  <a:gd name="T91" fmla="*/ 195 h 606"/>
                  <a:gd name="T92" fmla="*/ 35 w 612"/>
                  <a:gd name="T93" fmla="*/ 178 h 606"/>
                  <a:gd name="T94" fmla="*/ 43 w 612"/>
                  <a:gd name="T95" fmla="*/ 172 h 606"/>
                  <a:gd name="T96" fmla="*/ 50 w 612"/>
                  <a:gd name="T97" fmla="*/ 162 h 606"/>
                  <a:gd name="T98" fmla="*/ 54 w 612"/>
                  <a:gd name="T99" fmla="*/ 144 h 606"/>
                  <a:gd name="T100" fmla="*/ 50 w 612"/>
                  <a:gd name="T101" fmla="*/ 125 h 606"/>
                  <a:gd name="T102" fmla="*/ 47 w 612"/>
                  <a:gd name="T103" fmla="*/ 113 h 606"/>
                  <a:gd name="T104" fmla="*/ 37 w 612"/>
                  <a:gd name="T105" fmla="*/ 100 h 606"/>
                  <a:gd name="T106" fmla="*/ 31 w 612"/>
                  <a:gd name="T107" fmla="*/ 82 h 606"/>
                  <a:gd name="T108" fmla="*/ 31 w 612"/>
                  <a:gd name="T109" fmla="*/ 84 h 606"/>
                  <a:gd name="T110" fmla="*/ 43 w 612"/>
                  <a:gd name="T111" fmla="*/ 71 h 606"/>
                  <a:gd name="T112" fmla="*/ 41 w 612"/>
                  <a:gd name="T113" fmla="*/ 63 h 606"/>
                  <a:gd name="T114" fmla="*/ 35 w 612"/>
                  <a:gd name="T115" fmla="*/ 47 h 606"/>
                  <a:gd name="T116" fmla="*/ 28 w 612"/>
                  <a:gd name="T117" fmla="*/ 31 h 606"/>
                  <a:gd name="T118" fmla="*/ 19 w 612"/>
                  <a:gd name="T119" fmla="*/ 15 h 606"/>
                  <a:gd name="T120" fmla="*/ 12 w 612"/>
                  <a:gd name="T121" fmla="*/ 6 h 606"/>
                  <a:gd name="T122" fmla="*/ 28 w 612"/>
                  <a:gd name="T123" fmla="*/ 6 h 60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12" h="606">
                    <a:moveTo>
                      <a:pt x="60" y="0"/>
                    </a:move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6" y="0"/>
                    </a:lnTo>
                    <a:lnTo>
                      <a:pt x="132" y="0"/>
                    </a:lnTo>
                    <a:lnTo>
                      <a:pt x="138" y="0"/>
                    </a:lnTo>
                    <a:lnTo>
                      <a:pt x="144" y="0"/>
                    </a:lnTo>
                    <a:lnTo>
                      <a:pt x="150" y="0"/>
                    </a:lnTo>
                    <a:lnTo>
                      <a:pt x="156" y="0"/>
                    </a:lnTo>
                    <a:lnTo>
                      <a:pt x="168" y="0"/>
                    </a:lnTo>
                    <a:lnTo>
                      <a:pt x="186" y="0"/>
                    </a:lnTo>
                    <a:lnTo>
                      <a:pt x="192" y="0"/>
                    </a:lnTo>
                    <a:lnTo>
                      <a:pt x="20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40" y="6"/>
                    </a:lnTo>
                    <a:lnTo>
                      <a:pt x="240" y="12"/>
                    </a:lnTo>
                    <a:lnTo>
                      <a:pt x="246" y="12"/>
                    </a:lnTo>
                    <a:lnTo>
                      <a:pt x="246" y="18"/>
                    </a:lnTo>
                    <a:lnTo>
                      <a:pt x="246" y="24"/>
                    </a:lnTo>
                    <a:lnTo>
                      <a:pt x="246" y="30"/>
                    </a:lnTo>
                    <a:lnTo>
                      <a:pt x="246" y="36"/>
                    </a:lnTo>
                    <a:lnTo>
                      <a:pt x="252" y="36"/>
                    </a:lnTo>
                    <a:lnTo>
                      <a:pt x="252" y="42"/>
                    </a:lnTo>
                    <a:lnTo>
                      <a:pt x="252" y="48"/>
                    </a:lnTo>
                    <a:lnTo>
                      <a:pt x="258" y="48"/>
                    </a:lnTo>
                    <a:lnTo>
                      <a:pt x="258" y="54"/>
                    </a:lnTo>
                    <a:lnTo>
                      <a:pt x="258" y="60"/>
                    </a:lnTo>
                    <a:lnTo>
                      <a:pt x="258" y="66"/>
                    </a:lnTo>
                    <a:lnTo>
                      <a:pt x="258" y="72"/>
                    </a:lnTo>
                    <a:lnTo>
                      <a:pt x="264" y="72"/>
                    </a:lnTo>
                    <a:lnTo>
                      <a:pt x="264" y="78"/>
                    </a:lnTo>
                    <a:lnTo>
                      <a:pt x="270" y="78"/>
                    </a:lnTo>
                    <a:lnTo>
                      <a:pt x="270" y="84"/>
                    </a:lnTo>
                    <a:lnTo>
                      <a:pt x="270" y="90"/>
                    </a:lnTo>
                    <a:lnTo>
                      <a:pt x="276" y="90"/>
                    </a:lnTo>
                    <a:lnTo>
                      <a:pt x="276" y="96"/>
                    </a:lnTo>
                    <a:lnTo>
                      <a:pt x="282" y="96"/>
                    </a:lnTo>
                    <a:lnTo>
                      <a:pt x="282" y="102"/>
                    </a:lnTo>
                    <a:lnTo>
                      <a:pt x="282" y="108"/>
                    </a:lnTo>
                    <a:lnTo>
                      <a:pt x="288" y="108"/>
                    </a:lnTo>
                    <a:lnTo>
                      <a:pt x="288" y="114"/>
                    </a:lnTo>
                    <a:lnTo>
                      <a:pt x="294" y="114"/>
                    </a:lnTo>
                    <a:lnTo>
                      <a:pt x="300" y="114"/>
                    </a:lnTo>
                    <a:lnTo>
                      <a:pt x="306" y="108"/>
                    </a:lnTo>
                    <a:lnTo>
                      <a:pt x="306" y="114"/>
                    </a:lnTo>
                    <a:lnTo>
                      <a:pt x="312" y="114"/>
                    </a:lnTo>
                    <a:lnTo>
                      <a:pt x="312" y="108"/>
                    </a:lnTo>
                    <a:lnTo>
                      <a:pt x="318" y="108"/>
                    </a:lnTo>
                    <a:lnTo>
                      <a:pt x="324" y="108"/>
                    </a:lnTo>
                    <a:lnTo>
                      <a:pt x="330" y="108"/>
                    </a:lnTo>
                    <a:lnTo>
                      <a:pt x="336" y="108"/>
                    </a:lnTo>
                    <a:lnTo>
                      <a:pt x="336" y="102"/>
                    </a:lnTo>
                    <a:lnTo>
                      <a:pt x="348" y="102"/>
                    </a:lnTo>
                    <a:lnTo>
                      <a:pt x="348" y="108"/>
                    </a:lnTo>
                    <a:lnTo>
                      <a:pt x="378" y="108"/>
                    </a:lnTo>
                    <a:lnTo>
                      <a:pt x="378" y="102"/>
                    </a:lnTo>
                    <a:lnTo>
                      <a:pt x="378" y="96"/>
                    </a:lnTo>
                    <a:lnTo>
                      <a:pt x="378" y="90"/>
                    </a:lnTo>
                    <a:lnTo>
                      <a:pt x="378" y="84"/>
                    </a:lnTo>
                    <a:lnTo>
                      <a:pt x="384" y="84"/>
                    </a:lnTo>
                    <a:lnTo>
                      <a:pt x="384" y="78"/>
                    </a:lnTo>
                    <a:lnTo>
                      <a:pt x="384" y="72"/>
                    </a:lnTo>
                    <a:lnTo>
                      <a:pt x="384" y="66"/>
                    </a:lnTo>
                    <a:lnTo>
                      <a:pt x="384" y="60"/>
                    </a:lnTo>
                    <a:lnTo>
                      <a:pt x="390" y="60"/>
                    </a:lnTo>
                    <a:lnTo>
                      <a:pt x="384" y="60"/>
                    </a:lnTo>
                    <a:lnTo>
                      <a:pt x="426" y="60"/>
                    </a:lnTo>
                    <a:lnTo>
                      <a:pt x="426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8" y="66"/>
                    </a:lnTo>
                    <a:lnTo>
                      <a:pt x="438" y="72"/>
                    </a:lnTo>
                    <a:lnTo>
                      <a:pt x="456" y="72"/>
                    </a:lnTo>
                    <a:lnTo>
                      <a:pt x="498" y="72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78"/>
                    </a:lnTo>
                    <a:lnTo>
                      <a:pt x="504" y="78"/>
                    </a:lnTo>
                    <a:lnTo>
                      <a:pt x="498" y="84"/>
                    </a:lnTo>
                    <a:lnTo>
                      <a:pt x="504" y="84"/>
                    </a:lnTo>
                    <a:lnTo>
                      <a:pt x="498" y="84"/>
                    </a:lnTo>
                    <a:lnTo>
                      <a:pt x="498" y="90"/>
                    </a:lnTo>
                    <a:lnTo>
                      <a:pt x="498" y="96"/>
                    </a:lnTo>
                    <a:lnTo>
                      <a:pt x="498" y="102"/>
                    </a:lnTo>
                    <a:lnTo>
                      <a:pt x="498" y="108"/>
                    </a:lnTo>
                    <a:lnTo>
                      <a:pt x="504" y="114"/>
                    </a:lnTo>
                    <a:lnTo>
                      <a:pt x="504" y="120"/>
                    </a:lnTo>
                    <a:lnTo>
                      <a:pt x="504" y="126"/>
                    </a:lnTo>
                    <a:lnTo>
                      <a:pt x="504" y="132"/>
                    </a:lnTo>
                    <a:lnTo>
                      <a:pt x="504" y="138"/>
                    </a:lnTo>
                    <a:lnTo>
                      <a:pt x="504" y="144"/>
                    </a:lnTo>
                    <a:lnTo>
                      <a:pt x="504" y="150"/>
                    </a:lnTo>
                    <a:lnTo>
                      <a:pt x="504" y="156"/>
                    </a:lnTo>
                    <a:lnTo>
                      <a:pt x="504" y="162"/>
                    </a:lnTo>
                    <a:lnTo>
                      <a:pt x="498" y="162"/>
                    </a:lnTo>
                    <a:lnTo>
                      <a:pt x="504" y="168"/>
                    </a:lnTo>
                    <a:lnTo>
                      <a:pt x="498" y="168"/>
                    </a:lnTo>
                    <a:lnTo>
                      <a:pt x="498" y="174"/>
                    </a:lnTo>
                    <a:lnTo>
                      <a:pt x="498" y="180"/>
                    </a:lnTo>
                    <a:lnTo>
                      <a:pt x="498" y="186"/>
                    </a:lnTo>
                    <a:lnTo>
                      <a:pt x="504" y="186"/>
                    </a:lnTo>
                    <a:lnTo>
                      <a:pt x="504" y="192"/>
                    </a:lnTo>
                    <a:lnTo>
                      <a:pt x="510" y="192"/>
                    </a:lnTo>
                    <a:lnTo>
                      <a:pt x="510" y="198"/>
                    </a:lnTo>
                    <a:lnTo>
                      <a:pt x="516" y="198"/>
                    </a:lnTo>
                    <a:lnTo>
                      <a:pt x="516" y="204"/>
                    </a:lnTo>
                    <a:lnTo>
                      <a:pt x="522" y="210"/>
                    </a:lnTo>
                    <a:lnTo>
                      <a:pt x="522" y="216"/>
                    </a:lnTo>
                    <a:lnTo>
                      <a:pt x="522" y="222"/>
                    </a:lnTo>
                    <a:lnTo>
                      <a:pt x="522" y="228"/>
                    </a:lnTo>
                    <a:lnTo>
                      <a:pt x="522" y="234"/>
                    </a:lnTo>
                    <a:lnTo>
                      <a:pt x="522" y="240"/>
                    </a:lnTo>
                    <a:lnTo>
                      <a:pt x="528" y="240"/>
                    </a:lnTo>
                    <a:lnTo>
                      <a:pt x="528" y="246"/>
                    </a:lnTo>
                    <a:lnTo>
                      <a:pt x="522" y="246"/>
                    </a:lnTo>
                    <a:lnTo>
                      <a:pt x="516" y="246"/>
                    </a:lnTo>
                    <a:lnTo>
                      <a:pt x="516" y="252"/>
                    </a:lnTo>
                    <a:lnTo>
                      <a:pt x="516" y="258"/>
                    </a:lnTo>
                    <a:lnTo>
                      <a:pt x="522" y="258"/>
                    </a:lnTo>
                    <a:lnTo>
                      <a:pt x="522" y="264"/>
                    </a:lnTo>
                    <a:lnTo>
                      <a:pt x="522" y="270"/>
                    </a:lnTo>
                    <a:lnTo>
                      <a:pt x="528" y="264"/>
                    </a:lnTo>
                    <a:lnTo>
                      <a:pt x="534" y="264"/>
                    </a:lnTo>
                    <a:lnTo>
                      <a:pt x="534" y="258"/>
                    </a:lnTo>
                    <a:lnTo>
                      <a:pt x="540" y="258"/>
                    </a:lnTo>
                    <a:lnTo>
                      <a:pt x="546" y="264"/>
                    </a:lnTo>
                    <a:lnTo>
                      <a:pt x="546" y="258"/>
                    </a:lnTo>
                    <a:lnTo>
                      <a:pt x="552" y="258"/>
                    </a:lnTo>
                    <a:lnTo>
                      <a:pt x="558" y="258"/>
                    </a:lnTo>
                    <a:lnTo>
                      <a:pt x="558" y="264"/>
                    </a:lnTo>
                    <a:lnTo>
                      <a:pt x="564" y="264"/>
                    </a:lnTo>
                    <a:lnTo>
                      <a:pt x="564" y="258"/>
                    </a:lnTo>
                    <a:lnTo>
                      <a:pt x="570" y="258"/>
                    </a:lnTo>
                    <a:lnTo>
                      <a:pt x="576" y="258"/>
                    </a:lnTo>
                    <a:lnTo>
                      <a:pt x="576" y="252"/>
                    </a:lnTo>
                    <a:lnTo>
                      <a:pt x="582" y="252"/>
                    </a:lnTo>
                    <a:lnTo>
                      <a:pt x="588" y="252"/>
                    </a:lnTo>
                    <a:lnTo>
                      <a:pt x="588" y="258"/>
                    </a:lnTo>
                    <a:lnTo>
                      <a:pt x="594" y="258"/>
                    </a:lnTo>
                    <a:lnTo>
                      <a:pt x="600" y="258"/>
                    </a:lnTo>
                    <a:lnTo>
                      <a:pt x="606" y="252"/>
                    </a:lnTo>
                    <a:lnTo>
                      <a:pt x="612" y="252"/>
                    </a:lnTo>
                    <a:lnTo>
                      <a:pt x="606" y="258"/>
                    </a:lnTo>
                    <a:lnTo>
                      <a:pt x="606" y="264"/>
                    </a:lnTo>
                    <a:lnTo>
                      <a:pt x="612" y="264"/>
                    </a:lnTo>
                    <a:lnTo>
                      <a:pt x="612" y="270"/>
                    </a:lnTo>
                    <a:lnTo>
                      <a:pt x="612" y="276"/>
                    </a:lnTo>
                    <a:lnTo>
                      <a:pt x="612" y="282"/>
                    </a:lnTo>
                    <a:lnTo>
                      <a:pt x="606" y="282"/>
                    </a:lnTo>
                    <a:lnTo>
                      <a:pt x="606" y="288"/>
                    </a:lnTo>
                    <a:lnTo>
                      <a:pt x="606" y="294"/>
                    </a:lnTo>
                    <a:lnTo>
                      <a:pt x="612" y="294"/>
                    </a:lnTo>
                    <a:lnTo>
                      <a:pt x="606" y="300"/>
                    </a:lnTo>
                    <a:lnTo>
                      <a:pt x="606" y="306"/>
                    </a:lnTo>
                    <a:lnTo>
                      <a:pt x="606" y="312"/>
                    </a:lnTo>
                    <a:lnTo>
                      <a:pt x="606" y="318"/>
                    </a:lnTo>
                    <a:lnTo>
                      <a:pt x="612" y="318"/>
                    </a:lnTo>
                    <a:lnTo>
                      <a:pt x="612" y="324"/>
                    </a:lnTo>
                    <a:lnTo>
                      <a:pt x="612" y="330"/>
                    </a:lnTo>
                    <a:lnTo>
                      <a:pt x="606" y="330"/>
                    </a:lnTo>
                    <a:lnTo>
                      <a:pt x="606" y="336"/>
                    </a:lnTo>
                    <a:lnTo>
                      <a:pt x="606" y="342"/>
                    </a:lnTo>
                    <a:lnTo>
                      <a:pt x="606" y="348"/>
                    </a:lnTo>
                    <a:lnTo>
                      <a:pt x="612" y="354"/>
                    </a:lnTo>
                    <a:lnTo>
                      <a:pt x="510" y="354"/>
                    </a:lnTo>
                    <a:lnTo>
                      <a:pt x="510" y="516"/>
                    </a:lnTo>
                    <a:lnTo>
                      <a:pt x="516" y="522"/>
                    </a:lnTo>
                    <a:lnTo>
                      <a:pt x="516" y="528"/>
                    </a:lnTo>
                    <a:lnTo>
                      <a:pt x="516" y="534"/>
                    </a:lnTo>
                    <a:lnTo>
                      <a:pt x="522" y="534"/>
                    </a:lnTo>
                    <a:lnTo>
                      <a:pt x="528" y="540"/>
                    </a:lnTo>
                    <a:lnTo>
                      <a:pt x="534" y="546"/>
                    </a:lnTo>
                    <a:lnTo>
                      <a:pt x="540" y="552"/>
                    </a:lnTo>
                    <a:lnTo>
                      <a:pt x="540" y="558"/>
                    </a:lnTo>
                    <a:lnTo>
                      <a:pt x="546" y="558"/>
                    </a:lnTo>
                    <a:lnTo>
                      <a:pt x="546" y="564"/>
                    </a:lnTo>
                    <a:lnTo>
                      <a:pt x="552" y="564"/>
                    </a:lnTo>
                    <a:lnTo>
                      <a:pt x="558" y="570"/>
                    </a:lnTo>
                    <a:lnTo>
                      <a:pt x="564" y="570"/>
                    </a:lnTo>
                    <a:lnTo>
                      <a:pt x="564" y="576"/>
                    </a:lnTo>
                    <a:lnTo>
                      <a:pt x="570" y="576"/>
                    </a:lnTo>
                    <a:lnTo>
                      <a:pt x="570" y="582"/>
                    </a:lnTo>
                    <a:lnTo>
                      <a:pt x="576" y="582"/>
                    </a:lnTo>
                    <a:lnTo>
                      <a:pt x="582" y="582"/>
                    </a:lnTo>
                    <a:lnTo>
                      <a:pt x="582" y="588"/>
                    </a:lnTo>
                    <a:lnTo>
                      <a:pt x="552" y="588"/>
                    </a:lnTo>
                    <a:lnTo>
                      <a:pt x="480" y="606"/>
                    </a:lnTo>
                    <a:lnTo>
                      <a:pt x="474" y="600"/>
                    </a:lnTo>
                    <a:lnTo>
                      <a:pt x="468" y="600"/>
                    </a:lnTo>
                    <a:lnTo>
                      <a:pt x="462" y="600"/>
                    </a:lnTo>
                    <a:lnTo>
                      <a:pt x="456" y="600"/>
                    </a:lnTo>
                    <a:lnTo>
                      <a:pt x="456" y="606"/>
                    </a:lnTo>
                    <a:lnTo>
                      <a:pt x="450" y="606"/>
                    </a:lnTo>
                    <a:lnTo>
                      <a:pt x="444" y="606"/>
                    </a:lnTo>
                    <a:lnTo>
                      <a:pt x="444" y="600"/>
                    </a:lnTo>
                    <a:lnTo>
                      <a:pt x="438" y="600"/>
                    </a:lnTo>
                    <a:lnTo>
                      <a:pt x="432" y="600"/>
                    </a:lnTo>
                    <a:lnTo>
                      <a:pt x="426" y="600"/>
                    </a:lnTo>
                    <a:lnTo>
                      <a:pt x="426" y="594"/>
                    </a:lnTo>
                    <a:lnTo>
                      <a:pt x="426" y="600"/>
                    </a:lnTo>
                    <a:lnTo>
                      <a:pt x="420" y="600"/>
                    </a:lnTo>
                    <a:lnTo>
                      <a:pt x="414" y="600"/>
                    </a:lnTo>
                    <a:lnTo>
                      <a:pt x="408" y="600"/>
                    </a:lnTo>
                    <a:lnTo>
                      <a:pt x="402" y="594"/>
                    </a:lnTo>
                    <a:lnTo>
                      <a:pt x="402" y="600"/>
                    </a:lnTo>
                    <a:lnTo>
                      <a:pt x="396" y="600"/>
                    </a:lnTo>
                    <a:lnTo>
                      <a:pt x="396" y="594"/>
                    </a:lnTo>
                    <a:lnTo>
                      <a:pt x="390" y="594"/>
                    </a:lnTo>
                    <a:lnTo>
                      <a:pt x="390" y="600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84" y="594"/>
                    </a:lnTo>
                    <a:lnTo>
                      <a:pt x="384" y="600"/>
                    </a:lnTo>
                    <a:lnTo>
                      <a:pt x="378" y="600"/>
                    </a:lnTo>
                    <a:lnTo>
                      <a:pt x="378" y="594"/>
                    </a:lnTo>
                    <a:lnTo>
                      <a:pt x="372" y="594"/>
                    </a:lnTo>
                    <a:lnTo>
                      <a:pt x="366" y="594"/>
                    </a:lnTo>
                    <a:lnTo>
                      <a:pt x="360" y="594"/>
                    </a:lnTo>
                    <a:lnTo>
                      <a:pt x="354" y="594"/>
                    </a:lnTo>
                    <a:lnTo>
                      <a:pt x="348" y="594"/>
                    </a:lnTo>
                    <a:lnTo>
                      <a:pt x="348" y="588"/>
                    </a:lnTo>
                    <a:lnTo>
                      <a:pt x="342" y="588"/>
                    </a:lnTo>
                    <a:lnTo>
                      <a:pt x="342" y="582"/>
                    </a:lnTo>
                    <a:lnTo>
                      <a:pt x="336" y="582"/>
                    </a:lnTo>
                    <a:lnTo>
                      <a:pt x="336" y="576"/>
                    </a:lnTo>
                    <a:lnTo>
                      <a:pt x="330" y="576"/>
                    </a:lnTo>
                    <a:lnTo>
                      <a:pt x="264" y="576"/>
                    </a:lnTo>
                    <a:lnTo>
                      <a:pt x="258" y="576"/>
                    </a:lnTo>
                    <a:lnTo>
                      <a:pt x="144" y="576"/>
                    </a:lnTo>
                    <a:lnTo>
                      <a:pt x="120" y="570"/>
                    </a:lnTo>
                    <a:lnTo>
                      <a:pt x="120" y="576"/>
                    </a:lnTo>
                    <a:lnTo>
                      <a:pt x="114" y="576"/>
                    </a:lnTo>
                    <a:lnTo>
                      <a:pt x="108" y="576"/>
                    </a:lnTo>
                    <a:lnTo>
                      <a:pt x="108" y="570"/>
                    </a:lnTo>
                    <a:lnTo>
                      <a:pt x="102" y="570"/>
                    </a:lnTo>
                    <a:lnTo>
                      <a:pt x="96" y="570"/>
                    </a:lnTo>
                    <a:lnTo>
                      <a:pt x="96" y="564"/>
                    </a:lnTo>
                    <a:lnTo>
                      <a:pt x="90" y="564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90" y="558"/>
                    </a:lnTo>
                    <a:lnTo>
                      <a:pt x="84" y="558"/>
                    </a:lnTo>
                    <a:lnTo>
                      <a:pt x="84" y="552"/>
                    </a:lnTo>
                    <a:lnTo>
                      <a:pt x="78" y="552"/>
                    </a:lnTo>
                    <a:lnTo>
                      <a:pt x="72" y="552"/>
                    </a:lnTo>
                    <a:lnTo>
                      <a:pt x="66" y="552"/>
                    </a:lnTo>
                    <a:lnTo>
                      <a:pt x="60" y="552"/>
                    </a:lnTo>
                    <a:lnTo>
                      <a:pt x="54" y="558"/>
                    </a:lnTo>
                    <a:lnTo>
                      <a:pt x="48" y="558"/>
                    </a:lnTo>
                    <a:lnTo>
                      <a:pt x="48" y="564"/>
                    </a:lnTo>
                    <a:lnTo>
                      <a:pt x="42" y="564"/>
                    </a:lnTo>
                    <a:lnTo>
                      <a:pt x="36" y="564"/>
                    </a:lnTo>
                    <a:lnTo>
                      <a:pt x="36" y="570"/>
                    </a:lnTo>
                    <a:lnTo>
                      <a:pt x="36" y="564"/>
                    </a:lnTo>
                    <a:lnTo>
                      <a:pt x="30" y="564"/>
                    </a:lnTo>
                    <a:lnTo>
                      <a:pt x="24" y="564"/>
                    </a:lnTo>
                    <a:lnTo>
                      <a:pt x="18" y="564"/>
                    </a:lnTo>
                    <a:lnTo>
                      <a:pt x="12" y="564"/>
                    </a:lnTo>
                    <a:lnTo>
                      <a:pt x="6" y="564"/>
                    </a:lnTo>
                    <a:lnTo>
                      <a:pt x="0" y="564"/>
                    </a:lnTo>
                    <a:lnTo>
                      <a:pt x="0" y="570"/>
                    </a:lnTo>
                    <a:lnTo>
                      <a:pt x="0" y="564"/>
                    </a:lnTo>
                    <a:lnTo>
                      <a:pt x="0" y="552"/>
                    </a:lnTo>
                    <a:lnTo>
                      <a:pt x="0" y="546"/>
                    </a:lnTo>
                    <a:lnTo>
                      <a:pt x="6" y="540"/>
                    </a:lnTo>
                    <a:lnTo>
                      <a:pt x="6" y="534"/>
                    </a:lnTo>
                    <a:lnTo>
                      <a:pt x="6" y="528"/>
                    </a:lnTo>
                    <a:lnTo>
                      <a:pt x="0" y="522"/>
                    </a:lnTo>
                    <a:lnTo>
                      <a:pt x="0" y="510"/>
                    </a:lnTo>
                    <a:lnTo>
                      <a:pt x="0" y="504"/>
                    </a:lnTo>
                    <a:lnTo>
                      <a:pt x="0" y="498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0" y="492"/>
                    </a:lnTo>
                    <a:lnTo>
                      <a:pt x="6" y="492"/>
                    </a:lnTo>
                    <a:lnTo>
                      <a:pt x="6" y="486"/>
                    </a:lnTo>
                    <a:lnTo>
                      <a:pt x="12" y="486"/>
                    </a:lnTo>
                    <a:lnTo>
                      <a:pt x="12" y="480"/>
                    </a:lnTo>
                    <a:lnTo>
                      <a:pt x="12" y="474"/>
                    </a:lnTo>
                    <a:lnTo>
                      <a:pt x="12" y="468"/>
                    </a:lnTo>
                    <a:lnTo>
                      <a:pt x="18" y="462"/>
                    </a:lnTo>
                    <a:lnTo>
                      <a:pt x="18" y="456"/>
                    </a:lnTo>
                    <a:lnTo>
                      <a:pt x="18" y="450"/>
                    </a:lnTo>
                    <a:lnTo>
                      <a:pt x="24" y="450"/>
                    </a:lnTo>
                    <a:lnTo>
                      <a:pt x="24" y="444"/>
                    </a:lnTo>
                    <a:lnTo>
                      <a:pt x="24" y="438"/>
                    </a:lnTo>
                    <a:lnTo>
                      <a:pt x="24" y="432"/>
                    </a:lnTo>
                    <a:lnTo>
                      <a:pt x="30" y="432"/>
                    </a:lnTo>
                    <a:lnTo>
                      <a:pt x="30" y="426"/>
                    </a:lnTo>
                    <a:lnTo>
                      <a:pt x="30" y="420"/>
                    </a:lnTo>
                    <a:lnTo>
                      <a:pt x="30" y="414"/>
                    </a:lnTo>
                    <a:lnTo>
                      <a:pt x="30" y="408"/>
                    </a:lnTo>
                    <a:lnTo>
                      <a:pt x="30" y="402"/>
                    </a:lnTo>
                    <a:lnTo>
                      <a:pt x="36" y="402"/>
                    </a:lnTo>
                    <a:lnTo>
                      <a:pt x="30" y="402"/>
                    </a:lnTo>
                    <a:lnTo>
                      <a:pt x="30" y="396"/>
                    </a:lnTo>
                    <a:lnTo>
                      <a:pt x="36" y="396"/>
                    </a:lnTo>
                    <a:lnTo>
                      <a:pt x="36" y="390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84"/>
                    </a:lnTo>
                    <a:lnTo>
                      <a:pt x="42" y="384"/>
                    </a:lnTo>
                    <a:lnTo>
                      <a:pt x="36" y="378"/>
                    </a:lnTo>
                    <a:lnTo>
                      <a:pt x="42" y="378"/>
                    </a:lnTo>
                    <a:lnTo>
                      <a:pt x="36" y="378"/>
                    </a:lnTo>
                    <a:lnTo>
                      <a:pt x="42" y="372"/>
                    </a:lnTo>
                    <a:lnTo>
                      <a:pt x="42" y="378"/>
                    </a:lnTo>
                    <a:lnTo>
                      <a:pt x="42" y="372"/>
                    </a:lnTo>
                    <a:lnTo>
                      <a:pt x="42" y="366"/>
                    </a:lnTo>
                    <a:lnTo>
                      <a:pt x="48" y="366"/>
                    </a:lnTo>
                    <a:lnTo>
                      <a:pt x="54" y="360"/>
                    </a:lnTo>
                    <a:lnTo>
                      <a:pt x="60" y="354"/>
                    </a:lnTo>
                    <a:lnTo>
                      <a:pt x="60" y="348"/>
                    </a:lnTo>
                    <a:lnTo>
                      <a:pt x="60" y="342"/>
                    </a:lnTo>
                    <a:lnTo>
                      <a:pt x="66" y="342"/>
                    </a:lnTo>
                    <a:lnTo>
                      <a:pt x="66" y="336"/>
                    </a:lnTo>
                    <a:lnTo>
                      <a:pt x="72" y="336"/>
                    </a:lnTo>
                    <a:lnTo>
                      <a:pt x="78" y="336"/>
                    </a:lnTo>
                    <a:lnTo>
                      <a:pt x="84" y="336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84" y="330"/>
                    </a:lnTo>
                    <a:lnTo>
                      <a:pt x="84" y="324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0" y="324"/>
                    </a:lnTo>
                    <a:lnTo>
                      <a:pt x="90" y="318"/>
                    </a:lnTo>
                    <a:lnTo>
                      <a:pt x="96" y="318"/>
                    </a:lnTo>
                    <a:lnTo>
                      <a:pt x="96" y="312"/>
                    </a:lnTo>
                    <a:lnTo>
                      <a:pt x="96" y="306"/>
                    </a:lnTo>
                    <a:lnTo>
                      <a:pt x="102" y="306"/>
                    </a:lnTo>
                    <a:lnTo>
                      <a:pt x="102" y="300"/>
                    </a:lnTo>
                    <a:lnTo>
                      <a:pt x="102" y="294"/>
                    </a:lnTo>
                    <a:lnTo>
                      <a:pt x="102" y="288"/>
                    </a:lnTo>
                    <a:lnTo>
                      <a:pt x="102" y="282"/>
                    </a:lnTo>
                    <a:lnTo>
                      <a:pt x="102" y="276"/>
                    </a:lnTo>
                    <a:lnTo>
                      <a:pt x="102" y="270"/>
                    </a:lnTo>
                    <a:lnTo>
                      <a:pt x="102" y="264"/>
                    </a:lnTo>
                    <a:lnTo>
                      <a:pt x="102" y="258"/>
                    </a:lnTo>
                    <a:lnTo>
                      <a:pt x="102" y="252"/>
                    </a:lnTo>
                    <a:lnTo>
                      <a:pt x="102" y="246"/>
                    </a:lnTo>
                    <a:lnTo>
                      <a:pt x="96" y="246"/>
                    </a:lnTo>
                    <a:lnTo>
                      <a:pt x="96" y="240"/>
                    </a:lnTo>
                    <a:lnTo>
                      <a:pt x="102" y="240"/>
                    </a:lnTo>
                    <a:lnTo>
                      <a:pt x="96" y="234"/>
                    </a:lnTo>
                    <a:lnTo>
                      <a:pt x="90" y="228"/>
                    </a:lnTo>
                    <a:lnTo>
                      <a:pt x="90" y="222"/>
                    </a:lnTo>
                    <a:lnTo>
                      <a:pt x="84" y="216"/>
                    </a:lnTo>
                    <a:lnTo>
                      <a:pt x="90" y="222"/>
                    </a:lnTo>
                    <a:lnTo>
                      <a:pt x="90" y="216"/>
                    </a:lnTo>
                    <a:lnTo>
                      <a:pt x="84" y="216"/>
                    </a:lnTo>
                    <a:lnTo>
                      <a:pt x="84" y="210"/>
                    </a:lnTo>
                    <a:lnTo>
                      <a:pt x="78" y="210"/>
                    </a:lnTo>
                    <a:lnTo>
                      <a:pt x="78" y="204"/>
                    </a:lnTo>
                    <a:lnTo>
                      <a:pt x="78" y="198"/>
                    </a:lnTo>
                    <a:lnTo>
                      <a:pt x="72" y="198"/>
                    </a:lnTo>
                    <a:lnTo>
                      <a:pt x="72" y="192"/>
                    </a:lnTo>
                    <a:lnTo>
                      <a:pt x="72" y="186"/>
                    </a:lnTo>
                    <a:lnTo>
                      <a:pt x="72" y="180"/>
                    </a:lnTo>
                    <a:lnTo>
                      <a:pt x="72" y="174"/>
                    </a:lnTo>
                    <a:lnTo>
                      <a:pt x="66" y="174"/>
                    </a:lnTo>
                    <a:lnTo>
                      <a:pt x="66" y="168"/>
                    </a:lnTo>
                    <a:lnTo>
                      <a:pt x="60" y="162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6" y="150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6" y="156"/>
                    </a:lnTo>
                    <a:lnTo>
                      <a:pt x="60" y="156"/>
                    </a:lnTo>
                    <a:lnTo>
                      <a:pt x="60" y="162"/>
                    </a:lnTo>
                    <a:lnTo>
                      <a:pt x="66" y="156"/>
                    </a:lnTo>
                    <a:lnTo>
                      <a:pt x="72" y="156"/>
                    </a:lnTo>
                    <a:lnTo>
                      <a:pt x="72" y="150"/>
                    </a:lnTo>
                    <a:lnTo>
                      <a:pt x="72" y="144"/>
                    </a:lnTo>
                    <a:lnTo>
                      <a:pt x="78" y="144"/>
                    </a:lnTo>
                    <a:lnTo>
                      <a:pt x="84" y="144"/>
                    </a:lnTo>
                    <a:lnTo>
                      <a:pt x="84" y="138"/>
                    </a:lnTo>
                    <a:lnTo>
                      <a:pt x="78" y="138"/>
                    </a:lnTo>
                    <a:lnTo>
                      <a:pt x="78" y="132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84" y="126"/>
                    </a:lnTo>
                    <a:lnTo>
                      <a:pt x="78" y="126"/>
                    </a:lnTo>
                    <a:lnTo>
                      <a:pt x="78" y="120"/>
                    </a:lnTo>
                    <a:lnTo>
                      <a:pt x="78" y="114"/>
                    </a:lnTo>
                    <a:lnTo>
                      <a:pt x="72" y="114"/>
                    </a:lnTo>
                    <a:lnTo>
                      <a:pt x="72" y="108"/>
                    </a:lnTo>
                    <a:lnTo>
                      <a:pt x="72" y="102"/>
                    </a:lnTo>
                    <a:lnTo>
                      <a:pt x="66" y="102"/>
                    </a:lnTo>
                    <a:lnTo>
                      <a:pt x="66" y="96"/>
                    </a:lnTo>
                    <a:lnTo>
                      <a:pt x="66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54" y="72"/>
                    </a:lnTo>
                    <a:lnTo>
                      <a:pt x="54" y="66"/>
                    </a:lnTo>
                    <a:lnTo>
                      <a:pt x="54" y="60"/>
                    </a:lnTo>
                    <a:lnTo>
                      <a:pt x="54" y="54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2" y="42"/>
                    </a:lnTo>
                    <a:lnTo>
                      <a:pt x="42" y="36"/>
                    </a:lnTo>
                    <a:lnTo>
                      <a:pt x="36" y="36"/>
                    </a:lnTo>
                    <a:lnTo>
                      <a:pt x="36" y="30"/>
                    </a:lnTo>
                    <a:lnTo>
                      <a:pt x="30" y="24"/>
                    </a:lnTo>
                    <a:lnTo>
                      <a:pt x="24" y="18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30" y="12"/>
                    </a:lnTo>
                    <a:lnTo>
                      <a:pt x="24" y="12"/>
                    </a:lnTo>
                    <a:lnTo>
                      <a:pt x="24" y="18"/>
                    </a:lnTo>
                    <a:lnTo>
                      <a:pt x="30" y="12"/>
                    </a:lnTo>
                    <a:lnTo>
                      <a:pt x="36" y="12"/>
                    </a:lnTo>
                    <a:lnTo>
                      <a:pt x="42" y="12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54" y="6"/>
                    </a:lnTo>
                    <a:lnTo>
                      <a:pt x="60" y="6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44" name="Freeform 59"/>
              <p:cNvSpPr>
                <a:spLocks noChangeAspect="1"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2565" y="2549"/>
                <a:ext cx="46" cy="57"/>
              </a:xfrm>
              <a:custGeom>
                <a:avLst/>
                <a:gdLst>
                  <a:gd name="T0" fmla="*/ 0 w 54"/>
                  <a:gd name="T1" fmla="*/ 16 h 66"/>
                  <a:gd name="T2" fmla="*/ 3 w 54"/>
                  <a:gd name="T3" fmla="*/ 14 h 66"/>
                  <a:gd name="T4" fmla="*/ 7 w 54"/>
                  <a:gd name="T5" fmla="*/ 10 h 66"/>
                  <a:gd name="T6" fmla="*/ 9 w 54"/>
                  <a:gd name="T7" fmla="*/ 10 h 66"/>
                  <a:gd name="T8" fmla="*/ 9 w 54"/>
                  <a:gd name="T9" fmla="*/ 7 h 66"/>
                  <a:gd name="T10" fmla="*/ 12 w 54"/>
                  <a:gd name="T11" fmla="*/ 7 h 66"/>
                  <a:gd name="T12" fmla="*/ 16 w 54"/>
                  <a:gd name="T13" fmla="*/ 3 h 66"/>
                  <a:gd name="T14" fmla="*/ 19 w 54"/>
                  <a:gd name="T15" fmla="*/ 3 h 66"/>
                  <a:gd name="T16" fmla="*/ 19 w 54"/>
                  <a:gd name="T17" fmla="*/ 0 h 66"/>
                  <a:gd name="T18" fmla="*/ 22 w 54"/>
                  <a:gd name="T19" fmla="*/ 0 h 66"/>
                  <a:gd name="T20" fmla="*/ 22 w 54"/>
                  <a:gd name="T21" fmla="*/ 3 h 66"/>
                  <a:gd name="T22" fmla="*/ 26 w 54"/>
                  <a:gd name="T23" fmla="*/ 3 h 66"/>
                  <a:gd name="T24" fmla="*/ 26 w 54"/>
                  <a:gd name="T25" fmla="*/ 7 h 66"/>
                  <a:gd name="T26" fmla="*/ 28 w 54"/>
                  <a:gd name="T27" fmla="*/ 7 h 66"/>
                  <a:gd name="T28" fmla="*/ 26 w 54"/>
                  <a:gd name="T29" fmla="*/ 7 h 66"/>
                  <a:gd name="T30" fmla="*/ 26 w 54"/>
                  <a:gd name="T31" fmla="*/ 10 h 66"/>
                  <a:gd name="T32" fmla="*/ 22 w 54"/>
                  <a:gd name="T33" fmla="*/ 10 h 66"/>
                  <a:gd name="T34" fmla="*/ 22 w 54"/>
                  <a:gd name="T35" fmla="*/ 14 h 66"/>
                  <a:gd name="T36" fmla="*/ 19 w 54"/>
                  <a:gd name="T37" fmla="*/ 14 h 66"/>
                  <a:gd name="T38" fmla="*/ 19 w 54"/>
                  <a:gd name="T39" fmla="*/ 16 h 66"/>
                  <a:gd name="T40" fmla="*/ 19 w 54"/>
                  <a:gd name="T41" fmla="*/ 14 h 66"/>
                  <a:gd name="T42" fmla="*/ 19 w 54"/>
                  <a:gd name="T43" fmla="*/ 16 h 66"/>
                  <a:gd name="T44" fmla="*/ 16 w 54"/>
                  <a:gd name="T45" fmla="*/ 16 h 66"/>
                  <a:gd name="T46" fmla="*/ 12 w 54"/>
                  <a:gd name="T47" fmla="*/ 16 h 66"/>
                  <a:gd name="T48" fmla="*/ 12 w 54"/>
                  <a:gd name="T49" fmla="*/ 20 h 66"/>
                  <a:gd name="T50" fmla="*/ 12 w 54"/>
                  <a:gd name="T51" fmla="*/ 23 h 66"/>
                  <a:gd name="T52" fmla="*/ 12 w 54"/>
                  <a:gd name="T53" fmla="*/ 36 h 66"/>
                  <a:gd name="T54" fmla="*/ 7 w 54"/>
                  <a:gd name="T55" fmla="*/ 36 h 66"/>
                  <a:gd name="T56" fmla="*/ 3 w 54"/>
                  <a:gd name="T57" fmla="*/ 36 h 66"/>
                  <a:gd name="T58" fmla="*/ 3 w 54"/>
                  <a:gd name="T59" fmla="*/ 34 h 66"/>
                  <a:gd name="T60" fmla="*/ 3 w 54"/>
                  <a:gd name="T61" fmla="*/ 30 h 66"/>
                  <a:gd name="T62" fmla="*/ 7 w 54"/>
                  <a:gd name="T63" fmla="*/ 30 h 66"/>
                  <a:gd name="T64" fmla="*/ 7 w 54"/>
                  <a:gd name="T65" fmla="*/ 26 h 66"/>
                  <a:gd name="T66" fmla="*/ 3 w 54"/>
                  <a:gd name="T67" fmla="*/ 26 h 66"/>
                  <a:gd name="T68" fmla="*/ 3 w 54"/>
                  <a:gd name="T69" fmla="*/ 23 h 66"/>
                  <a:gd name="T70" fmla="*/ 3 w 54"/>
                  <a:gd name="T71" fmla="*/ 20 h 66"/>
                  <a:gd name="T72" fmla="*/ 0 w 54"/>
                  <a:gd name="T73" fmla="*/ 16 h 6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54" h="66">
                    <a:moveTo>
                      <a:pt x="0" y="30"/>
                    </a:moveTo>
                    <a:lnTo>
                      <a:pt x="6" y="24"/>
                    </a:lnTo>
                    <a:lnTo>
                      <a:pt x="12" y="18"/>
                    </a:lnTo>
                    <a:lnTo>
                      <a:pt x="18" y="18"/>
                    </a:lnTo>
                    <a:lnTo>
                      <a:pt x="18" y="12"/>
                    </a:lnTo>
                    <a:lnTo>
                      <a:pt x="24" y="12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42" y="6"/>
                    </a:lnTo>
                    <a:lnTo>
                      <a:pt x="48" y="6"/>
                    </a:lnTo>
                    <a:lnTo>
                      <a:pt x="48" y="12"/>
                    </a:lnTo>
                    <a:lnTo>
                      <a:pt x="54" y="12"/>
                    </a:lnTo>
                    <a:lnTo>
                      <a:pt x="48" y="12"/>
                    </a:lnTo>
                    <a:lnTo>
                      <a:pt x="48" y="18"/>
                    </a:lnTo>
                    <a:lnTo>
                      <a:pt x="42" y="18"/>
                    </a:lnTo>
                    <a:lnTo>
                      <a:pt x="42" y="24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6" y="24"/>
                    </a:lnTo>
                    <a:lnTo>
                      <a:pt x="36" y="30"/>
                    </a:lnTo>
                    <a:lnTo>
                      <a:pt x="30" y="30"/>
                    </a:lnTo>
                    <a:lnTo>
                      <a:pt x="24" y="30"/>
                    </a:lnTo>
                    <a:lnTo>
                      <a:pt x="24" y="36"/>
                    </a:lnTo>
                    <a:lnTo>
                      <a:pt x="24" y="42"/>
                    </a:lnTo>
                    <a:lnTo>
                      <a:pt x="24" y="66"/>
                    </a:lnTo>
                    <a:lnTo>
                      <a:pt x="12" y="66"/>
                    </a:lnTo>
                    <a:lnTo>
                      <a:pt x="6" y="66"/>
                    </a:lnTo>
                    <a:lnTo>
                      <a:pt x="6" y="60"/>
                    </a:lnTo>
                    <a:lnTo>
                      <a:pt x="6" y="54"/>
                    </a:lnTo>
                    <a:lnTo>
                      <a:pt x="12" y="54"/>
                    </a:lnTo>
                    <a:lnTo>
                      <a:pt x="12" y="48"/>
                    </a:lnTo>
                    <a:lnTo>
                      <a:pt x="6" y="48"/>
                    </a:lnTo>
                    <a:lnTo>
                      <a:pt x="6" y="42"/>
                    </a:lnTo>
                    <a:lnTo>
                      <a:pt x="6" y="36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2605" name="Freeform 60"/>
            <p:cNvSpPr>
              <a:spLocks noChangeAspect="1"/>
            </p:cNvSpPr>
            <p:nvPr>
              <p:custDataLst>
                <p:tags r:id="rId39"/>
              </p:custDataLst>
            </p:nvPr>
          </p:nvSpPr>
          <p:spPr bwMode="auto">
            <a:xfrm>
              <a:off x="2988" y="2713"/>
              <a:ext cx="495" cy="413"/>
            </a:xfrm>
            <a:custGeom>
              <a:avLst/>
              <a:gdLst>
                <a:gd name="T0" fmla="*/ 63 w 582"/>
                <a:gd name="T1" fmla="*/ 75 h 486"/>
                <a:gd name="T2" fmla="*/ 65 w 582"/>
                <a:gd name="T3" fmla="*/ 82 h 486"/>
                <a:gd name="T4" fmla="*/ 85 w 582"/>
                <a:gd name="T5" fmla="*/ 75 h 486"/>
                <a:gd name="T6" fmla="*/ 91 w 582"/>
                <a:gd name="T7" fmla="*/ 91 h 486"/>
                <a:gd name="T8" fmla="*/ 110 w 582"/>
                <a:gd name="T9" fmla="*/ 93 h 486"/>
                <a:gd name="T10" fmla="*/ 122 w 582"/>
                <a:gd name="T11" fmla="*/ 97 h 486"/>
                <a:gd name="T12" fmla="*/ 134 w 582"/>
                <a:gd name="T13" fmla="*/ 84 h 486"/>
                <a:gd name="T14" fmla="*/ 142 w 582"/>
                <a:gd name="T15" fmla="*/ 100 h 486"/>
                <a:gd name="T16" fmla="*/ 157 w 582"/>
                <a:gd name="T17" fmla="*/ 109 h 486"/>
                <a:gd name="T18" fmla="*/ 167 w 582"/>
                <a:gd name="T19" fmla="*/ 116 h 486"/>
                <a:gd name="T20" fmla="*/ 179 w 582"/>
                <a:gd name="T21" fmla="*/ 128 h 486"/>
                <a:gd name="T22" fmla="*/ 188 w 582"/>
                <a:gd name="T23" fmla="*/ 134 h 486"/>
                <a:gd name="T24" fmla="*/ 201 w 582"/>
                <a:gd name="T25" fmla="*/ 134 h 486"/>
                <a:gd name="T26" fmla="*/ 191 w 582"/>
                <a:gd name="T27" fmla="*/ 106 h 486"/>
                <a:gd name="T28" fmla="*/ 176 w 582"/>
                <a:gd name="T29" fmla="*/ 100 h 486"/>
                <a:gd name="T30" fmla="*/ 167 w 582"/>
                <a:gd name="T31" fmla="*/ 91 h 486"/>
                <a:gd name="T32" fmla="*/ 167 w 582"/>
                <a:gd name="T33" fmla="*/ 75 h 486"/>
                <a:gd name="T34" fmla="*/ 173 w 582"/>
                <a:gd name="T35" fmla="*/ 59 h 486"/>
                <a:gd name="T36" fmla="*/ 173 w 582"/>
                <a:gd name="T37" fmla="*/ 43 h 486"/>
                <a:gd name="T38" fmla="*/ 170 w 582"/>
                <a:gd name="T39" fmla="*/ 35 h 486"/>
                <a:gd name="T40" fmla="*/ 167 w 582"/>
                <a:gd name="T41" fmla="*/ 25 h 486"/>
                <a:gd name="T42" fmla="*/ 179 w 582"/>
                <a:gd name="T43" fmla="*/ 6 h 486"/>
                <a:gd name="T44" fmla="*/ 225 w 582"/>
                <a:gd name="T45" fmla="*/ 0 h 486"/>
                <a:gd name="T46" fmla="*/ 245 w 582"/>
                <a:gd name="T47" fmla="*/ 9 h 486"/>
                <a:gd name="T48" fmla="*/ 258 w 582"/>
                <a:gd name="T49" fmla="*/ 19 h 486"/>
                <a:gd name="T50" fmla="*/ 273 w 582"/>
                <a:gd name="T51" fmla="*/ 25 h 486"/>
                <a:gd name="T52" fmla="*/ 286 w 582"/>
                <a:gd name="T53" fmla="*/ 35 h 486"/>
                <a:gd name="T54" fmla="*/ 295 w 582"/>
                <a:gd name="T55" fmla="*/ 41 h 486"/>
                <a:gd name="T56" fmla="*/ 302 w 582"/>
                <a:gd name="T57" fmla="*/ 59 h 486"/>
                <a:gd name="T58" fmla="*/ 293 w 582"/>
                <a:gd name="T59" fmla="*/ 69 h 486"/>
                <a:gd name="T60" fmla="*/ 293 w 582"/>
                <a:gd name="T61" fmla="*/ 84 h 486"/>
                <a:gd name="T62" fmla="*/ 293 w 582"/>
                <a:gd name="T63" fmla="*/ 97 h 486"/>
                <a:gd name="T64" fmla="*/ 295 w 582"/>
                <a:gd name="T65" fmla="*/ 109 h 486"/>
                <a:gd name="T66" fmla="*/ 282 w 582"/>
                <a:gd name="T67" fmla="*/ 119 h 486"/>
                <a:gd name="T68" fmla="*/ 282 w 582"/>
                <a:gd name="T69" fmla="*/ 134 h 486"/>
                <a:gd name="T70" fmla="*/ 282 w 582"/>
                <a:gd name="T71" fmla="*/ 141 h 486"/>
                <a:gd name="T72" fmla="*/ 286 w 582"/>
                <a:gd name="T73" fmla="*/ 147 h 486"/>
                <a:gd name="T74" fmla="*/ 258 w 582"/>
                <a:gd name="T75" fmla="*/ 160 h 486"/>
                <a:gd name="T76" fmla="*/ 223 w 582"/>
                <a:gd name="T77" fmla="*/ 169 h 486"/>
                <a:gd name="T78" fmla="*/ 216 w 582"/>
                <a:gd name="T79" fmla="*/ 185 h 486"/>
                <a:gd name="T80" fmla="*/ 201 w 582"/>
                <a:gd name="T81" fmla="*/ 190 h 486"/>
                <a:gd name="T82" fmla="*/ 182 w 582"/>
                <a:gd name="T83" fmla="*/ 197 h 486"/>
                <a:gd name="T84" fmla="*/ 176 w 582"/>
                <a:gd name="T85" fmla="*/ 203 h 486"/>
                <a:gd name="T86" fmla="*/ 173 w 582"/>
                <a:gd name="T87" fmla="*/ 216 h 486"/>
                <a:gd name="T88" fmla="*/ 138 w 582"/>
                <a:gd name="T89" fmla="*/ 241 h 486"/>
                <a:gd name="T90" fmla="*/ 126 w 582"/>
                <a:gd name="T91" fmla="*/ 251 h 486"/>
                <a:gd name="T92" fmla="*/ 110 w 582"/>
                <a:gd name="T93" fmla="*/ 251 h 486"/>
                <a:gd name="T94" fmla="*/ 97 w 582"/>
                <a:gd name="T95" fmla="*/ 247 h 486"/>
                <a:gd name="T96" fmla="*/ 82 w 582"/>
                <a:gd name="T97" fmla="*/ 247 h 486"/>
                <a:gd name="T98" fmla="*/ 69 w 582"/>
                <a:gd name="T99" fmla="*/ 238 h 486"/>
                <a:gd name="T100" fmla="*/ 37 w 582"/>
                <a:gd name="T101" fmla="*/ 244 h 486"/>
                <a:gd name="T102" fmla="*/ 26 w 582"/>
                <a:gd name="T103" fmla="*/ 235 h 486"/>
                <a:gd name="T104" fmla="*/ 9 w 582"/>
                <a:gd name="T105" fmla="*/ 218 h 486"/>
                <a:gd name="T106" fmla="*/ 54 w 582"/>
                <a:gd name="T107" fmla="*/ 122 h 486"/>
                <a:gd name="T108" fmla="*/ 54 w 582"/>
                <a:gd name="T109" fmla="*/ 104 h 486"/>
                <a:gd name="T110" fmla="*/ 51 w 582"/>
                <a:gd name="T111" fmla="*/ 88 h 486"/>
                <a:gd name="T112" fmla="*/ 51 w 582"/>
                <a:gd name="T113" fmla="*/ 71 h 4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582" h="486">
                  <a:moveTo>
                    <a:pt x="96" y="132"/>
                  </a:moveTo>
                  <a:lnTo>
                    <a:pt x="102" y="132"/>
                  </a:lnTo>
                  <a:lnTo>
                    <a:pt x="108" y="132"/>
                  </a:lnTo>
                  <a:lnTo>
                    <a:pt x="102" y="138"/>
                  </a:lnTo>
                  <a:lnTo>
                    <a:pt x="108" y="138"/>
                  </a:lnTo>
                  <a:lnTo>
                    <a:pt x="114" y="138"/>
                  </a:lnTo>
                  <a:lnTo>
                    <a:pt x="120" y="144"/>
                  </a:lnTo>
                  <a:lnTo>
                    <a:pt x="120" y="150"/>
                  </a:lnTo>
                  <a:lnTo>
                    <a:pt x="114" y="150"/>
                  </a:lnTo>
                  <a:lnTo>
                    <a:pt x="114" y="156"/>
                  </a:lnTo>
                  <a:lnTo>
                    <a:pt x="120" y="156"/>
                  </a:lnTo>
                  <a:lnTo>
                    <a:pt x="120" y="162"/>
                  </a:lnTo>
                  <a:lnTo>
                    <a:pt x="120" y="156"/>
                  </a:lnTo>
                  <a:lnTo>
                    <a:pt x="126" y="156"/>
                  </a:lnTo>
                  <a:lnTo>
                    <a:pt x="132" y="156"/>
                  </a:lnTo>
                  <a:lnTo>
                    <a:pt x="132" y="150"/>
                  </a:lnTo>
                  <a:lnTo>
                    <a:pt x="138" y="150"/>
                  </a:lnTo>
                  <a:lnTo>
                    <a:pt x="144" y="150"/>
                  </a:lnTo>
                  <a:lnTo>
                    <a:pt x="150" y="150"/>
                  </a:lnTo>
                  <a:lnTo>
                    <a:pt x="156" y="150"/>
                  </a:lnTo>
                  <a:lnTo>
                    <a:pt x="162" y="144"/>
                  </a:lnTo>
                  <a:lnTo>
                    <a:pt x="162" y="150"/>
                  </a:lnTo>
                  <a:lnTo>
                    <a:pt x="162" y="156"/>
                  </a:lnTo>
                  <a:lnTo>
                    <a:pt x="162" y="162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68"/>
                  </a:lnTo>
                  <a:lnTo>
                    <a:pt x="174" y="174"/>
                  </a:lnTo>
                  <a:lnTo>
                    <a:pt x="180" y="174"/>
                  </a:lnTo>
                  <a:lnTo>
                    <a:pt x="186" y="174"/>
                  </a:lnTo>
                  <a:lnTo>
                    <a:pt x="192" y="174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80"/>
                  </a:lnTo>
                  <a:lnTo>
                    <a:pt x="210" y="180"/>
                  </a:lnTo>
                  <a:lnTo>
                    <a:pt x="210" y="186"/>
                  </a:lnTo>
                  <a:lnTo>
                    <a:pt x="216" y="186"/>
                  </a:lnTo>
                  <a:lnTo>
                    <a:pt x="216" y="180"/>
                  </a:lnTo>
                  <a:lnTo>
                    <a:pt x="222" y="180"/>
                  </a:lnTo>
                  <a:lnTo>
                    <a:pt x="222" y="186"/>
                  </a:lnTo>
                  <a:lnTo>
                    <a:pt x="228" y="186"/>
                  </a:lnTo>
                  <a:lnTo>
                    <a:pt x="234" y="186"/>
                  </a:lnTo>
                  <a:lnTo>
                    <a:pt x="240" y="186"/>
                  </a:lnTo>
                  <a:lnTo>
                    <a:pt x="246" y="180"/>
                  </a:lnTo>
                  <a:lnTo>
                    <a:pt x="246" y="174"/>
                  </a:lnTo>
                  <a:lnTo>
                    <a:pt x="252" y="168"/>
                  </a:lnTo>
                  <a:lnTo>
                    <a:pt x="246" y="168"/>
                  </a:lnTo>
                  <a:lnTo>
                    <a:pt x="252" y="168"/>
                  </a:lnTo>
                  <a:lnTo>
                    <a:pt x="258" y="162"/>
                  </a:lnTo>
                  <a:lnTo>
                    <a:pt x="258" y="168"/>
                  </a:lnTo>
                  <a:lnTo>
                    <a:pt x="258" y="174"/>
                  </a:lnTo>
                  <a:lnTo>
                    <a:pt x="264" y="174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0" y="186"/>
                  </a:lnTo>
                  <a:lnTo>
                    <a:pt x="270" y="192"/>
                  </a:lnTo>
                  <a:lnTo>
                    <a:pt x="276" y="198"/>
                  </a:lnTo>
                  <a:lnTo>
                    <a:pt x="282" y="198"/>
                  </a:lnTo>
                  <a:lnTo>
                    <a:pt x="288" y="198"/>
                  </a:lnTo>
                  <a:lnTo>
                    <a:pt x="294" y="198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0" y="210"/>
                  </a:lnTo>
                  <a:lnTo>
                    <a:pt x="306" y="204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18" y="216"/>
                  </a:lnTo>
                  <a:lnTo>
                    <a:pt x="324" y="216"/>
                  </a:lnTo>
                  <a:lnTo>
                    <a:pt x="324" y="222"/>
                  </a:lnTo>
                  <a:lnTo>
                    <a:pt x="318" y="222"/>
                  </a:lnTo>
                  <a:lnTo>
                    <a:pt x="324" y="228"/>
                  </a:lnTo>
                  <a:lnTo>
                    <a:pt x="330" y="228"/>
                  </a:lnTo>
                  <a:lnTo>
                    <a:pt x="336" y="228"/>
                  </a:lnTo>
                  <a:lnTo>
                    <a:pt x="336" y="234"/>
                  </a:lnTo>
                  <a:lnTo>
                    <a:pt x="336" y="240"/>
                  </a:lnTo>
                  <a:lnTo>
                    <a:pt x="342" y="240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48" y="258"/>
                  </a:lnTo>
                  <a:lnTo>
                    <a:pt x="348" y="252"/>
                  </a:lnTo>
                  <a:lnTo>
                    <a:pt x="354" y="252"/>
                  </a:lnTo>
                  <a:lnTo>
                    <a:pt x="354" y="258"/>
                  </a:lnTo>
                  <a:lnTo>
                    <a:pt x="360" y="258"/>
                  </a:lnTo>
                  <a:lnTo>
                    <a:pt x="360" y="252"/>
                  </a:lnTo>
                  <a:lnTo>
                    <a:pt x="366" y="252"/>
                  </a:lnTo>
                  <a:lnTo>
                    <a:pt x="372" y="246"/>
                  </a:lnTo>
                  <a:lnTo>
                    <a:pt x="378" y="246"/>
                  </a:lnTo>
                  <a:lnTo>
                    <a:pt x="378" y="252"/>
                  </a:lnTo>
                  <a:lnTo>
                    <a:pt x="378" y="258"/>
                  </a:lnTo>
                  <a:lnTo>
                    <a:pt x="384" y="258"/>
                  </a:lnTo>
                  <a:lnTo>
                    <a:pt x="384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66" y="204"/>
                  </a:lnTo>
                  <a:lnTo>
                    <a:pt x="372" y="204"/>
                  </a:lnTo>
                  <a:lnTo>
                    <a:pt x="372" y="210"/>
                  </a:lnTo>
                  <a:lnTo>
                    <a:pt x="366" y="204"/>
                  </a:lnTo>
                  <a:lnTo>
                    <a:pt x="360" y="204"/>
                  </a:lnTo>
                  <a:lnTo>
                    <a:pt x="354" y="204"/>
                  </a:lnTo>
                  <a:lnTo>
                    <a:pt x="348" y="204"/>
                  </a:lnTo>
                  <a:lnTo>
                    <a:pt x="348" y="198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0" y="186"/>
                  </a:lnTo>
                  <a:lnTo>
                    <a:pt x="330" y="180"/>
                  </a:lnTo>
                  <a:lnTo>
                    <a:pt x="324" y="180"/>
                  </a:lnTo>
                  <a:lnTo>
                    <a:pt x="318" y="174"/>
                  </a:lnTo>
                  <a:lnTo>
                    <a:pt x="318" y="180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18" y="156"/>
                  </a:lnTo>
                  <a:lnTo>
                    <a:pt x="318" y="150"/>
                  </a:lnTo>
                  <a:lnTo>
                    <a:pt x="318" y="144"/>
                  </a:lnTo>
                  <a:lnTo>
                    <a:pt x="324" y="144"/>
                  </a:lnTo>
                  <a:lnTo>
                    <a:pt x="318" y="144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24" y="132"/>
                  </a:lnTo>
                  <a:lnTo>
                    <a:pt x="324" y="126"/>
                  </a:lnTo>
                  <a:lnTo>
                    <a:pt x="324" y="120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30" y="108"/>
                  </a:lnTo>
                  <a:lnTo>
                    <a:pt x="330" y="102"/>
                  </a:lnTo>
                  <a:lnTo>
                    <a:pt x="324" y="102"/>
                  </a:lnTo>
                  <a:lnTo>
                    <a:pt x="324" y="96"/>
                  </a:lnTo>
                  <a:lnTo>
                    <a:pt x="330" y="96"/>
                  </a:lnTo>
                  <a:lnTo>
                    <a:pt x="330" y="90"/>
                  </a:lnTo>
                  <a:lnTo>
                    <a:pt x="330" y="84"/>
                  </a:lnTo>
                  <a:lnTo>
                    <a:pt x="330" y="78"/>
                  </a:lnTo>
                  <a:lnTo>
                    <a:pt x="330" y="72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30" y="66"/>
                  </a:lnTo>
                  <a:lnTo>
                    <a:pt x="324" y="66"/>
                  </a:lnTo>
                  <a:lnTo>
                    <a:pt x="324" y="60"/>
                  </a:lnTo>
                  <a:lnTo>
                    <a:pt x="324" y="54"/>
                  </a:lnTo>
                  <a:lnTo>
                    <a:pt x="318" y="54"/>
                  </a:lnTo>
                  <a:lnTo>
                    <a:pt x="318" y="60"/>
                  </a:lnTo>
                  <a:lnTo>
                    <a:pt x="318" y="54"/>
                  </a:lnTo>
                  <a:lnTo>
                    <a:pt x="312" y="54"/>
                  </a:lnTo>
                  <a:lnTo>
                    <a:pt x="318" y="48"/>
                  </a:lnTo>
                  <a:lnTo>
                    <a:pt x="318" y="42"/>
                  </a:lnTo>
                  <a:lnTo>
                    <a:pt x="330" y="42"/>
                  </a:lnTo>
                  <a:lnTo>
                    <a:pt x="330" y="36"/>
                  </a:lnTo>
                  <a:lnTo>
                    <a:pt x="336" y="36"/>
                  </a:lnTo>
                  <a:lnTo>
                    <a:pt x="342" y="24"/>
                  </a:lnTo>
                  <a:lnTo>
                    <a:pt x="342" y="18"/>
                  </a:lnTo>
                  <a:lnTo>
                    <a:pt x="342" y="12"/>
                  </a:lnTo>
                  <a:lnTo>
                    <a:pt x="378" y="6"/>
                  </a:lnTo>
                  <a:lnTo>
                    <a:pt x="390" y="6"/>
                  </a:lnTo>
                  <a:lnTo>
                    <a:pt x="396" y="0"/>
                  </a:lnTo>
                  <a:lnTo>
                    <a:pt x="402" y="0"/>
                  </a:lnTo>
                  <a:lnTo>
                    <a:pt x="414" y="0"/>
                  </a:lnTo>
                  <a:lnTo>
                    <a:pt x="426" y="0"/>
                  </a:lnTo>
                  <a:lnTo>
                    <a:pt x="432" y="0"/>
                  </a:lnTo>
                  <a:lnTo>
                    <a:pt x="438" y="0"/>
                  </a:lnTo>
                  <a:lnTo>
                    <a:pt x="438" y="6"/>
                  </a:lnTo>
                  <a:lnTo>
                    <a:pt x="444" y="18"/>
                  </a:lnTo>
                  <a:lnTo>
                    <a:pt x="450" y="18"/>
                  </a:lnTo>
                  <a:lnTo>
                    <a:pt x="456" y="18"/>
                  </a:lnTo>
                  <a:lnTo>
                    <a:pt x="462" y="18"/>
                  </a:lnTo>
                  <a:lnTo>
                    <a:pt x="468" y="18"/>
                  </a:lnTo>
                  <a:lnTo>
                    <a:pt x="474" y="18"/>
                  </a:lnTo>
                  <a:lnTo>
                    <a:pt x="474" y="24"/>
                  </a:lnTo>
                  <a:lnTo>
                    <a:pt x="474" y="30"/>
                  </a:lnTo>
                  <a:lnTo>
                    <a:pt x="480" y="30"/>
                  </a:lnTo>
                  <a:lnTo>
                    <a:pt x="486" y="30"/>
                  </a:lnTo>
                  <a:lnTo>
                    <a:pt x="492" y="30"/>
                  </a:lnTo>
                  <a:lnTo>
                    <a:pt x="492" y="36"/>
                  </a:lnTo>
                  <a:lnTo>
                    <a:pt x="492" y="42"/>
                  </a:lnTo>
                  <a:lnTo>
                    <a:pt x="498" y="42"/>
                  </a:lnTo>
                  <a:lnTo>
                    <a:pt x="504" y="42"/>
                  </a:lnTo>
                  <a:lnTo>
                    <a:pt x="510" y="42"/>
                  </a:lnTo>
                  <a:lnTo>
                    <a:pt x="516" y="42"/>
                  </a:lnTo>
                  <a:lnTo>
                    <a:pt x="522" y="42"/>
                  </a:lnTo>
                  <a:lnTo>
                    <a:pt x="522" y="48"/>
                  </a:lnTo>
                  <a:lnTo>
                    <a:pt x="528" y="48"/>
                  </a:lnTo>
                  <a:lnTo>
                    <a:pt x="534" y="48"/>
                  </a:lnTo>
                  <a:lnTo>
                    <a:pt x="534" y="54"/>
                  </a:lnTo>
                  <a:lnTo>
                    <a:pt x="540" y="54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6" y="66"/>
                  </a:lnTo>
                  <a:lnTo>
                    <a:pt x="546" y="72"/>
                  </a:lnTo>
                  <a:lnTo>
                    <a:pt x="552" y="72"/>
                  </a:lnTo>
                  <a:lnTo>
                    <a:pt x="552" y="66"/>
                  </a:lnTo>
                  <a:lnTo>
                    <a:pt x="558" y="66"/>
                  </a:lnTo>
                  <a:lnTo>
                    <a:pt x="558" y="72"/>
                  </a:lnTo>
                  <a:lnTo>
                    <a:pt x="558" y="78"/>
                  </a:lnTo>
                  <a:lnTo>
                    <a:pt x="564" y="78"/>
                  </a:lnTo>
                  <a:lnTo>
                    <a:pt x="564" y="84"/>
                  </a:lnTo>
                  <a:lnTo>
                    <a:pt x="558" y="90"/>
                  </a:lnTo>
                  <a:lnTo>
                    <a:pt x="564" y="90"/>
                  </a:lnTo>
                  <a:lnTo>
                    <a:pt x="570" y="96"/>
                  </a:lnTo>
                  <a:lnTo>
                    <a:pt x="570" y="102"/>
                  </a:lnTo>
                  <a:lnTo>
                    <a:pt x="576" y="108"/>
                  </a:lnTo>
                  <a:lnTo>
                    <a:pt x="576" y="114"/>
                  </a:lnTo>
                  <a:lnTo>
                    <a:pt x="582" y="114"/>
                  </a:lnTo>
                  <a:lnTo>
                    <a:pt x="576" y="114"/>
                  </a:lnTo>
                  <a:lnTo>
                    <a:pt x="576" y="120"/>
                  </a:lnTo>
                  <a:lnTo>
                    <a:pt x="570" y="120"/>
                  </a:lnTo>
                  <a:lnTo>
                    <a:pt x="570" y="126"/>
                  </a:lnTo>
                  <a:lnTo>
                    <a:pt x="564" y="126"/>
                  </a:lnTo>
                  <a:lnTo>
                    <a:pt x="558" y="132"/>
                  </a:lnTo>
                  <a:lnTo>
                    <a:pt x="558" y="138"/>
                  </a:lnTo>
                  <a:lnTo>
                    <a:pt x="564" y="138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58" y="150"/>
                  </a:lnTo>
                  <a:lnTo>
                    <a:pt x="558" y="156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62"/>
                  </a:lnTo>
                  <a:lnTo>
                    <a:pt x="558" y="168"/>
                  </a:lnTo>
                  <a:lnTo>
                    <a:pt x="558" y="174"/>
                  </a:lnTo>
                  <a:lnTo>
                    <a:pt x="564" y="174"/>
                  </a:lnTo>
                  <a:lnTo>
                    <a:pt x="558" y="180"/>
                  </a:lnTo>
                  <a:lnTo>
                    <a:pt x="558" y="186"/>
                  </a:lnTo>
                  <a:lnTo>
                    <a:pt x="558" y="192"/>
                  </a:lnTo>
                  <a:lnTo>
                    <a:pt x="558" y="198"/>
                  </a:lnTo>
                  <a:lnTo>
                    <a:pt x="564" y="198"/>
                  </a:lnTo>
                  <a:lnTo>
                    <a:pt x="564" y="204"/>
                  </a:lnTo>
                  <a:lnTo>
                    <a:pt x="570" y="204"/>
                  </a:lnTo>
                  <a:lnTo>
                    <a:pt x="570" y="210"/>
                  </a:lnTo>
                  <a:lnTo>
                    <a:pt x="564" y="210"/>
                  </a:lnTo>
                  <a:lnTo>
                    <a:pt x="558" y="210"/>
                  </a:lnTo>
                  <a:lnTo>
                    <a:pt x="558" y="216"/>
                  </a:lnTo>
                  <a:lnTo>
                    <a:pt x="552" y="216"/>
                  </a:lnTo>
                  <a:lnTo>
                    <a:pt x="546" y="216"/>
                  </a:lnTo>
                  <a:lnTo>
                    <a:pt x="546" y="222"/>
                  </a:lnTo>
                  <a:lnTo>
                    <a:pt x="540" y="222"/>
                  </a:lnTo>
                  <a:lnTo>
                    <a:pt x="540" y="228"/>
                  </a:lnTo>
                  <a:lnTo>
                    <a:pt x="546" y="228"/>
                  </a:lnTo>
                  <a:lnTo>
                    <a:pt x="546" y="234"/>
                  </a:lnTo>
                  <a:lnTo>
                    <a:pt x="546" y="240"/>
                  </a:lnTo>
                  <a:lnTo>
                    <a:pt x="546" y="246"/>
                  </a:lnTo>
                  <a:lnTo>
                    <a:pt x="540" y="246"/>
                  </a:lnTo>
                  <a:lnTo>
                    <a:pt x="540" y="252"/>
                  </a:lnTo>
                  <a:lnTo>
                    <a:pt x="540" y="258"/>
                  </a:lnTo>
                  <a:lnTo>
                    <a:pt x="534" y="264"/>
                  </a:lnTo>
                  <a:lnTo>
                    <a:pt x="528" y="264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34" y="264"/>
                  </a:lnTo>
                  <a:lnTo>
                    <a:pt x="534" y="270"/>
                  </a:lnTo>
                  <a:lnTo>
                    <a:pt x="540" y="270"/>
                  </a:lnTo>
                  <a:lnTo>
                    <a:pt x="534" y="270"/>
                  </a:lnTo>
                  <a:lnTo>
                    <a:pt x="534" y="276"/>
                  </a:lnTo>
                  <a:lnTo>
                    <a:pt x="540" y="276"/>
                  </a:lnTo>
                  <a:lnTo>
                    <a:pt x="540" y="282"/>
                  </a:lnTo>
                  <a:lnTo>
                    <a:pt x="546" y="282"/>
                  </a:lnTo>
                  <a:lnTo>
                    <a:pt x="546" y="288"/>
                  </a:lnTo>
                  <a:lnTo>
                    <a:pt x="546" y="282"/>
                  </a:lnTo>
                  <a:lnTo>
                    <a:pt x="552" y="282"/>
                  </a:lnTo>
                  <a:lnTo>
                    <a:pt x="558" y="288"/>
                  </a:lnTo>
                  <a:lnTo>
                    <a:pt x="528" y="294"/>
                  </a:lnTo>
                  <a:lnTo>
                    <a:pt x="516" y="300"/>
                  </a:lnTo>
                  <a:lnTo>
                    <a:pt x="510" y="300"/>
                  </a:lnTo>
                  <a:lnTo>
                    <a:pt x="498" y="306"/>
                  </a:lnTo>
                  <a:lnTo>
                    <a:pt x="492" y="306"/>
                  </a:lnTo>
                  <a:lnTo>
                    <a:pt x="486" y="306"/>
                  </a:lnTo>
                  <a:lnTo>
                    <a:pt x="480" y="312"/>
                  </a:lnTo>
                  <a:lnTo>
                    <a:pt x="468" y="318"/>
                  </a:lnTo>
                  <a:lnTo>
                    <a:pt x="456" y="318"/>
                  </a:lnTo>
                  <a:lnTo>
                    <a:pt x="450" y="318"/>
                  </a:lnTo>
                  <a:lnTo>
                    <a:pt x="438" y="324"/>
                  </a:lnTo>
                  <a:lnTo>
                    <a:pt x="426" y="324"/>
                  </a:lnTo>
                  <a:lnTo>
                    <a:pt x="420" y="330"/>
                  </a:lnTo>
                  <a:lnTo>
                    <a:pt x="414" y="330"/>
                  </a:lnTo>
                  <a:lnTo>
                    <a:pt x="408" y="336"/>
                  </a:lnTo>
                  <a:lnTo>
                    <a:pt x="408" y="342"/>
                  </a:lnTo>
                  <a:lnTo>
                    <a:pt x="408" y="348"/>
                  </a:lnTo>
                  <a:lnTo>
                    <a:pt x="414" y="348"/>
                  </a:lnTo>
                  <a:lnTo>
                    <a:pt x="414" y="354"/>
                  </a:lnTo>
                  <a:lnTo>
                    <a:pt x="414" y="360"/>
                  </a:lnTo>
                  <a:lnTo>
                    <a:pt x="414" y="366"/>
                  </a:lnTo>
                  <a:lnTo>
                    <a:pt x="408" y="366"/>
                  </a:lnTo>
                  <a:lnTo>
                    <a:pt x="402" y="366"/>
                  </a:lnTo>
                  <a:lnTo>
                    <a:pt x="396" y="366"/>
                  </a:lnTo>
                  <a:lnTo>
                    <a:pt x="390" y="366"/>
                  </a:lnTo>
                  <a:lnTo>
                    <a:pt x="384" y="366"/>
                  </a:lnTo>
                  <a:lnTo>
                    <a:pt x="378" y="366"/>
                  </a:lnTo>
                  <a:lnTo>
                    <a:pt x="372" y="366"/>
                  </a:lnTo>
                  <a:lnTo>
                    <a:pt x="366" y="366"/>
                  </a:lnTo>
                  <a:lnTo>
                    <a:pt x="366" y="372"/>
                  </a:lnTo>
                  <a:lnTo>
                    <a:pt x="360" y="372"/>
                  </a:lnTo>
                  <a:lnTo>
                    <a:pt x="354" y="372"/>
                  </a:lnTo>
                  <a:lnTo>
                    <a:pt x="348" y="378"/>
                  </a:lnTo>
                  <a:lnTo>
                    <a:pt x="348" y="384"/>
                  </a:lnTo>
                  <a:lnTo>
                    <a:pt x="342" y="384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42" y="390"/>
                  </a:lnTo>
                  <a:lnTo>
                    <a:pt x="336" y="390"/>
                  </a:lnTo>
                  <a:lnTo>
                    <a:pt x="336" y="396"/>
                  </a:lnTo>
                  <a:lnTo>
                    <a:pt x="342" y="396"/>
                  </a:lnTo>
                  <a:lnTo>
                    <a:pt x="336" y="396"/>
                  </a:lnTo>
                  <a:lnTo>
                    <a:pt x="336" y="402"/>
                  </a:lnTo>
                  <a:lnTo>
                    <a:pt x="336" y="408"/>
                  </a:lnTo>
                  <a:lnTo>
                    <a:pt x="336" y="414"/>
                  </a:lnTo>
                  <a:lnTo>
                    <a:pt x="330" y="414"/>
                  </a:lnTo>
                  <a:lnTo>
                    <a:pt x="312" y="420"/>
                  </a:lnTo>
                  <a:lnTo>
                    <a:pt x="306" y="426"/>
                  </a:lnTo>
                  <a:lnTo>
                    <a:pt x="288" y="432"/>
                  </a:lnTo>
                  <a:lnTo>
                    <a:pt x="276" y="444"/>
                  </a:lnTo>
                  <a:lnTo>
                    <a:pt x="276" y="450"/>
                  </a:lnTo>
                  <a:lnTo>
                    <a:pt x="276" y="456"/>
                  </a:lnTo>
                  <a:lnTo>
                    <a:pt x="264" y="462"/>
                  </a:lnTo>
                  <a:lnTo>
                    <a:pt x="258" y="468"/>
                  </a:lnTo>
                  <a:lnTo>
                    <a:pt x="252" y="474"/>
                  </a:lnTo>
                  <a:lnTo>
                    <a:pt x="252" y="480"/>
                  </a:lnTo>
                  <a:lnTo>
                    <a:pt x="246" y="480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40" y="480"/>
                  </a:lnTo>
                  <a:lnTo>
                    <a:pt x="240" y="486"/>
                  </a:lnTo>
                  <a:lnTo>
                    <a:pt x="234" y="486"/>
                  </a:lnTo>
                  <a:lnTo>
                    <a:pt x="228" y="486"/>
                  </a:lnTo>
                  <a:lnTo>
                    <a:pt x="222" y="486"/>
                  </a:lnTo>
                  <a:lnTo>
                    <a:pt x="222" y="480"/>
                  </a:lnTo>
                  <a:lnTo>
                    <a:pt x="216" y="480"/>
                  </a:lnTo>
                  <a:lnTo>
                    <a:pt x="210" y="480"/>
                  </a:lnTo>
                  <a:lnTo>
                    <a:pt x="204" y="480"/>
                  </a:lnTo>
                  <a:lnTo>
                    <a:pt x="198" y="480"/>
                  </a:lnTo>
                  <a:lnTo>
                    <a:pt x="198" y="486"/>
                  </a:lnTo>
                  <a:lnTo>
                    <a:pt x="192" y="486"/>
                  </a:lnTo>
                  <a:lnTo>
                    <a:pt x="192" y="480"/>
                  </a:lnTo>
                  <a:lnTo>
                    <a:pt x="186" y="480"/>
                  </a:lnTo>
                  <a:lnTo>
                    <a:pt x="186" y="474"/>
                  </a:lnTo>
                  <a:lnTo>
                    <a:pt x="180" y="474"/>
                  </a:lnTo>
                  <a:lnTo>
                    <a:pt x="174" y="474"/>
                  </a:lnTo>
                  <a:lnTo>
                    <a:pt x="174" y="480"/>
                  </a:lnTo>
                  <a:lnTo>
                    <a:pt x="174" y="474"/>
                  </a:lnTo>
                  <a:lnTo>
                    <a:pt x="168" y="474"/>
                  </a:lnTo>
                  <a:lnTo>
                    <a:pt x="162" y="474"/>
                  </a:lnTo>
                  <a:lnTo>
                    <a:pt x="156" y="474"/>
                  </a:lnTo>
                  <a:lnTo>
                    <a:pt x="156" y="468"/>
                  </a:lnTo>
                  <a:lnTo>
                    <a:pt x="150" y="468"/>
                  </a:lnTo>
                  <a:lnTo>
                    <a:pt x="150" y="462"/>
                  </a:lnTo>
                  <a:lnTo>
                    <a:pt x="144" y="462"/>
                  </a:lnTo>
                  <a:lnTo>
                    <a:pt x="138" y="462"/>
                  </a:lnTo>
                  <a:lnTo>
                    <a:pt x="132" y="462"/>
                  </a:lnTo>
                  <a:lnTo>
                    <a:pt x="132" y="456"/>
                  </a:lnTo>
                  <a:lnTo>
                    <a:pt x="132" y="462"/>
                  </a:lnTo>
                  <a:lnTo>
                    <a:pt x="126" y="462"/>
                  </a:lnTo>
                  <a:lnTo>
                    <a:pt x="120" y="462"/>
                  </a:lnTo>
                  <a:lnTo>
                    <a:pt x="120" y="456"/>
                  </a:lnTo>
                  <a:lnTo>
                    <a:pt x="114" y="456"/>
                  </a:lnTo>
                  <a:lnTo>
                    <a:pt x="108" y="456"/>
                  </a:lnTo>
                  <a:lnTo>
                    <a:pt x="72" y="468"/>
                  </a:lnTo>
                  <a:lnTo>
                    <a:pt x="72" y="462"/>
                  </a:lnTo>
                  <a:lnTo>
                    <a:pt x="66" y="462"/>
                  </a:lnTo>
                  <a:lnTo>
                    <a:pt x="60" y="462"/>
                  </a:lnTo>
                  <a:lnTo>
                    <a:pt x="60" y="456"/>
                  </a:lnTo>
                  <a:lnTo>
                    <a:pt x="54" y="456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36" y="438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24" y="426"/>
                  </a:lnTo>
                  <a:lnTo>
                    <a:pt x="18" y="420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396"/>
                  </a:lnTo>
                  <a:lnTo>
                    <a:pt x="0" y="234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102" y="210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96" y="186"/>
                  </a:lnTo>
                  <a:lnTo>
                    <a:pt x="96" y="180"/>
                  </a:lnTo>
                  <a:lnTo>
                    <a:pt x="102" y="174"/>
                  </a:lnTo>
                  <a:lnTo>
                    <a:pt x="96" y="174"/>
                  </a:lnTo>
                  <a:lnTo>
                    <a:pt x="96" y="168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56"/>
                  </a:lnTo>
                  <a:lnTo>
                    <a:pt x="102" y="150"/>
                  </a:lnTo>
                  <a:lnTo>
                    <a:pt x="102" y="144"/>
                  </a:lnTo>
                  <a:lnTo>
                    <a:pt x="96" y="144"/>
                  </a:lnTo>
                  <a:lnTo>
                    <a:pt x="96" y="138"/>
                  </a:lnTo>
                  <a:lnTo>
                    <a:pt x="102" y="132"/>
                  </a:lnTo>
                  <a:lnTo>
                    <a:pt x="96" y="13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06" name="Freeform 61"/>
            <p:cNvSpPr>
              <a:spLocks noChangeAspect="1"/>
            </p:cNvSpPr>
            <p:nvPr>
              <p:custDataLst>
                <p:tags r:id="rId40"/>
              </p:custDataLst>
            </p:nvPr>
          </p:nvSpPr>
          <p:spPr bwMode="auto">
            <a:xfrm>
              <a:off x="3126" y="3024"/>
              <a:ext cx="326" cy="285"/>
            </a:xfrm>
            <a:custGeom>
              <a:avLst/>
              <a:gdLst>
                <a:gd name="T0" fmla="*/ 6 w 384"/>
                <a:gd name="T1" fmla="*/ 59 h 336"/>
                <a:gd name="T2" fmla="*/ 12 w 384"/>
                <a:gd name="T3" fmla="*/ 59 h 336"/>
                <a:gd name="T4" fmla="*/ 19 w 384"/>
                <a:gd name="T5" fmla="*/ 59 h 336"/>
                <a:gd name="T6" fmla="*/ 31 w 384"/>
                <a:gd name="T7" fmla="*/ 59 h 336"/>
                <a:gd name="T8" fmla="*/ 41 w 384"/>
                <a:gd name="T9" fmla="*/ 63 h 336"/>
                <a:gd name="T10" fmla="*/ 43 w 384"/>
                <a:gd name="T11" fmla="*/ 59 h 336"/>
                <a:gd name="T12" fmla="*/ 53 w 384"/>
                <a:gd name="T13" fmla="*/ 50 h 336"/>
                <a:gd name="T14" fmla="*/ 65 w 384"/>
                <a:gd name="T15" fmla="*/ 35 h 336"/>
                <a:gd name="T16" fmla="*/ 91 w 384"/>
                <a:gd name="T17" fmla="*/ 25 h 336"/>
                <a:gd name="T18" fmla="*/ 93 w 384"/>
                <a:gd name="T19" fmla="*/ 15 h 336"/>
                <a:gd name="T20" fmla="*/ 91 w 384"/>
                <a:gd name="T21" fmla="*/ 12 h 336"/>
                <a:gd name="T22" fmla="*/ 97 w 384"/>
                <a:gd name="T23" fmla="*/ 9 h 336"/>
                <a:gd name="T24" fmla="*/ 106 w 384"/>
                <a:gd name="T25" fmla="*/ 3 h 336"/>
                <a:gd name="T26" fmla="*/ 115 w 384"/>
                <a:gd name="T27" fmla="*/ 0 h 336"/>
                <a:gd name="T28" fmla="*/ 127 w 384"/>
                <a:gd name="T29" fmla="*/ 0 h 336"/>
                <a:gd name="T30" fmla="*/ 146 w 384"/>
                <a:gd name="T31" fmla="*/ 12 h 336"/>
                <a:gd name="T32" fmla="*/ 155 w 384"/>
                <a:gd name="T33" fmla="*/ 9 h 336"/>
                <a:gd name="T34" fmla="*/ 165 w 384"/>
                <a:gd name="T35" fmla="*/ 15 h 336"/>
                <a:gd name="T36" fmla="*/ 174 w 384"/>
                <a:gd name="T37" fmla="*/ 22 h 336"/>
                <a:gd name="T38" fmla="*/ 190 w 384"/>
                <a:gd name="T39" fmla="*/ 25 h 336"/>
                <a:gd name="T40" fmla="*/ 200 w 384"/>
                <a:gd name="T41" fmla="*/ 28 h 336"/>
                <a:gd name="T42" fmla="*/ 197 w 384"/>
                <a:gd name="T43" fmla="*/ 35 h 336"/>
                <a:gd name="T44" fmla="*/ 200 w 384"/>
                <a:gd name="T45" fmla="*/ 46 h 336"/>
                <a:gd name="T46" fmla="*/ 200 w 384"/>
                <a:gd name="T47" fmla="*/ 53 h 336"/>
                <a:gd name="T48" fmla="*/ 200 w 384"/>
                <a:gd name="T49" fmla="*/ 59 h 336"/>
                <a:gd name="T50" fmla="*/ 200 w 384"/>
                <a:gd name="T51" fmla="*/ 65 h 336"/>
                <a:gd name="T52" fmla="*/ 197 w 384"/>
                <a:gd name="T53" fmla="*/ 74 h 336"/>
                <a:gd name="T54" fmla="*/ 190 w 384"/>
                <a:gd name="T55" fmla="*/ 81 h 336"/>
                <a:gd name="T56" fmla="*/ 190 w 384"/>
                <a:gd name="T57" fmla="*/ 87 h 336"/>
                <a:gd name="T58" fmla="*/ 197 w 384"/>
                <a:gd name="T59" fmla="*/ 93 h 336"/>
                <a:gd name="T60" fmla="*/ 194 w 384"/>
                <a:gd name="T61" fmla="*/ 99 h 336"/>
                <a:gd name="T62" fmla="*/ 197 w 384"/>
                <a:gd name="T63" fmla="*/ 106 h 336"/>
                <a:gd name="T64" fmla="*/ 197 w 384"/>
                <a:gd name="T65" fmla="*/ 106 h 336"/>
                <a:gd name="T66" fmla="*/ 197 w 384"/>
                <a:gd name="T67" fmla="*/ 115 h 336"/>
                <a:gd name="T68" fmla="*/ 197 w 384"/>
                <a:gd name="T69" fmla="*/ 121 h 336"/>
                <a:gd name="T70" fmla="*/ 188 w 384"/>
                <a:gd name="T71" fmla="*/ 127 h 336"/>
                <a:gd name="T72" fmla="*/ 184 w 384"/>
                <a:gd name="T73" fmla="*/ 140 h 336"/>
                <a:gd name="T74" fmla="*/ 184 w 384"/>
                <a:gd name="T75" fmla="*/ 146 h 336"/>
                <a:gd name="T76" fmla="*/ 155 w 384"/>
                <a:gd name="T77" fmla="*/ 174 h 336"/>
                <a:gd name="T78" fmla="*/ 150 w 384"/>
                <a:gd name="T79" fmla="*/ 174 h 336"/>
                <a:gd name="T80" fmla="*/ 137 w 384"/>
                <a:gd name="T81" fmla="*/ 171 h 336"/>
                <a:gd name="T82" fmla="*/ 127 w 384"/>
                <a:gd name="T83" fmla="*/ 171 h 336"/>
                <a:gd name="T84" fmla="*/ 115 w 384"/>
                <a:gd name="T85" fmla="*/ 168 h 336"/>
                <a:gd name="T86" fmla="*/ 103 w 384"/>
                <a:gd name="T87" fmla="*/ 168 h 336"/>
                <a:gd name="T88" fmla="*/ 97 w 384"/>
                <a:gd name="T89" fmla="*/ 162 h 336"/>
                <a:gd name="T90" fmla="*/ 91 w 384"/>
                <a:gd name="T91" fmla="*/ 154 h 336"/>
                <a:gd name="T92" fmla="*/ 78 w 384"/>
                <a:gd name="T93" fmla="*/ 152 h 336"/>
                <a:gd name="T94" fmla="*/ 71 w 384"/>
                <a:gd name="T95" fmla="*/ 152 h 336"/>
                <a:gd name="T96" fmla="*/ 65 w 384"/>
                <a:gd name="T97" fmla="*/ 146 h 336"/>
                <a:gd name="T98" fmla="*/ 63 w 384"/>
                <a:gd name="T99" fmla="*/ 137 h 336"/>
                <a:gd name="T100" fmla="*/ 63 w 384"/>
                <a:gd name="T101" fmla="*/ 125 h 336"/>
                <a:gd name="T102" fmla="*/ 50 w 384"/>
                <a:gd name="T103" fmla="*/ 125 h 336"/>
                <a:gd name="T104" fmla="*/ 50 w 384"/>
                <a:gd name="T105" fmla="*/ 115 h 336"/>
                <a:gd name="T106" fmla="*/ 41 w 384"/>
                <a:gd name="T107" fmla="*/ 111 h 336"/>
                <a:gd name="T108" fmla="*/ 31 w 384"/>
                <a:gd name="T109" fmla="*/ 106 h 336"/>
                <a:gd name="T110" fmla="*/ 22 w 384"/>
                <a:gd name="T111" fmla="*/ 103 h 336"/>
                <a:gd name="T112" fmla="*/ 19 w 384"/>
                <a:gd name="T113" fmla="*/ 91 h 336"/>
                <a:gd name="T114" fmla="*/ 12 w 384"/>
                <a:gd name="T115" fmla="*/ 81 h 336"/>
                <a:gd name="T116" fmla="*/ 6 w 384"/>
                <a:gd name="T117" fmla="*/ 71 h 336"/>
                <a:gd name="T118" fmla="*/ 3 w 384"/>
                <a:gd name="T119" fmla="*/ 63 h 3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84" h="336">
                  <a:moveTo>
                    <a:pt x="0" y="108"/>
                  </a:moveTo>
                  <a:lnTo>
                    <a:pt x="6" y="108"/>
                  </a:lnTo>
                  <a:lnTo>
                    <a:pt x="12" y="108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24" y="108"/>
                  </a:lnTo>
                  <a:lnTo>
                    <a:pt x="24" y="114"/>
                  </a:lnTo>
                  <a:lnTo>
                    <a:pt x="30" y="114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48" y="114"/>
                  </a:lnTo>
                  <a:lnTo>
                    <a:pt x="54" y="114"/>
                  </a:lnTo>
                  <a:lnTo>
                    <a:pt x="60" y="114"/>
                  </a:lnTo>
                  <a:lnTo>
                    <a:pt x="60" y="120"/>
                  </a:lnTo>
                  <a:lnTo>
                    <a:pt x="66" y="120"/>
                  </a:lnTo>
                  <a:lnTo>
                    <a:pt x="72" y="120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14"/>
                  </a:lnTo>
                  <a:lnTo>
                    <a:pt x="90" y="114"/>
                  </a:lnTo>
                  <a:lnTo>
                    <a:pt x="90" y="108"/>
                  </a:lnTo>
                  <a:lnTo>
                    <a:pt x="96" y="102"/>
                  </a:lnTo>
                  <a:lnTo>
                    <a:pt x="102" y="96"/>
                  </a:lnTo>
                  <a:lnTo>
                    <a:pt x="114" y="90"/>
                  </a:lnTo>
                  <a:lnTo>
                    <a:pt x="114" y="84"/>
                  </a:lnTo>
                  <a:lnTo>
                    <a:pt x="114" y="78"/>
                  </a:lnTo>
                  <a:lnTo>
                    <a:pt x="126" y="66"/>
                  </a:lnTo>
                  <a:lnTo>
                    <a:pt x="144" y="60"/>
                  </a:lnTo>
                  <a:lnTo>
                    <a:pt x="150" y="54"/>
                  </a:lnTo>
                  <a:lnTo>
                    <a:pt x="168" y="48"/>
                  </a:lnTo>
                  <a:lnTo>
                    <a:pt x="174" y="48"/>
                  </a:lnTo>
                  <a:lnTo>
                    <a:pt x="174" y="42"/>
                  </a:lnTo>
                  <a:lnTo>
                    <a:pt x="174" y="36"/>
                  </a:lnTo>
                  <a:lnTo>
                    <a:pt x="174" y="30"/>
                  </a:lnTo>
                  <a:lnTo>
                    <a:pt x="180" y="30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80" y="18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92" y="6"/>
                  </a:lnTo>
                  <a:lnTo>
                    <a:pt x="198" y="6"/>
                  </a:lnTo>
                  <a:lnTo>
                    <a:pt x="204" y="6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22" y="0"/>
                  </a:lnTo>
                  <a:lnTo>
                    <a:pt x="228" y="0"/>
                  </a:lnTo>
                  <a:lnTo>
                    <a:pt x="234" y="0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2" y="18"/>
                  </a:lnTo>
                  <a:lnTo>
                    <a:pt x="282" y="18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6" y="24"/>
                  </a:lnTo>
                  <a:lnTo>
                    <a:pt x="312" y="30"/>
                  </a:lnTo>
                  <a:lnTo>
                    <a:pt x="318" y="30"/>
                  </a:lnTo>
                  <a:lnTo>
                    <a:pt x="324" y="30"/>
                  </a:lnTo>
                  <a:lnTo>
                    <a:pt x="324" y="36"/>
                  </a:lnTo>
                  <a:lnTo>
                    <a:pt x="330" y="36"/>
                  </a:lnTo>
                  <a:lnTo>
                    <a:pt x="336" y="42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8"/>
                  </a:lnTo>
                  <a:lnTo>
                    <a:pt x="366" y="54"/>
                  </a:lnTo>
                  <a:lnTo>
                    <a:pt x="372" y="54"/>
                  </a:lnTo>
                  <a:lnTo>
                    <a:pt x="378" y="54"/>
                  </a:lnTo>
                  <a:lnTo>
                    <a:pt x="384" y="54"/>
                  </a:lnTo>
                  <a:lnTo>
                    <a:pt x="378" y="60"/>
                  </a:lnTo>
                  <a:lnTo>
                    <a:pt x="378" y="66"/>
                  </a:lnTo>
                  <a:lnTo>
                    <a:pt x="372" y="66"/>
                  </a:lnTo>
                  <a:lnTo>
                    <a:pt x="378" y="66"/>
                  </a:lnTo>
                  <a:lnTo>
                    <a:pt x="378" y="72"/>
                  </a:lnTo>
                  <a:lnTo>
                    <a:pt x="384" y="78"/>
                  </a:lnTo>
                  <a:lnTo>
                    <a:pt x="384" y="84"/>
                  </a:lnTo>
                  <a:lnTo>
                    <a:pt x="384" y="90"/>
                  </a:lnTo>
                  <a:lnTo>
                    <a:pt x="378" y="90"/>
                  </a:lnTo>
                  <a:lnTo>
                    <a:pt x="378" y="96"/>
                  </a:lnTo>
                  <a:lnTo>
                    <a:pt x="384" y="96"/>
                  </a:lnTo>
                  <a:lnTo>
                    <a:pt x="384" y="102"/>
                  </a:lnTo>
                  <a:lnTo>
                    <a:pt x="384" y="108"/>
                  </a:lnTo>
                  <a:lnTo>
                    <a:pt x="378" y="108"/>
                  </a:lnTo>
                  <a:lnTo>
                    <a:pt x="378" y="114"/>
                  </a:lnTo>
                  <a:lnTo>
                    <a:pt x="384" y="114"/>
                  </a:lnTo>
                  <a:lnTo>
                    <a:pt x="378" y="114"/>
                  </a:lnTo>
                  <a:lnTo>
                    <a:pt x="378" y="120"/>
                  </a:lnTo>
                  <a:lnTo>
                    <a:pt x="384" y="120"/>
                  </a:lnTo>
                  <a:lnTo>
                    <a:pt x="384" y="126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78" y="144"/>
                  </a:lnTo>
                  <a:lnTo>
                    <a:pt x="378" y="150"/>
                  </a:lnTo>
                  <a:lnTo>
                    <a:pt x="378" y="156"/>
                  </a:lnTo>
                  <a:lnTo>
                    <a:pt x="372" y="156"/>
                  </a:lnTo>
                  <a:lnTo>
                    <a:pt x="366" y="156"/>
                  </a:lnTo>
                  <a:lnTo>
                    <a:pt x="366" y="162"/>
                  </a:lnTo>
                  <a:lnTo>
                    <a:pt x="372" y="162"/>
                  </a:lnTo>
                  <a:lnTo>
                    <a:pt x="366" y="162"/>
                  </a:lnTo>
                  <a:lnTo>
                    <a:pt x="366" y="168"/>
                  </a:lnTo>
                  <a:lnTo>
                    <a:pt x="372" y="168"/>
                  </a:lnTo>
                  <a:lnTo>
                    <a:pt x="378" y="168"/>
                  </a:lnTo>
                  <a:lnTo>
                    <a:pt x="378" y="174"/>
                  </a:lnTo>
                  <a:lnTo>
                    <a:pt x="378" y="180"/>
                  </a:lnTo>
                  <a:lnTo>
                    <a:pt x="372" y="186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2" y="192"/>
                  </a:lnTo>
                  <a:lnTo>
                    <a:pt x="378" y="192"/>
                  </a:lnTo>
                  <a:lnTo>
                    <a:pt x="378" y="198"/>
                  </a:lnTo>
                  <a:lnTo>
                    <a:pt x="372" y="198"/>
                  </a:lnTo>
                  <a:lnTo>
                    <a:pt x="378" y="204"/>
                  </a:lnTo>
                  <a:lnTo>
                    <a:pt x="378" y="198"/>
                  </a:lnTo>
                  <a:lnTo>
                    <a:pt x="384" y="198"/>
                  </a:lnTo>
                  <a:lnTo>
                    <a:pt x="384" y="204"/>
                  </a:lnTo>
                  <a:lnTo>
                    <a:pt x="378" y="204"/>
                  </a:lnTo>
                  <a:lnTo>
                    <a:pt x="384" y="204"/>
                  </a:lnTo>
                  <a:lnTo>
                    <a:pt x="384" y="210"/>
                  </a:lnTo>
                  <a:lnTo>
                    <a:pt x="384" y="216"/>
                  </a:lnTo>
                  <a:lnTo>
                    <a:pt x="378" y="222"/>
                  </a:lnTo>
                  <a:lnTo>
                    <a:pt x="378" y="228"/>
                  </a:lnTo>
                  <a:lnTo>
                    <a:pt x="372" y="228"/>
                  </a:lnTo>
                  <a:lnTo>
                    <a:pt x="378" y="228"/>
                  </a:lnTo>
                  <a:lnTo>
                    <a:pt x="378" y="234"/>
                  </a:lnTo>
                  <a:lnTo>
                    <a:pt x="372" y="234"/>
                  </a:lnTo>
                  <a:lnTo>
                    <a:pt x="372" y="240"/>
                  </a:lnTo>
                  <a:lnTo>
                    <a:pt x="366" y="246"/>
                  </a:lnTo>
                  <a:lnTo>
                    <a:pt x="360" y="246"/>
                  </a:lnTo>
                  <a:lnTo>
                    <a:pt x="360" y="252"/>
                  </a:lnTo>
                  <a:lnTo>
                    <a:pt x="360" y="258"/>
                  </a:lnTo>
                  <a:lnTo>
                    <a:pt x="360" y="264"/>
                  </a:lnTo>
                  <a:lnTo>
                    <a:pt x="354" y="270"/>
                  </a:lnTo>
                  <a:lnTo>
                    <a:pt x="354" y="276"/>
                  </a:lnTo>
                  <a:lnTo>
                    <a:pt x="354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24" y="312"/>
                  </a:lnTo>
                  <a:lnTo>
                    <a:pt x="312" y="330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288" y="330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lnTo>
                    <a:pt x="270" y="330"/>
                  </a:lnTo>
                  <a:lnTo>
                    <a:pt x="264" y="330"/>
                  </a:lnTo>
                  <a:lnTo>
                    <a:pt x="258" y="330"/>
                  </a:lnTo>
                  <a:lnTo>
                    <a:pt x="252" y="336"/>
                  </a:lnTo>
                  <a:lnTo>
                    <a:pt x="246" y="336"/>
                  </a:lnTo>
                  <a:lnTo>
                    <a:pt x="246" y="330"/>
                  </a:lnTo>
                  <a:lnTo>
                    <a:pt x="240" y="330"/>
                  </a:lnTo>
                  <a:lnTo>
                    <a:pt x="234" y="330"/>
                  </a:lnTo>
                  <a:lnTo>
                    <a:pt x="228" y="324"/>
                  </a:lnTo>
                  <a:lnTo>
                    <a:pt x="222" y="324"/>
                  </a:lnTo>
                  <a:lnTo>
                    <a:pt x="216" y="324"/>
                  </a:lnTo>
                  <a:lnTo>
                    <a:pt x="210" y="324"/>
                  </a:lnTo>
                  <a:lnTo>
                    <a:pt x="204" y="324"/>
                  </a:lnTo>
                  <a:lnTo>
                    <a:pt x="198" y="324"/>
                  </a:lnTo>
                  <a:lnTo>
                    <a:pt x="198" y="318"/>
                  </a:lnTo>
                  <a:lnTo>
                    <a:pt x="192" y="318"/>
                  </a:lnTo>
                  <a:lnTo>
                    <a:pt x="186" y="318"/>
                  </a:lnTo>
                  <a:lnTo>
                    <a:pt x="186" y="312"/>
                  </a:lnTo>
                  <a:lnTo>
                    <a:pt x="186" y="306"/>
                  </a:lnTo>
                  <a:lnTo>
                    <a:pt x="180" y="306"/>
                  </a:lnTo>
                  <a:lnTo>
                    <a:pt x="174" y="306"/>
                  </a:lnTo>
                  <a:lnTo>
                    <a:pt x="174" y="300"/>
                  </a:lnTo>
                  <a:lnTo>
                    <a:pt x="168" y="300"/>
                  </a:lnTo>
                  <a:lnTo>
                    <a:pt x="162" y="300"/>
                  </a:lnTo>
                  <a:lnTo>
                    <a:pt x="156" y="300"/>
                  </a:lnTo>
                  <a:lnTo>
                    <a:pt x="150" y="294"/>
                  </a:lnTo>
                  <a:lnTo>
                    <a:pt x="150" y="300"/>
                  </a:lnTo>
                  <a:lnTo>
                    <a:pt x="150" y="294"/>
                  </a:lnTo>
                  <a:lnTo>
                    <a:pt x="14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32" y="288"/>
                  </a:lnTo>
                  <a:lnTo>
                    <a:pt x="132" y="282"/>
                  </a:lnTo>
                  <a:lnTo>
                    <a:pt x="126" y="282"/>
                  </a:lnTo>
                  <a:lnTo>
                    <a:pt x="126" y="276"/>
                  </a:lnTo>
                  <a:lnTo>
                    <a:pt x="120" y="276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20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20" y="240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2" y="240"/>
                  </a:lnTo>
                  <a:lnTo>
                    <a:pt x="96" y="240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96" y="228"/>
                  </a:lnTo>
                  <a:lnTo>
                    <a:pt x="96" y="222"/>
                  </a:lnTo>
                  <a:lnTo>
                    <a:pt x="90" y="222"/>
                  </a:lnTo>
                  <a:lnTo>
                    <a:pt x="90" y="216"/>
                  </a:lnTo>
                  <a:lnTo>
                    <a:pt x="84" y="216"/>
                  </a:lnTo>
                  <a:lnTo>
                    <a:pt x="78" y="216"/>
                  </a:lnTo>
                  <a:lnTo>
                    <a:pt x="72" y="216"/>
                  </a:lnTo>
                  <a:lnTo>
                    <a:pt x="72" y="210"/>
                  </a:lnTo>
                  <a:lnTo>
                    <a:pt x="66" y="210"/>
                  </a:lnTo>
                  <a:lnTo>
                    <a:pt x="60" y="204"/>
                  </a:lnTo>
                  <a:lnTo>
                    <a:pt x="54" y="204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2" y="198"/>
                  </a:lnTo>
                  <a:lnTo>
                    <a:pt x="42" y="192"/>
                  </a:lnTo>
                  <a:lnTo>
                    <a:pt x="42" y="186"/>
                  </a:lnTo>
                  <a:lnTo>
                    <a:pt x="36" y="180"/>
                  </a:lnTo>
                  <a:lnTo>
                    <a:pt x="36" y="174"/>
                  </a:lnTo>
                  <a:lnTo>
                    <a:pt x="36" y="168"/>
                  </a:lnTo>
                  <a:lnTo>
                    <a:pt x="30" y="162"/>
                  </a:lnTo>
                  <a:lnTo>
                    <a:pt x="24" y="162"/>
                  </a:lnTo>
                  <a:lnTo>
                    <a:pt x="24" y="156"/>
                  </a:lnTo>
                  <a:lnTo>
                    <a:pt x="24" y="150"/>
                  </a:lnTo>
                  <a:lnTo>
                    <a:pt x="18" y="150"/>
                  </a:lnTo>
                  <a:lnTo>
                    <a:pt x="18" y="144"/>
                  </a:lnTo>
                  <a:lnTo>
                    <a:pt x="12" y="138"/>
                  </a:lnTo>
                  <a:lnTo>
                    <a:pt x="12" y="132"/>
                  </a:lnTo>
                  <a:lnTo>
                    <a:pt x="6" y="132"/>
                  </a:lnTo>
                  <a:lnTo>
                    <a:pt x="6" y="126"/>
                  </a:lnTo>
                  <a:lnTo>
                    <a:pt x="6" y="120"/>
                  </a:lnTo>
                  <a:lnTo>
                    <a:pt x="0" y="120"/>
                  </a:lnTo>
                  <a:lnTo>
                    <a:pt x="0" y="114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07" name="Freeform 62"/>
            <p:cNvSpPr>
              <a:spLocks noChangeAspect="1"/>
            </p:cNvSpPr>
            <p:nvPr>
              <p:custDataLst>
                <p:tags r:id="rId41"/>
              </p:custDataLst>
            </p:nvPr>
          </p:nvSpPr>
          <p:spPr bwMode="auto">
            <a:xfrm>
              <a:off x="2901" y="3115"/>
              <a:ext cx="398" cy="383"/>
            </a:xfrm>
            <a:custGeom>
              <a:avLst/>
              <a:gdLst>
                <a:gd name="T0" fmla="*/ 142 w 468"/>
                <a:gd name="T1" fmla="*/ 9 h 450"/>
                <a:gd name="T2" fmla="*/ 147 w 468"/>
                <a:gd name="T3" fmla="*/ 22 h 450"/>
                <a:gd name="T4" fmla="*/ 157 w 468"/>
                <a:gd name="T5" fmla="*/ 31 h 450"/>
                <a:gd name="T6" fmla="*/ 160 w 468"/>
                <a:gd name="T7" fmla="*/ 48 h 450"/>
                <a:gd name="T8" fmla="*/ 173 w 468"/>
                <a:gd name="T9" fmla="*/ 54 h 450"/>
                <a:gd name="T10" fmla="*/ 185 w 468"/>
                <a:gd name="T11" fmla="*/ 56 h 450"/>
                <a:gd name="T12" fmla="*/ 191 w 468"/>
                <a:gd name="T13" fmla="*/ 69 h 450"/>
                <a:gd name="T14" fmla="*/ 201 w 468"/>
                <a:gd name="T15" fmla="*/ 69 h 450"/>
                <a:gd name="T16" fmla="*/ 201 w 468"/>
                <a:gd name="T17" fmla="*/ 85 h 450"/>
                <a:gd name="T18" fmla="*/ 208 w 468"/>
                <a:gd name="T19" fmla="*/ 94 h 450"/>
                <a:gd name="T20" fmla="*/ 216 w 468"/>
                <a:gd name="T21" fmla="*/ 100 h 450"/>
                <a:gd name="T22" fmla="*/ 229 w 468"/>
                <a:gd name="T23" fmla="*/ 100 h 450"/>
                <a:gd name="T24" fmla="*/ 236 w 468"/>
                <a:gd name="T25" fmla="*/ 110 h 450"/>
                <a:gd name="T26" fmla="*/ 242 w 468"/>
                <a:gd name="T27" fmla="*/ 114 h 450"/>
                <a:gd name="T28" fmla="*/ 232 w 468"/>
                <a:gd name="T29" fmla="*/ 119 h 450"/>
                <a:gd name="T30" fmla="*/ 223 w 468"/>
                <a:gd name="T31" fmla="*/ 123 h 450"/>
                <a:gd name="T32" fmla="*/ 213 w 468"/>
                <a:gd name="T33" fmla="*/ 126 h 450"/>
                <a:gd name="T34" fmla="*/ 208 w 468"/>
                <a:gd name="T35" fmla="*/ 139 h 450"/>
                <a:gd name="T36" fmla="*/ 197 w 468"/>
                <a:gd name="T37" fmla="*/ 142 h 450"/>
                <a:gd name="T38" fmla="*/ 191 w 468"/>
                <a:gd name="T39" fmla="*/ 145 h 450"/>
                <a:gd name="T40" fmla="*/ 191 w 468"/>
                <a:gd name="T41" fmla="*/ 148 h 450"/>
                <a:gd name="T42" fmla="*/ 182 w 468"/>
                <a:gd name="T43" fmla="*/ 154 h 450"/>
                <a:gd name="T44" fmla="*/ 179 w 468"/>
                <a:gd name="T45" fmla="*/ 160 h 450"/>
                <a:gd name="T46" fmla="*/ 173 w 468"/>
                <a:gd name="T47" fmla="*/ 170 h 450"/>
                <a:gd name="T48" fmla="*/ 170 w 468"/>
                <a:gd name="T49" fmla="*/ 176 h 450"/>
                <a:gd name="T50" fmla="*/ 154 w 468"/>
                <a:gd name="T51" fmla="*/ 180 h 450"/>
                <a:gd name="T52" fmla="*/ 147 w 468"/>
                <a:gd name="T53" fmla="*/ 198 h 450"/>
                <a:gd name="T54" fmla="*/ 138 w 468"/>
                <a:gd name="T55" fmla="*/ 208 h 450"/>
                <a:gd name="T56" fmla="*/ 122 w 468"/>
                <a:gd name="T57" fmla="*/ 208 h 450"/>
                <a:gd name="T58" fmla="*/ 113 w 468"/>
                <a:gd name="T59" fmla="*/ 208 h 450"/>
                <a:gd name="T60" fmla="*/ 100 w 468"/>
                <a:gd name="T61" fmla="*/ 202 h 450"/>
                <a:gd name="T62" fmla="*/ 88 w 468"/>
                <a:gd name="T63" fmla="*/ 196 h 450"/>
                <a:gd name="T64" fmla="*/ 79 w 468"/>
                <a:gd name="T65" fmla="*/ 196 h 450"/>
                <a:gd name="T66" fmla="*/ 72 w 468"/>
                <a:gd name="T67" fmla="*/ 205 h 450"/>
                <a:gd name="T68" fmla="*/ 69 w 468"/>
                <a:gd name="T69" fmla="*/ 214 h 450"/>
                <a:gd name="T70" fmla="*/ 60 w 468"/>
                <a:gd name="T71" fmla="*/ 224 h 450"/>
                <a:gd name="T72" fmla="*/ 51 w 468"/>
                <a:gd name="T73" fmla="*/ 230 h 450"/>
                <a:gd name="T74" fmla="*/ 41 w 468"/>
                <a:gd name="T75" fmla="*/ 236 h 450"/>
                <a:gd name="T76" fmla="*/ 26 w 468"/>
                <a:gd name="T77" fmla="*/ 236 h 450"/>
                <a:gd name="T78" fmla="*/ 16 w 468"/>
                <a:gd name="T79" fmla="*/ 230 h 450"/>
                <a:gd name="T80" fmla="*/ 22 w 468"/>
                <a:gd name="T81" fmla="*/ 220 h 450"/>
                <a:gd name="T82" fmla="*/ 19 w 468"/>
                <a:gd name="T83" fmla="*/ 208 h 450"/>
                <a:gd name="T84" fmla="*/ 16 w 468"/>
                <a:gd name="T85" fmla="*/ 198 h 450"/>
                <a:gd name="T86" fmla="*/ 12 w 468"/>
                <a:gd name="T87" fmla="*/ 192 h 450"/>
                <a:gd name="T88" fmla="*/ 3 w 468"/>
                <a:gd name="T89" fmla="*/ 186 h 450"/>
                <a:gd name="T90" fmla="*/ 26 w 468"/>
                <a:gd name="T91" fmla="*/ 82 h 450"/>
                <a:gd name="T92" fmla="*/ 88 w 468"/>
                <a:gd name="T93" fmla="*/ 7 h 450"/>
                <a:gd name="T94" fmla="*/ 94 w 468"/>
                <a:gd name="T95" fmla="*/ 16 h 450"/>
                <a:gd name="T96" fmla="*/ 104 w 468"/>
                <a:gd name="T97" fmla="*/ 12 h 450"/>
                <a:gd name="T98" fmla="*/ 113 w 468"/>
                <a:gd name="T99" fmla="*/ 7 h 450"/>
                <a:gd name="T100" fmla="*/ 122 w 468"/>
                <a:gd name="T101" fmla="*/ 3 h 450"/>
                <a:gd name="T102" fmla="*/ 134 w 468"/>
                <a:gd name="T103" fmla="*/ 0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468" h="450">
                  <a:moveTo>
                    <a:pt x="264" y="0"/>
                  </a:moveTo>
                  <a:lnTo>
                    <a:pt x="264" y="6"/>
                  </a:lnTo>
                  <a:lnTo>
                    <a:pt x="264" y="12"/>
                  </a:lnTo>
                  <a:lnTo>
                    <a:pt x="270" y="12"/>
                  </a:lnTo>
                  <a:lnTo>
                    <a:pt x="270" y="18"/>
                  </a:lnTo>
                  <a:lnTo>
                    <a:pt x="270" y="24"/>
                  </a:lnTo>
                  <a:lnTo>
                    <a:pt x="276" y="24"/>
                  </a:lnTo>
                  <a:lnTo>
                    <a:pt x="276" y="30"/>
                  </a:lnTo>
                  <a:lnTo>
                    <a:pt x="282" y="36"/>
                  </a:lnTo>
                  <a:lnTo>
                    <a:pt x="282" y="42"/>
                  </a:lnTo>
                  <a:lnTo>
                    <a:pt x="288" y="42"/>
                  </a:lnTo>
                  <a:lnTo>
                    <a:pt x="288" y="48"/>
                  </a:lnTo>
                  <a:lnTo>
                    <a:pt x="288" y="54"/>
                  </a:lnTo>
                  <a:lnTo>
                    <a:pt x="294" y="54"/>
                  </a:lnTo>
                  <a:lnTo>
                    <a:pt x="300" y="60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306" y="78"/>
                  </a:lnTo>
                  <a:lnTo>
                    <a:pt x="306" y="84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18" y="90"/>
                  </a:lnTo>
                  <a:lnTo>
                    <a:pt x="318" y="96"/>
                  </a:lnTo>
                  <a:lnTo>
                    <a:pt x="324" y="96"/>
                  </a:lnTo>
                  <a:lnTo>
                    <a:pt x="330" y="102"/>
                  </a:lnTo>
                  <a:lnTo>
                    <a:pt x="336" y="102"/>
                  </a:lnTo>
                  <a:lnTo>
                    <a:pt x="336" y="108"/>
                  </a:lnTo>
                  <a:lnTo>
                    <a:pt x="342" y="108"/>
                  </a:lnTo>
                  <a:lnTo>
                    <a:pt x="348" y="108"/>
                  </a:lnTo>
                  <a:lnTo>
                    <a:pt x="354" y="108"/>
                  </a:lnTo>
                  <a:lnTo>
                    <a:pt x="354" y="114"/>
                  </a:lnTo>
                  <a:lnTo>
                    <a:pt x="360" y="114"/>
                  </a:lnTo>
                  <a:lnTo>
                    <a:pt x="360" y="120"/>
                  </a:lnTo>
                  <a:lnTo>
                    <a:pt x="366" y="126"/>
                  </a:lnTo>
                  <a:lnTo>
                    <a:pt x="366" y="132"/>
                  </a:lnTo>
                  <a:lnTo>
                    <a:pt x="360" y="132"/>
                  </a:lnTo>
                  <a:lnTo>
                    <a:pt x="366" y="132"/>
                  </a:lnTo>
                  <a:lnTo>
                    <a:pt x="372" y="132"/>
                  </a:lnTo>
                  <a:lnTo>
                    <a:pt x="378" y="132"/>
                  </a:lnTo>
                  <a:lnTo>
                    <a:pt x="384" y="132"/>
                  </a:lnTo>
                  <a:lnTo>
                    <a:pt x="384" y="138"/>
                  </a:lnTo>
                  <a:lnTo>
                    <a:pt x="384" y="144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84" y="162"/>
                  </a:lnTo>
                  <a:lnTo>
                    <a:pt x="384" y="168"/>
                  </a:lnTo>
                  <a:lnTo>
                    <a:pt x="390" y="168"/>
                  </a:lnTo>
                  <a:lnTo>
                    <a:pt x="390" y="174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396" y="186"/>
                  </a:lnTo>
                  <a:lnTo>
                    <a:pt x="402" y="186"/>
                  </a:lnTo>
                  <a:lnTo>
                    <a:pt x="408" y="186"/>
                  </a:lnTo>
                  <a:lnTo>
                    <a:pt x="414" y="186"/>
                  </a:lnTo>
                  <a:lnTo>
                    <a:pt x="414" y="192"/>
                  </a:lnTo>
                  <a:lnTo>
                    <a:pt x="414" y="186"/>
                  </a:lnTo>
                  <a:lnTo>
                    <a:pt x="420" y="192"/>
                  </a:lnTo>
                  <a:lnTo>
                    <a:pt x="426" y="192"/>
                  </a:lnTo>
                  <a:lnTo>
                    <a:pt x="432" y="192"/>
                  </a:lnTo>
                  <a:lnTo>
                    <a:pt x="438" y="192"/>
                  </a:lnTo>
                  <a:lnTo>
                    <a:pt x="438" y="198"/>
                  </a:lnTo>
                  <a:lnTo>
                    <a:pt x="444" y="198"/>
                  </a:lnTo>
                  <a:lnTo>
                    <a:pt x="450" y="198"/>
                  </a:lnTo>
                  <a:lnTo>
                    <a:pt x="450" y="204"/>
                  </a:lnTo>
                  <a:lnTo>
                    <a:pt x="450" y="210"/>
                  </a:lnTo>
                  <a:lnTo>
                    <a:pt x="456" y="210"/>
                  </a:lnTo>
                  <a:lnTo>
                    <a:pt x="462" y="210"/>
                  </a:lnTo>
                  <a:lnTo>
                    <a:pt x="462" y="216"/>
                  </a:lnTo>
                  <a:lnTo>
                    <a:pt x="468" y="216"/>
                  </a:lnTo>
                  <a:lnTo>
                    <a:pt x="462" y="216"/>
                  </a:lnTo>
                  <a:lnTo>
                    <a:pt x="456" y="216"/>
                  </a:lnTo>
                  <a:lnTo>
                    <a:pt x="450" y="216"/>
                  </a:lnTo>
                  <a:lnTo>
                    <a:pt x="450" y="222"/>
                  </a:lnTo>
                  <a:lnTo>
                    <a:pt x="444" y="222"/>
                  </a:lnTo>
                  <a:lnTo>
                    <a:pt x="444" y="228"/>
                  </a:lnTo>
                  <a:lnTo>
                    <a:pt x="444" y="234"/>
                  </a:lnTo>
                  <a:lnTo>
                    <a:pt x="444" y="228"/>
                  </a:lnTo>
                  <a:lnTo>
                    <a:pt x="438" y="234"/>
                  </a:lnTo>
                  <a:lnTo>
                    <a:pt x="432" y="234"/>
                  </a:lnTo>
                  <a:lnTo>
                    <a:pt x="426" y="234"/>
                  </a:lnTo>
                  <a:lnTo>
                    <a:pt x="426" y="240"/>
                  </a:lnTo>
                  <a:lnTo>
                    <a:pt x="420" y="234"/>
                  </a:lnTo>
                  <a:lnTo>
                    <a:pt x="414" y="234"/>
                  </a:lnTo>
                  <a:lnTo>
                    <a:pt x="414" y="240"/>
                  </a:lnTo>
                  <a:lnTo>
                    <a:pt x="408" y="240"/>
                  </a:lnTo>
                  <a:lnTo>
                    <a:pt x="408" y="246"/>
                  </a:lnTo>
                  <a:lnTo>
                    <a:pt x="402" y="246"/>
                  </a:lnTo>
                  <a:lnTo>
                    <a:pt x="402" y="252"/>
                  </a:lnTo>
                  <a:lnTo>
                    <a:pt x="396" y="25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78" y="270"/>
                  </a:lnTo>
                  <a:lnTo>
                    <a:pt x="378" y="276"/>
                  </a:lnTo>
                  <a:lnTo>
                    <a:pt x="372" y="276"/>
                  </a:lnTo>
                  <a:lnTo>
                    <a:pt x="372" y="282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72" y="276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6" y="276"/>
                  </a:lnTo>
                  <a:lnTo>
                    <a:pt x="366" y="282"/>
                  </a:lnTo>
                  <a:lnTo>
                    <a:pt x="360" y="282"/>
                  </a:lnTo>
                  <a:lnTo>
                    <a:pt x="354" y="282"/>
                  </a:lnTo>
                  <a:lnTo>
                    <a:pt x="354" y="288"/>
                  </a:lnTo>
                  <a:lnTo>
                    <a:pt x="354" y="294"/>
                  </a:lnTo>
                  <a:lnTo>
                    <a:pt x="348" y="294"/>
                  </a:lnTo>
                  <a:lnTo>
                    <a:pt x="348" y="288"/>
                  </a:lnTo>
                  <a:lnTo>
                    <a:pt x="348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42" y="306"/>
                  </a:lnTo>
                  <a:lnTo>
                    <a:pt x="342" y="312"/>
                  </a:lnTo>
                  <a:lnTo>
                    <a:pt x="342" y="318"/>
                  </a:lnTo>
                  <a:lnTo>
                    <a:pt x="342" y="324"/>
                  </a:lnTo>
                  <a:lnTo>
                    <a:pt x="336" y="324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30" y="324"/>
                  </a:lnTo>
                  <a:lnTo>
                    <a:pt x="330" y="330"/>
                  </a:lnTo>
                  <a:lnTo>
                    <a:pt x="324" y="330"/>
                  </a:lnTo>
                  <a:lnTo>
                    <a:pt x="324" y="336"/>
                  </a:lnTo>
                  <a:lnTo>
                    <a:pt x="318" y="336"/>
                  </a:lnTo>
                  <a:lnTo>
                    <a:pt x="318" y="342"/>
                  </a:lnTo>
                  <a:lnTo>
                    <a:pt x="306" y="342"/>
                  </a:lnTo>
                  <a:lnTo>
                    <a:pt x="300" y="342"/>
                  </a:lnTo>
                  <a:lnTo>
                    <a:pt x="294" y="342"/>
                  </a:lnTo>
                  <a:lnTo>
                    <a:pt x="294" y="348"/>
                  </a:lnTo>
                  <a:lnTo>
                    <a:pt x="294" y="354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82" y="378"/>
                  </a:lnTo>
                  <a:lnTo>
                    <a:pt x="282" y="384"/>
                  </a:lnTo>
                  <a:lnTo>
                    <a:pt x="276" y="390"/>
                  </a:lnTo>
                  <a:lnTo>
                    <a:pt x="270" y="390"/>
                  </a:lnTo>
                  <a:lnTo>
                    <a:pt x="270" y="396"/>
                  </a:lnTo>
                  <a:lnTo>
                    <a:pt x="264" y="396"/>
                  </a:lnTo>
                  <a:lnTo>
                    <a:pt x="258" y="396"/>
                  </a:lnTo>
                  <a:lnTo>
                    <a:pt x="252" y="396"/>
                  </a:lnTo>
                  <a:lnTo>
                    <a:pt x="246" y="396"/>
                  </a:lnTo>
                  <a:lnTo>
                    <a:pt x="240" y="396"/>
                  </a:lnTo>
                  <a:lnTo>
                    <a:pt x="234" y="396"/>
                  </a:lnTo>
                  <a:lnTo>
                    <a:pt x="228" y="396"/>
                  </a:lnTo>
                  <a:lnTo>
                    <a:pt x="222" y="396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6" y="396"/>
                  </a:lnTo>
                  <a:lnTo>
                    <a:pt x="216" y="390"/>
                  </a:lnTo>
                  <a:lnTo>
                    <a:pt x="210" y="390"/>
                  </a:lnTo>
                  <a:lnTo>
                    <a:pt x="204" y="390"/>
                  </a:lnTo>
                  <a:lnTo>
                    <a:pt x="198" y="390"/>
                  </a:lnTo>
                  <a:lnTo>
                    <a:pt x="192" y="384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80" y="378"/>
                  </a:lnTo>
                  <a:lnTo>
                    <a:pt x="174" y="372"/>
                  </a:lnTo>
                  <a:lnTo>
                    <a:pt x="168" y="372"/>
                  </a:lnTo>
                  <a:lnTo>
                    <a:pt x="162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6" y="372"/>
                  </a:lnTo>
                  <a:lnTo>
                    <a:pt x="150" y="372"/>
                  </a:lnTo>
                  <a:lnTo>
                    <a:pt x="150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44" y="390"/>
                  </a:lnTo>
                  <a:lnTo>
                    <a:pt x="138" y="390"/>
                  </a:lnTo>
                  <a:lnTo>
                    <a:pt x="144" y="390"/>
                  </a:lnTo>
                  <a:lnTo>
                    <a:pt x="138" y="396"/>
                  </a:lnTo>
                  <a:lnTo>
                    <a:pt x="138" y="402"/>
                  </a:lnTo>
                  <a:lnTo>
                    <a:pt x="138" y="408"/>
                  </a:lnTo>
                  <a:lnTo>
                    <a:pt x="132" y="408"/>
                  </a:lnTo>
                  <a:lnTo>
                    <a:pt x="132" y="414"/>
                  </a:lnTo>
                  <a:lnTo>
                    <a:pt x="126" y="420"/>
                  </a:lnTo>
                  <a:lnTo>
                    <a:pt x="120" y="420"/>
                  </a:lnTo>
                  <a:lnTo>
                    <a:pt x="120" y="426"/>
                  </a:lnTo>
                  <a:lnTo>
                    <a:pt x="114" y="426"/>
                  </a:lnTo>
                  <a:lnTo>
                    <a:pt x="108" y="426"/>
                  </a:lnTo>
                  <a:lnTo>
                    <a:pt x="108" y="432"/>
                  </a:lnTo>
                  <a:lnTo>
                    <a:pt x="108" y="438"/>
                  </a:lnTo>
                  <a:lnTo>
                    <a:pt x="102" y="438"/>
                  </a:lnTo>
                  <a:lnTo>
                    <a:pt x="96" y="438"/>
                  </a:lnTo>
                  <a:lnTo>
                    <a:pt x="90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50"/>
                  </a:lnTo>
                  <a:lnTo>
                    <a:pt x="78" y="450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0" y="450"/>
                  </a:lnTo>
                  <a:lnTo>
                    <a:pt x="54" y="450"/>
                  </a:lnTo>
                  <a:lnTo>
                    <a:pt x="48" y="450"/>
                  </a:lnTo>
                  <a:lnTo>
                    <a:pt x="48" y="444"/>
                  </a:lnTo>
                  <a:lnTo>
                    <a:pt x="42" y="450"/>
                  </a:lnTo>
                  <a:lnTo>
                    <a:pt x="36" y="450"/>
                  </a:lnTo>
                  <a:lnTo>
                    <a:pt x="30" y="444"/>
                  </a:lnTo>
                  <a:lnTo>
                    <a:pt x="30" y="438"/>
                  </a:lnTo>
                  <a:lnTo>
                    <a:pt x="30" y="432"/>
                  </a:lnTo>
                  <a:lnTo>
                    <a:pt x="30" y="426"/>
                  </a:lnTo>
                  <a:lnTo>
                    <a:pt x="36" y="426"/>
                  </a:lnTo>
                  <a:lnTo>
                    <a:pt x="36" y="420"/>
                  </a:lnTo>
                  <a:lnTo>
                    <a:pt x="42" y="420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42" y="396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6" y="384"/>
                  </a:lnTo>
                  <a:lnTo>
                    <a:pt x="30" y="384"/>
                  </a:lnTo>
                  <a:lnTo>
                    <a:pt x="36" y="378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30" y="372"/>
                  </a:lnTo>
                  <a:lnTo>
                    <a:pt x="24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18" y="360"/>
                  </a:lnTo>
                  <a:lnTo>
                    <a:pt x="18" y="354"/>
                  </a:lnTo>
                  <a:lnTo>
                    <a:pt x="12" y="354"/>
                  </a:lnTo>
                  <a:lnTo>
                    <a:pt x="6" y="354"/>
                  </a:lnTo>
                  <a:lnTo>
                    <a:pt x="6" y="348"/>
                  </a:lnTo>
                  <a:lnTo>
                    <a:pt x="0" y="348"/>
                  </a:lnTo>
                  <a:lnTo>
                    <a:pt x="0" y="210"/>
                  </a:lnTo>
                  <a:lnTo>
                    <a:pt x="48" y="210"/>
                  </a:lnTo>
                  <a:lnTo>
                    <a:pt x="48" y="156"/>
                  </a:lnTo>
                  <a:lnTo>
                    <a:pt x="48" y="24"/>
                  </a:lnTo>
                  <a:lnTo>
                    <a:pt x="72" y="24"/>
                  </a:lnTo>
                  <a:lnTo>
                    <a:pt x="156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74" y="18"/>
                  </a:lnTo>
                  <a:lnTo>
                    <a:pt x="174" y="24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0" y="36"/>
                  </a:lnTo>
                  <a:lnTo>
                    <a:pt x="186" y="30"/>
                  </a:lnTo>
                  <a:lnTo>
                    <a:pt x="192" y="30"/>
                  </a:lnTo>
                  <a:lnTo>
                    <a:pt x="192" y="24"/>
                  </a:lnTo>
                  <a:lnTo>
                    <a:pt x="198" y="24"/>
                  </a:lnTo>
                  <a:lnTo>
                    <a:pt x="198" y="18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210" y="12"/>
                  </a:lnTo>
                  <a:lnTo>
                    <a:pt x="216" y="12"/>
                  </a:lnTo>
                  <a:lnTo>
                    <a:pt x="216" y="6"/>
                  </a:lnTo>
                  <a:lnTo>
                    <a:pt x="222" y="6"/>
                  </a:lnTo>
                  <a:lnTo>
                    <a:pt x="222" y="12"/>
                  </a:lnTo>
                  <a:lnTo>
                    <a:pt x="228" y="12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0" y="0"/>
                  </a:lnTo>
                  <a:lnTo>
                    <a:pt x="246" y="0"/>
                  </a:lnTo>
                  <a:lnTo>
                    <a:pt x="252" y="0"/>
                  </a:lnTo>
                  <a:lnTo>
                    <a:pt x="258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08" name="Freeform 63"/>
            <p:cNvSpPr>
              <a:spLocks noChangeAspect="1"/>
            </p:cNvSpPr>
            <p:nvPr>
              <p:custDataLst>
                <p:tags r:id="rId42"/>
              </p:custDataLst>
            </p:nvPr>
          </p:nvSpPr>
          <p:spPr bwMode="auto">
            <a:xfrm>
              <a:off x="2753" y="3299"/>
              <a:ext cx="694" cy="535"/>
            </a:xfrm>
            <a:custGeom>
              <a:avLst/>
              <a:gdLst>
                <a:gd name="T0" fmla="*/ 9 w 816"/>
                <a:gd name="T1" fmla="*/ 156 h 630"/>
                <a:gd name="T2" fmla="*/ 22 w 816"/>
                <a:gd name="T3" fmla="*/ 162 h 630"/>
                <a:gd name="T4" fmla="*/ 41 w 816"/>
                <a:gd name="T5" fmla="*/ 175 h 630"/>
                <a:gd name="T6" fmla="*/ 69 w 816"/>
                <a:gd name="T7" fmla="*/ 175 h 630"/>
                <a:gd name="T8" fmla="*/ 85 w 816"/>
                <a:gd name="T9" fmla="*/ 165 h 630"/>
                <a:gd name="T10" fmla="*/ 104 w 816"/>
                <a:gd name="T11" fmla="*/ 75 h 630"/>
                <a:gd name="T12" fmla="*/ 110 w 816"/>
                <a:gd name="T13" fmla="*/ 91 h 630"/>
                <a:gd name="T14" fmla="*/ 107 w 816"/>
                <a:gd name="T15" fmla="*/ 112 h 630"/>
                <a:gd name="T16" fmla="*/ 128 w 816"/>
                <a:gd name="T17" fmla="*/ 122 h 630"/>
                <a:gd name="T18" fmla="*/ 148 w 816"/>
                <a:gd name="T19" fmla="*/ 109 h 630"/>
                <a:gd name="T20" fmla="*/ 167 w 816"/>
                <a:gd name="T21" fmla="*/ 91 h 630"/>
                <a:gd name="T22" fmla="*/ 176 w 816"/>
                <a:gd name="T23" fmla="*/ 81 h 630"/>
                <a:gd name="T24" fmla="*/ 204 w 816"/>
                <a:gd name="T25" fmla="*/ 91 h 630"/>
                <a:gd name="T26" fmla="*/ 225 w 816"/>
                <a:gd name="T27" fmla="*/ 93 h 630"/>
                <a:gd name="T28" fmla="*/ 244 w 816"/>
                <a:gd name="T29" fmla="*/ 69 h 630"/>
                <a:gd name="T30" fmla="*/ 264 w 816"/>
                <a:gd name="T31" fmla="*/ 59 h 630"/>
                <a:gd name="T32" fmla="*/ 273 w 816"/>
                <a:gd name="T33" fmla="*/ 37 h 630"/>
                <a:gd name="T34" fmla="*/ 286 w 816"/>
                <a:gd name="T35" fmla="*/ 31 h 630"/>
                <a:gd name="T36" fmla="*/ 295 w 816"/>
                <a:gd name="T37" fmla="*/ 25 h 630"/>
                <a:gd name="T38" fmla="*/ 314 w 816"/>
                <a:gd name="T39" fmla="*/ 12 h 630"/>
                <a:gd name="T40" fmla="*/ 330 w 816"/>
                <a:gd name="T41" fmla="*/ 0 h 630"/>
                <a:gd name="T42" fmla="*/ 358 w 816"/>
                <a:gd name="T43" fmla="*/ 6 h 630"/>
                <a:gd name="T44" fmla="*/ 384 w 816"/>
                <a:gd name="T45" fmla="*/ 6 h 630"/>
                <a:gd name="T46" fmla="*/ 401 w 816"/>
                <a:gd name="T47" fmla="*/ 54 h 630"/>
                <a:gd name="T48" fmla="*/ 401 w 816"/>
                <a:gd name="T49" fmla="*/ 87 h 630"/>
                <a:gd name="T50" fmla="*/ 390 w 816"/>
                <a:gd name="T51" fmla="*/ 93 h 630"/>
                <a:gd name="T52" fmla="*/ 373 w 816"/>
                <a:gd name="T53" fmla="*/ 119 h 630"/>
                <a:gd name="T54" fmla="*/ 393 w 816"/>
                <a:gd name="T55" fmla="*/ 134 h 630"/>
                <a:gd name="T56" fmla="*/ 427 w 816"/>
                <a:gd name="T57" fmla="*/ 125 h 630"/>
                <a:gd name="T58" fmla="*/ 418 w 816"/>
                <a:gd name="T59" fmla="*/ 156 h 630"/>
                <a:gd name="T60" fmla="*/ 399 w 816"/>
                <a:gd name="T61" fmla="*/ 175 h 630"/>
                <a:gd name="T62" fmla="*/ 377 w 816"/>
                <a:gd name="T63" fmla="*/ 197 h 630"/>
                <a:gd name="T64" fmla="*/ 367 w 816"/>
                <a:gd name="T65" fmla="*/ 216 h 630"/>
                <a:gd name="T66" fmla="*/ 351 w 816"/>
                <a:gd name="T67" fmla="*/ 237 h 630"/>
                <a:gd name="T68" fmla="*/ 333 w 816"/>
                <a:gd name="T69" fmla="*/ 253 h 630"/>
                <a:gd name="T70" fmla="*/ 321 w 816"/>
                <a:gd name="T71" fmla="*/ 266 h 630"/>
                <a:gd name="T72" fmla="*/ 304 w 816"/>
                <a:gd name="T73" fmla="*/ 274 h 630"/>
                <a:gd name="T74" fmla="*/ 282 w 816"/>
                <a:gd name="T75" fmla="*/ 290 h 630"/>
                <a:gd name="T76" fmla="*/ 264 w 816"/>
                <a:gd name="T77" fmla="*/ 296 h 630"/>
                <a:gd name="T78" fmla="*/ 239 w 816"/>
                <a:gd name="T79" fmla="*/ 303 h 630"/>
                <a:gd name="T80" fmla="*/ 220 w 816"/>
                <a:gd name="T81" fmla="*/ 308 h 630"/>
                <a:gd name="T82" fmla="*/ 197 w 816"/>
                <a:gd name="T83" fmla="*/ 306 h 630"/>
                <a:gd name="T84" fmla="*/ 170 w 816"/>
                <a:gd name="T85" fmla="*/ 308 h 630"/>
                <a:gd name="T86" fmla="*/ 162 w 816"/>
                <a:gd name="T87" fmla="*/ 306 h 630"/>
                <a:gd name="T88" fmla="*/ 138 w 816"/>
                <a:gd name="T89" fmla="*/ 315 h 630"/>
                <a:gd name="T90" fmla="*/ 122 w 816"/>
                <a:gd name="T91" fmla="*/ 315 h 630"/>
                <a:gd name="T92" fmla="*/ 104 w 816"/>
                <a:gd name="T93" fmla="*/ 322 h 630"/>
                <a:gd name="T94" fmla="*/ 82 w 816"/>
                <a:gd name="T95" fmla="*/ 328 h 630"/>
                <a:gd name="T96" fmla="*/ 65 w 816"/>
                <a:gd name="T97" fmla="*/ 315 h 630"/>
                <a:gd name="T98" fmla="*/ 56 w 816"/>
                <a:gd name="T99" fmla="*/ 308 h 630"/>
                <a:gd name="T100" fmla="*/ 51 w 816"/>
                <a:gd name="T101" fmla="*/ 313 h 630"/>
                <a:gd name="T102" fmla="*/ 51 w 816"/>
                <a:gd name="T103" fmla="*/ 303 h 630"/>
                <a:gd name="T104" fmla="*/ 41 w 816"/>
                <a:gd name="T105" fmla="*/ 284 h 630"/>
                <a:gd name="T106" fmla="*/ 35 w 816"/>
                <a:gd name="T107" fmla="*/ 278 h 630"/>
                <a:gd name="T108" fmla="*/ 41 w 816"/>
                <a:gd name="T109" fmla="*/ 274 h 630"/>
                <a:gd name="T110" fmla="*/ 47 w 816"/>
                <a:gd name="T111" fmla="*/ 250 h 630"/>
                <a:gd name="T112" fmla="*/ 31 w 816"/>
                <a:gd name="T113" fmla="*/ 228 h 630"/>
                <a:gd name="T114" fmla="*/ 19 w 816"/>
                <a:gd name="T115" fmla="*/ 206 h 630"/>
                <a:gd name="T116" fmla="*/ 9 w 816"/>
                <a:gd name="T117" fmla="*/ 17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16" h="630">
                  <a:moveTo>
                    <a:pt x="0" y="318"/>
                  </a:moveTo>
                  <a:lnTo>
                    <a:pt x="6" y="318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18"/>
                  </a:lnTo>
                  <a:lnTo>
                    <a:pt x="12" y="312"/>
                  </a:lnTo>
                  <a:lnTo>
                    <a:pt x="18" y="306"/>
                  </a:lnTo>
                  <a:lnTo>
                    <a:pt x="12" y="306"/>
                  </a:lnTo>
                  <a:lnTo>
                    <a:pt x="18" y="306"/>
                  </a:lnTo>
                  <a:lnTo>
                    <a:pt x="18" y="300"/>
                  </a:lnTo>
                  <a:lnTo>
                    <a:pt x="18" y="294"/>
                  </a:lnTo>
                  <a:lnTo>
                    <a:pt x="24" y="294"/>
                  </a:lnTo>
                  <a:lnTo>
                    <a:pt x="30" y="294"/>
                  </a:lnTo>
                  <a:lnTo>
                    <a:pt x="36" y="294"/>
                  </a:lnTo>
                  <a:lnTo>
                    <a:pt x="36" y="300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48" y="306"/>
                  </a:lnTo>
                  <a:lnTo>
                    <a:pt x="48" y="312"/>
                  </a:lnTo>
                  <a:lnTo>
                    <a:pt x="42" y="312"/>
                  </a:lnTo>
                  <a:lnTo>
                    <a:pt x="42" y="318"/>
                  </a:lnTo>
                  <a:lnTo>
                    <a:pt x="48" y="318"/>
                  </a:lnTo>
                  <a:lnTo>
                    <a:pt x="48" y="324"/>
                  </a:lnTo>
                  <a:lnTo>
                    <a:pt x="54" y="324"/>
                  </a:lnTo>
                  <a:lnTo>
                    <a:pt x="54" y="330"/>
                  </a:lnTo>
                  <a:lnTo>
                    <a:pt x="60" y="330"/>
                  </a:lnTo>
                  <a:lnTo>
                    <a:pt x="66" y="330"/>
                  </a:lnTo>
                  <a:lnTo>
                    <a:pt x="72" y="330"/>
                  </a:lnTo>
                  <a:lnTo>
                    <a:pt x="78" y="330"/>
                  </a:lnTo>
                  <a:lnTo>
                    <a:pt x="78" y="336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6" y="336"/>
                  </a:lnTo>
                  <a:lnTo>
                    <a:pt x="102" y="336"/>
                  </a:lnTo>
                  <a:lnTo>
                    <a:pt x="108" y="330"/>
                  </a:lnTo>
                  <a:lnTo>
                    <a:pt x="114" y="330"/>
                  </a:lnTo>
                  <a:lnTo>
                    <a:pt x="120" y="330"/>
                  </a:lnTo>
                  <a:lnTo>
                    <a:pt x="120" y="336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62" y="318"/>
                  </a:lnTo>
                  <a:lnTo>
                    <a:pt x="168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74" y="132"/>
                  </a:lnTo>
                  <a:lnTo>
                    <a:pt x="180" y="132"/>
                  </a:lnTo>
                  <a:lnTo>
                    <a:pt x="180" y="138"/>
                  </a:lnTo>
                  <a:lnTo>
                    <a:pt x="186" y="138"/>
                  </a:lnTo>
                  <a:lnTo>
                    <a:pt x="192" y="138"/>
                  </a:lnTo>
                  <a:lnTo>
                    <a:pt x="192" y="144"/>
                  </a:lnTo>
                  <a:lnTo>
                    <a:pt x="198" y="144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62"/>
                  </a:lnTo>
                  <a:lnTo>
                    <a:pt x="210" y="162"/>
                  </a:lnTo>
                  <a:lnTo>
                    <a:pt x="204" y="168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0" y="180"/>
                  </a:lnTo>
                  <a:lnTo>
                    <a:pt x="216" y="180"/>
                  </a:lnTo>
                  <a:lnTo>
                    <a:pt x="216" y="186"/>
                  </a:lnTo>
                  <a:lnTo>
                    <a:pt x="216" y="192"/>
                  </a:lnTo>
                  <a:lnTo>
                    <a:pt x="216" y="198"/>
                  </a:lnTo>
                  <a:lnTo>
                    <a:pt x="216" y="204"/>
                  </a:lnTo>
                  <a:lnTo>
                    <a:pt x="210" y="204"/>
                  </a:lnTo>
                  <a:lnTo>
                    <a:pt x="210" y="210"/>
                  </a:lnTo>
                  <a:lnTo>
                    <a:pt x="204" y="210"/>
                  </a:lnTo>
                  <a:lnTo>
                    <a:pt x="204" y="216"/>
                  </a:lnTo>
                  <a:lnTo>
                    <a:pt x="204" y="222"/>
                  </a:lnTo>
                  <a:lnTo>
                    <a:pt x="204" y="228"/>
                  </a:lnTo>
                  <a:lnTo>
                    <a:pt x="210" y="234"/>
                  </a:lnTo>
                  <a:lnTo>
                    <a:pt x="216" y="234"/>
                  </a:lnTo>
                  <a:lnTo>
                    <a:pt x="222" y="228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34"/>
                  </a:lnTo>
                  <a:lnTo>
                    <a:pt x="240" y="234"/>
                  </a:lnTo>
                  <a:lnTo>
                    <a:pt x="246" y="234"/>
                  </a:lnTo>
                  <a:lnTo>
                    <a:pt x="252" y="234"/>
                  </a:lnTo>
                  <a:lnTo>
                    <a:pt x="258" y="234"/>
                  </a:lnTo>
                  <a:lnTo>
                    <a:pt x="264" y="234"/>
                  </a:lnTo>
                  <a:lnTo>
                    <a:pt x="264" y="228"/>
                  </a:lnTo>
                  <a:lnTo>
                    <a:pt x="264" y="222"/>
                  </a:lnTo>
                  <a:lnTo>
                    <a:pt x="270" y="222"/>
                  </a:lnTo>
                  <a:lnTo>
                    <a:pt x="276" y="222"/>
                  </a:lnTo>
                  <a:lnTo>
                    <a:pt x="282" y="222"/>
                  </a:lnTo>
                  <a:lnTo>
                    <a:pt x="282" y="216"/>
                  </a:lnTo>
                  <a:lnTo>
                    <a:pt x="282" y="210"/>
                  </a:lnTo>
                  <a:lnTo>
                    <a:pt x="288" y="210"/>
                  </a:lnTo>
                  <a:lnTo>
                    <a:pt x="294" y="210"/>
                  </a:lnTo>
                  <a:lnTo>
                    <a:pt x="294" y="204"/>
                  </a:lnTo>
                  <a:lnTo>
                    <a:pt x="300" y="204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312" y="192"/>
                  </a:lnTo>
                  <a:lnTo>
                    <a:pt x="312" y="186"/>
                  </a:lnTo>
                  <a:lnTo>
                    <a:pt x="312" y="180"/>
                  </a:lnTo>
                  <a:lnTo>
                    <a:pt x="318" y="174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18" y="168"/>
                  </a:lnTo>
                  <a:lnTo>
                    <a:pt x="318" y="162"/>
                  </a:lnTo>
                  <a:lnTo>
                    <a:pt x="324" y="162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24" y="156"/>
                  </a:lnTo>
                  <a:lnTo>
                    <a:pt x="330" y="156"/>
                  </a:lnTo>
                  <a:lnTo>
                    <a:pt x="336" y="156"/>
                  </a:lnTo>
                  <a:lnTo>
                    <a:pt x="342" y="156"/>
                  </a:lnTo>
                  <a:lnTo>
                    <a:pt x="348" y="156"/>
                  </a:lnTo>
                  <a:lnTo>
                    <a:pt x="354" y="162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72" y="174"/>
                  </a:lnTo>
                  <a:lnTo>
                    <a:pt x="378" y="174"/>
                  </a:lnTo>
                  <a:lnTo>
                    <a:pt x="384" y="174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0" y="174"/>
                  </a:lnTo>
                  <a:lnTo>
                    <a:pt x="390" y="180"/>
                  </a:lnTo>
                  <a:lnTo>
                    <a:pt x="396" y="180"/>
                  </a:lnTo>
                  <a:lnTo>
                    <a:pt x="402" y="180"/>
                  </a:lnTo>
                  <a:lnTo>
                    <a:pt x="408" y="180"/>
                  </a:lnTo>
                  <a:lnTo>
                    <a:pt x="414" y="180"/>
                  </a:lnTo>
                  <a:lnTo>
                    <a:pt x="420" y="180"/>
                  </a:lnTo>
                  <a:lnTo>
                    <a:pt x="426" y="180"/>
                  </a:lnTo>
                  <a:lnTo>
                    <a:pt x="432" y="180"/>
                  </a:lnTo>
                  <a:lnTo>
                    <a:pt x="438" y="180"/>
                  </a:lnTo>
                  <a:lnTo>
                    <a:pt x="444" y="180"/>
                  </a:lnTo>
                  <a:lnTo>
                    <a:pt x="444" y="174"/>
                  </a:lnTo>
                  <a:lnTo>
                    <a:pt x="450" y="174"/>
                  </a:lnTo>
                  <a:lnTo>
                    <a:pt x="456" y="168"/>
                  </a:lnTo>
                  <a:lnTo>
                    <a:pt x="456" y="162"/>
                  </a:lnTo>
                  <a:lnTo>
                    <a:pt x="456" y="156"/>
                  </a:lnTo>
                  <a:lnTo>
                    <a:pt x="462" y="156"/>
                  </a:lnTo>
                  <a:lnTo>
                    <a:pt x="468" y="138"/>
                  </a:lnTo>
                  <a:lnTo>
                    <a:pt x="468" y="132"/>
                  </a:lnTo>
                  <a:lnTo>
                    <a:pt x="468" y="126"/>
                  </a:lnTo>
                  <a:lnTo>
                    <a:pt x="474" y="126"/>
                  </a:lnTo>
                  <a:lnTo>
                    <a:pt x="480" y="126"/>
                  </a:lnTo>
                  <a:lnTo>
                    <a:pt x="492" y="126"/>
                  </a:lnTo>
                  <a:lnTo>
                    <a:pt x="492" y="120"/>
                  </a:lnTo>
                  <a:lnTo>
                    <a:pt x="498" y="120"/>
                  </a:lnTo>
                  <a:lnTo>
                    <a:pt x="498" y="114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04" y="114"/>
                  </a:lnTo>
                  <a:lnTo>
                    <a:pt x="504" y="108"/>
                  </a:lnTo>
                  <a:lnTo>
                    <a:pt x="510" y="108"/>
                  </a:lnTo>
                  <a:lnTo>
                    <a:pt x="516" y="108"/>
                  </a:lnTo>
                  <a:lnTo>
                    <a:pt x="516" y="102"/>
                  </a:lnTo>
                  <a:lnTo>
                    <a:pt x="516" y="96"/>
                  </a:lnTo>
                  <a:lnTo>
                    <a:pt x="516" y="90"/>
                  </a:lnTo>
                  <a:lnTo>
                    <a:pt x="522" y="90"/>
                  </a:lnTo>
                  <a:lnTo>
                    <a:pt x="522" y="84"/>
                  </a:lnTo>
                  <a:lnTo>
                    <a:pt x="522" y="78"/>
                  </a:lnTo>
                  <a:lnTo>
                    <a:pt x="522" y="72"/>
                  </a:lnTo>
                  <a:lnTo>
                    <a:pt x="522" y="78"/>
                  </a:lnTo>
                  <a:lnTo>
                    <a:pt x="528" y="78"/>
                  </a:lnTo>
                  <a:lnTo>
                    <a:pt x="528" y="72"/>
                  </a:lnTo>
                  <a:lnTo>
                    <a:pt x="528" y="66"/>
                  </a:lnTo>
                  <a:lnTo>
                    <a:pt x="534" y="66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0" y="60"/>
                  </a:lnTo>
                  <a:lnTo>
                    <a:pt x="546" y="60"/>
                  </a:lnTo>
                  <a:lnTo>
                    <a:pt x="540" y="60"/>
                  </a:lnTo>
                  <a:lnTo>
                    <a:pt x="540" y="66"/>
                  </a:lnTo>
                  <a:lnTo>
                    <a:pt x="546" y="66"/>
                  </a:lnTo>
                  <a:lnTo>
                    <a:pt x="546" y="60"/>
                  </a:lnTo>
                  <a:lnTo>
                    <a:pt x="552" y="60"/>
                  </a:lnTo>
                  <a:lnTo>
                    <a:pt x="552" y="54"/>
                  </a:lnTo>
                  <a:lnTo>
                    <a:pt x="558" y="54"/>
                  </a:lnTo>
                  <a:lnTo>
                    <a:pt x="564" y="48"/>
                  </a:lnTo>
                  <a:lnTo>
                    <a:pt x="558" y="48"/>
                  </a:lnTo>
                  <a:lnTo>
                    <a:pt x="564" y="48"/>
                  </a:lnTo>
                  <a:lnTo>
                    <a:pt x="570" y="48"/>
                  </a:lnTo>
                  <a:lnTo>
                    <a:pt x="570" y="42"/>
                  </a:lnTo>
                  <a:lnTo>
                    <a:pt x="576" y="36"/>
                  </a:lnTo>
                  <a:lnTo>
                    <a:pt x="576" y="30"/>
                  </a:lnTo>
                  <a:lnTo>
                    <a:pt x="582" y="30"/>
                  </a:lnTo>
                  <a:lnTo>
                    <a:pt x="582" y="24"/>
                  </a:lnTo>
                  <a:lnTo>
                    <a:pt x="588" y="24"/>
                  </a:lnTo>
                  <a:lnTo>
                    <a:pt x="588" y="18"/>
                  </a:lnTo>
                  <a:lnTo>
                    <a:pt x="594" y="18"/>
                  </a:lnTo>
                  <a:lnTo>
                    <a:pt x="600" y="24"/>
                  </a:lnTo>
                  <a:lnTo>
                    <a:pt x="600" y="18"/>
                  </a:lnTo>
                  <a:lnTo>
                    <a:pt x="606" y="18"/>
                  </a:lnTo>
                  <a:lnTo>
                    <a:pt x="612" y="18"/>
                  </a:lnTo>
                  <a:lnTo>
                    <a:pt x="618" y="12"/>
                  </a:lnTo>
                  <a:lnTo>
                    <a:pt x="618" y="18"/>
                  </a:lnTo>
                  <a:lnTo>
                    <a:pt x="618" y="12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4" y="0"/>
                  </a:lnTo>
                  <a:lnTo>
                    <a:pt x="630" y="0"/>
                  </a:lnTo>
                  <a:lnTo>
                    <a:pt x="636" y="0"/>
                  </a:lnTo>
                  <a:lnTo>
                    <a:pt x="642" y="0"/>
                  </a:lnTo>
                  <a:lnTo>
                    <a:pt x="648" y="0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72" y="6"/>
                  </a:lnTo>
                  <a:lnTo>
                    <a:pt x="678" y="6"/>
                  </a:lnTo>
                  <a:lnTo>
                    <a:pt x="684" y="6"/>
                  </a:lnTo>
                  <a:lnTo>
                    <a:pt x="684" y="12"/>
                  </a:lnTo>
                  <a:lnTo>
                    <a:pt x="690" y="12"/>
                  </a:lnTo>
                  <a:lnTo>
                    <a:pt x="696" y="6"/>
                  </a:lnTo>
                  <a:lnTo>
                    <a:pt x="702" y="6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6"/>
                  </a:lnTo>
                  <a:lnTo>
                    <a:pt x="726" y="12"/>
                  </a:lnTo>
                  <a:lnTo>
                    <a:pt x="726" y="6"/>
                  </a:lnTo>
                  <a:lnTo>
                    <a:pt x="732" y="6"/>
                  </a:lnTo>
                  <a:lnTo>
                    <a:pt x="732" y="12"/>
                  </a:lnTo>
                  <a:lnTo>
                    <a:pt x="738" y="12"/>
                  </a:lnTo>
                  <a:lnTo>
                    <a:pt x="750" y="48"/>
                  </a:lnTo>
                  <a:lnTo>
                    <a:pt x="750" y="60"/>
                  </a:lnTo>
                  <a:lnTo>
                    <a:pt x="750" y="66"/>
                  </a:lnTo>
                  <a:lnTo>
                    <a:pt x="756" y="72"/>
                  </a:lnTo>
                  <a:lnTo>
                    <a:pt x="756" y="78"/>
                  </a:lnTo>
                  <a:lnTo>
                    <a:pt x="762" y="84"/>
                  </a:lnTo>
                  <a:lnTo>
                    <a:pt x="762" y="90"/>
                  </a:lnTo>
                  <a:lnTo>
                    <a:pt x="768" y="90"/>
                  </a:lnTo>
                  <a:lnTo>
                    <a:pt x="768" y="102"/>
                  </a:lnTo>
                  <a:lnTo>
                    <a:pt x="768" y="108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74" y="138"/>
                  </a:lnTo>
                  <a:lnTo>
                    <a:pt x="774" y="144"/>
                  </a:lnTo>
                  <a:lnTo>
                    <a:pt x="774" y="150"/>
                  </a:lnTo>
                  <a:lnTo>
                    <a:pt x="774" y="156"/>
                  </a:lnTo>
                  <a:lnTo>
                    <a:pt x="774" y="162"/>
                  </a:lnTo>
                  <a:lnTo>
                    <a:pt x="768" y="162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74" y="174"/>
                  </a:lnTo>
                  <a:lnTo>
                    <a:pt x="768" y="174"/>
                  </a:lnTo>
                  <a:lnTo>
                    <a:pt x="768" y="180"/>
                  </a:lnTo>
                  <a:lnTo>
                    <a:pt x="768" y="186"/>
                  </a:lnTo>
                  <a:lnTo>
                    <a:pt x="768" y="192"/>
                  </a:lnTo>
                  <a:lnTo>
                    <a:pt x="762" y="192"/>
                  </a:lnTo>
                  <a:lnTo>
                    <a:pt x="750" y="186"/>
                  </a:lnTo>
                  <a:lnTo>
                    <a:pt x="750" y="180"/>
                  </a:lnTo>
                  <a:lnTo>
                    <a:pt x="744" y="180"/>
                  </a:lnTo>
                  <a:lnTo>
                    <a:pt x="738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26" y="192"/>
                  </a:lnTo>
                  <a:lnTo>
                    <a:pt x="720" y="204"/>
                  </a:lnTo>
                  <a:lnTo>
                    <a:pt x="714" y="204"/>
                  </a:lnTo>
                  <a:lnTo>
                    <a:pt x="714" y="210"/>
                  </a:lnTo>
                  <a:lnTo>
                    <a:pt x="714" y="216"/>
                  </a:lnTo>
                  <a:lnTo>
                    <a:pt x="714" y="222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14" y="228"/>
                  </a:lnTo>
                  <a:lnTo>
                    <a:pt x="714" y="234"/>
                  </a:lnTo>
                  <a:lnTo>
                    <a:pt x="720" y="234"/>
                  </a:lnTo>
                  <a:lnTo>
                    <a:pt x="720" y="240"/>
                  </a:lnTo>
                  <a:lnTo>
                    <a:pt x="726" y="246"/>
                  </a:lnTo>
                  <a:lnTo>
                    <a:pt x="732" y="252"/>
                  </a:lnTo>
                  <a:lnTo>
                    <a:pt x="738" y="252"/>
                  </a:lnTo>
                  <a:lnTo>
                    <a:pt x="744" y="258"/>
                  </a:lnTo>
                  <a:lnTo>
                    <a:pt x="750" y="258"/>
                  </a:lnTo>
                  <a:lnTo>
                    <a:pt x="768" y="258"/>
                  </a:lnTo>
                  <a:lnTo>
                    <a:pt x="768" y="246"/>
                  </a:lnTo>
                  <a:lnTo>
                    <a:pt x="768" y="240"/>
                  </a:lnTo>
                  <a:lnTo>
                    <a:pt x="774" y="234"/>
                  </a:lnTo>
                  <a:lnTo>
                    <a:pt x="780" y="234"/>
                  </a:lnTo>
                  <a:lnTo>
                    <a:pt x="786" y="234"/>
                  </a:lnTo>
                  <a:lnTo>
                    <a:pt x="792" y="234"/>
                  </a:lnTo>
                  <a:lnTo>
                    <a:pt x="810" y="234"/>
                  </a:lnTo>
                  <a:lnTo>
                    <a:pt x="816" y="234"/>
                  </a:lnTo>
                  <a:lnTo>
                    <a:pt x="816" y="240"/>
                  </a:lnTo>
                  <a:lnTo>
                    <a:pt x="816" y="246"/>
                  </a:lnTo>
                  <a:lnTo>
                    <a:pt x="810" y="252"/>
                  </a:lnTo>
                  <a:lnTo>
                    <a:pt x="810" y="258"/>
                  </a:lnTo>
                  <a:lnTo>
                    <a:pt x="804" y="264"/>
                  </a:lnTo>
                  <a:lnTo>
                    <a:pt x="804" y="270"/>
                  </a:lnTo>
                  <a:lnTo>
                    <a:pt x="804" y="276"/>
                  </a:lnTo>
                  <a:lnTo>
                    <a:pt x="804" y="282"/>
                  </a:lnTo>
                  <a:lnTo>
                    <a:pt x="798" y="288"/>
                  </a:lnTo>
                  <a:lnTo>
                    <a:pt x="798" y="294"/>
                  </a:lnTo>
                  <a:lnTo>
                    <a:pt x="798" y="300"/>
                  </a:lnTo>
                  <a:lnTo>
                    <a:pt x="798" y="306"/>
                  </a:lnTo>
                  <a:lnTo>
                    <a:pt x="792" y="312"/>
                  </a:lnTo>
                  <a:lnTo>
                    <a:pt x="792" y="318"/>
                  </a:lnTo>
                  <a:lnTo>
                    <a:pt x="786" y="318"/>
                  </a:lnTo>
                  <a:lnTo>
                    <a:pt x="786" y="324"/>
                  </a:lnTo>
                  <a:lnTo>
                    <a:pt x="780" y="324"/>
                  </a:lnTo>
                  <a:lnTo>
                    <a:pt x="774" y="330"/>
                  </a:lnTo>
                  <a:lnTo>
                    <a:pt x="774" y="336"/>
                  </a:lnTo>
                  <a:lnTo>
                    <a:pt x="768" y="336"/>
                  </a:lnTo>
                  <a:lnTo>
                    <a:pt x="762" y="336"/>
                  </a:lnTo>
                  <a:lnTo>
                    <a:pt x="756" y="342"/>
                  </a:lnTo>
                  <a:lnTo>
                    <a:pt x="750" y="348"/>
                  </a:lnTo>
                  <a:lnTo>
                    <a:pt x="744" y="348"/>
                  </a:lnTo>
                  <a:lnTo>
                    <a:pt x="744" y="354"/>
                  </a:lnTo>
                  <a:lnTo>
                    <a:pt x="738" y="354"/>
                  </a:lnTo>
                  <a:lnTo>
                    <a:pt x="738" y="360"/>
                  </a:lnTo>
                  <a:lnTo>
                    <a:pt x="732" y="366"/>
                  </a:lnTo>
                  <a:lnTo>
                    <a:pt x="726" y="372"/>
                  </a:lnTo>
                  <a:lnTo>
                    <a:pt x="726" y="378"/>
                  </a:lnTo>
                  <a:lnTo>
                    <a:pt x="720" y="378"/>
                  </a:lnTo>
                  <a:lnTo>
                    <a:pt x="726" y="378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26" y="384"/>
                  </a:lnTo>
                  <a:lnTo>
                    <a:pt x="720" y="384"/>
                  </a:lnTo>
                  <a:lnTo>
                    <a:pt x="714" y="390"/>
                  </a:lnTo>
                  <a:lnTo>
                    <a:pt x="708" y="408"/>
                  </a:lnTo>
                  <a:lnTo>
                    <a:pt x="702" y="414"/>
                  </a:lnTo>
                  <a:lnTo>
                    <a:pt x="702" y="420"/>
                  </a:lnTo>
                  <a:lnTo>
                    <a:pt x="696" y="426"/>
                  </a:lnTo>
                  <a:lnTo>
                    <a:pt x="690" y="432"/>
                  </a:lnTo>
                  <a:lnTo>
                    <a:pt x="690" y="438"/>
                  </a:lnTo>
                  <a:lnTo>
                    <a:pt x="684" y="438"/>
                  </a:lnTo>
                  <a:lnTo>
                    <a:pt x="684" y="444"/>
                  </a:lnTo>
                  <a:lnTo>
                    <a:pt x="678" y="444"/>
                  </a:lnTo>
                  <a:lnTo>
                    <a:pt x="678" y="450"/>
                  </a:lnTo>
                  <a:lnTo>
                    <a:pt x="672" y="450"/>
                  </a:lnTo>
                  <a:lnTo>
                    <a:pt x="672" y="456"/>
                  </a:lnTo>
                  <a:lnTo>
                    <a:pt x="666" y="456"/>
                  </a:lnTo>
                  <a:lnTo>
                    <a:pt x="666" y="462"/>
                  </a:lnTo>
                  <a:lnTo>
                    <a:pt x="660" y="462"/>
                  </a:lnTo>
                  <a:lnTo>
                    <a:pt x="654" y="468"/>
                  </a:lnTo>
                  <a:lnTo>
                    <a:pt x="648" y="468"/>
                  </a:lnTo>
                  <a:lnTo>
                    <a:pt x="648" y="474"/>
                  </a:lnTo>
                  <a:lnTo>
                    <a:pt x="642" y="474"/>
                  </a:lnTo>
                  <a:lnTo>
                    <a:pt x="642" y="480"/>
                  </a:lnTo>
                  <a:lnTo>
                    <a:pt x="636" y="480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6" y="486"/>
                  </a:lnTo>
                  <a:lnTo>
                    <a:pt x="630" y="486"/>
                  </a:lnTo>
                  <a:lnTo>
                    <a:pt x="630" y="492"/>
                  </a:lnTo>
                  <a:lnTo>
                    <a:pt x="624" y="492"/>
                  </a:lnTo>
                  <a:lnTo>
                    <a:pt x="624" y="498"/>
                  </a:lnTo>
                  <a:lnTo>
                    <a:pt x="618" y="498"/>
                  </a:lnTo>
                  <a:lnTo>
                    <a:pt x="618" y="504"/>
                  </a:lnTo>
                  <a:lnTo>
                    <a:pt x="612" y="504"/>
                  </a:lnTo>
                  <a:lnTo>
                    <a:pt x="612" y="510"/>
                  </a:lnTo>
                  <a:lnTo>
                    <a:pt x="606" y="510"/>
                  </a:lnTo>
                  <a:lnTo>
                    <a:pt x="606" y="516"/>
                  </a:lnTo>
                  <a:lnTo>
                    <a:pt x="600" y="516"/>
                  </a:lnTo>
                  <a:lnTo>
                    <a:pt x="600" y="522"/>
                  </a:lnTo>
                  <a:lnTo>
                    <a:pt x="594" y="522"/>
                  </a:lnTo>
                  <a:lnTo>
                    <a:pt x="594" y="516"/>
                  </a:lnTo>
                  <a:lnTo>
                    <a:pt x="594" y="522"/>
                  </a:lnTo>
                  <a:lnTo>
                    <a:pt x="588" y="522"/>
                  </a:lnTo>
                  <a:lnTo>
                    <a:pt x="588" y="528"/>
                  </a:lnTo>
                  <a:lnTo>
                    <a:pt x="582" y="528"/>
                  </a:lnTo>
                  <a:lnTo>
                    <a:pt x="576" y="528"/>
                  </a:lnTo>
                  <a:lnTo>
                    <a:pt x="576" y="534"/>
                  </a:lnTo>
                  <a:lnTo>
                    <a:pt x="570" y="540"/>
                  </a:lnTo>
                  <a:lnTo>
                    <a:pt x="564" y="540"/>
                  </a:lnTo>
                  <a:lnTo>
                    <a:pt x="564" y="546"/>
                  </a:lnTo>
                  <a:lnTo>
                    <a:pt x="558" y="546"/>
                  </a:lnTo>
                  <a:lnTo>
                    <a:pt x="552" y="552"/>
                  </a:lnTo>
                  <a:lnTo>
                    <a:pt x="546" y="552"/>
                  </a:lnTo>
                  <a:lnTo>
                    <a:pt x="546" y="558"/>
                  </a:lnTo>
                  <a:lnTo>
                    <a:pt x="540" y="558"/>
                  </a:lnTo>
                  <a:lnTo>
                    <a:pt x="534" y="558"/>
                  </a:lnTo>
                  <a:lnTo>
                    <a:pt x="534" y="564"/>
                  </a:lnTo>
                  <a:lnTo>
                    <a:pt x="528" y="564"/>
                  </a:lnTo>
                  <a:lnTo>
                    <a:pt x="522" y="564"/>
                  </a:lnTo>
                  <a:lnTo>
                    <a:pt x="522" y="570"/>
                  </a:lnTo>
                  <a:lnTo>
                    <a:pt x="516" y="570"/>
                  </a:lnTo>
                  <a:lnTo>
                    <a:pt x="510" y="570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504" y="570"/>
                  </a:lnTo>
                  <a:lnTo>
                    <a:pt x="504" y="576"/>
                  </a:lnTo>
                  <a:lnTo>
                    <a:pt x="498" y="576"/>
                  </a:lnTo>
                  <a:lnTo>
                    <a:pt x="492" y="576"/>
                  </a:lnTo>
                  <a:lnTo>
                    <a:pt x="486" y="576"/>
                  </a:lnTo>
                  <a:lnTo>
                    <a:pt x="480" y="576"/>
                  </a:lnTo>
                  <a:lnTo>
                    <a:pt x="474" y="576"/>
                  </a:lnTo>
                  <a:lnTo>
                    <a:pt x="468" y="576"/>
                  </a:lnTo>
                  <a:lnTo>
                    <a:pt x="462" y="576"/>
                  </a:lnTo>
                  <a:lnTo>
                    <a:pt x="456" y="576"/>
                  </a:lnTo>
                  <a:lnTo>
                    <a:pt x="456" y="582"/>
                  </a:lnTo>
                  <a:lnTo>
                    <a:pt x="450" y="582"/>
                  </a:lnTo>
                  <a:lnTo>
                    <a:pt x="456" y="582"/>
                  </a:lnTo>
                  <a:lnTo>
                    <a:pt x="456" y="588"/>
                  </a:lnTo>
                  <a:lnTo>
                    <a:pt x="450" y="594"/>
                  </a:lnTo>
                  <a:lnTo>
                    <a:pt x="444" y="588"/>
                  </a:lnTo>
                  <a:lnTo>
                    <a:pt x="438" y="588"/>
                  </a:lnTo>
                  <a:lnTo>
                    <a:pt x="432" y="588"/>
                  </a:lnTo>
                  <a:lnTo>
                    <a:pt x="426" y="588"/>
                  </a:lnTo>
                  <a:lnTo>
                    <a:pt x="420" y="588"/>
                  </a:lnTo>
                  <a:lnTo>
                    <a:pt x="420" y="594"/>
                  </a:lnTo>
                  <a:lnTo>
                    <a:pt x="414" y="594"/>
                  </a:lnTo>
                  <a:lnTo>
                    <a:pt x="414" y="600"/>
                  </a:lnTo>
                  <a:lnTo>
                    <a:pt x="408" y="600"/>
                  </a:lnTo>
                  <a:lnTo>
                    <a:pt x="408" y="594"/>
                  </a:lnTo>
                  <a:lnTo>
                    <a:pt x="402" y="600"/>
                  </a:lnTo>
                  <a:lnTo>
                    <a:pt x="396" y="594"/>
                  </a:lnTo>
                  <a:lnTo>
                    <a:pt x="390" y="594"/>
                  </a:lnTo>
                  <a:lnTo>
                    <a:pt x="384" y="594"/>
                  </a:lnTo>
                  <a:lnTo>
                    <a:pt x="378" y="594"/>
                  </a:lnTo>
                  <a:lnTo>
                    <a:pt x="378" y="588"/>
                  </a:lnTo>
                  <a:lnTo>
                    <a:pt x="372" y="588"/>
                  </a:lnTo>
                  <a:lnTo>
                    <a:pt x="366" y="588"/>
                  </a:lnTo>
                  <a:lnTo>
                    <a:pt x="360" y="588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42" y="594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30" y="588"/>
                  </a:lnTo>
                  <a:lnTo>
                    <a:pt x="324" y="588"/>
                  </a:lnTo>
                  <a:lnTo>
                    <a:pt x="324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88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94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00"/>
                  </a:lnTo>
                  <a:lnTo>
                    <a:pt x="276" y="600"/>
                  </a:lnTo>
                  <a:lnTo>
                    <a:pt x="270" y="600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64" y="600"/>
                  </a:lnTo>
                  <a:lnTo>
                    <a:pt x="264" y="606"/>
                  </a:lnTo>
                  <a:lnTo>
                    <a:pt x="270" y="606"/>
                  </a:lnTo>
                  <a:lnTo>
                    <a:pt x="264" y="606"/>
                  </a:lnTo>
                  <a:lnTo>
                    <a:pt x="258" y="606"/>
                  </a:lnTo>
                  <a:lnTo>
                    <a:pt x="252" y="606"/>
                  </a:lnTo>
                  <a:lnTo>
                    <a:pt x="246" y="606"/>
                  </a:lnTo>
                  <a:lnTo>
                    <a:pt x="246" y="612"/>
                  </a:lnTo>
                  <a:lnTo>
                    <a:pt x="240" y="612"/>
                  </a:lnTo>
                  <a:lnTo>
                    <a:pt x="234" y="606"/>
                  </a:lnTo>
                  <a:lnTo>
                    <a:pt x="228" y="606"/>
                  </a:lnTo>
                  <a:lnTo>
                    <a:pt x="222" y="606"/>
                  </a:lnTo>
                  <a:lnTo>
                    <a:pt x="216" y="606"/>
                  </a:lnTo>
                  <a:lnTo>
                    <a:pt x="210" y="606"/>
                  </a:lnTo>
                  <a:lnTo>
                    <a:pt x="216" y="606"/>
                  </a:lnTo>
                  <a:lnTo>
                    <a:pt x="216" y="612"/>
                  </a:lnTo>
                  <a:lnTo>
                    <a:pt x="210" y="612"/>
                  </a:lnTo>
                  <a:lnTo>
                    <a:pt x="204" y="612"/>
                  </a:lnTo>
                  <a:lnTo>
                    <a:pt x="198" y="612"/>
                  </a:lnTo>
                  <a:lnTo>
                    <a:pt x="198" y="618"/>
                  </a:lnTo>
                  <a:lnTo>
                    <a:pt x="192" y="618"/>
                  </a:lnTo>
                  <a:lnTo>
                    <a:pt x="186" y="618"/>
                  </a:lnTo>
                  <a:lnTo>
                    <a:pt x="186" y="624"/>
                  </a:lnTo>
                  <a:lnTo>
                    <a:pt x="180" y="624"/>
                  </a:lnTo>
                  <a:lnTo>
                    <a:pt x="180" y="630"/>
                  </a:lnTo>
                  <a:lnTo>
                    <a:pt x="174" y="630"/>
                  </a:lnTo>
                  <a:lnTo>
                    <a:pt x="168" y="630"/>
                  </a:lnTo>
                  <a:lnTo>
                    <a:pt x="168" y="624"/>
                  </a:lnTo>
                  <a:lnTo>
                    <a:pt x="162" y="624"/>
                  </a:lnTo>
                  <a:lnTo>
                    <a:pt x="156" y="630"/>
                  </a:lnTo>
                  <a:lnTo>
                    <a:pt x="156" y="624"/>
                  </a:lnTo>
                  <a:lnTo>
                    <a:pt x="150" y="624"/>
                  </a:lnTo>
                  <a:lnTo>
                    <a:pt x="144" y="618"/>
                  </a:lnTo>
                  <a:lnTo>
                    <a:pt x="138" y="618"/>
                  </a:lnTo>
                  <a:lnTo>
                    <a:pt x="144" y="618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32" y="612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32" y="606"/>
                  </a:lnTo>
                  <a:lnTo>
                    <a:pt x="126" y="606"/>
                  </a:lnTo>
                  <a:lnTo>
                    <a:pt x="120" y="606"/>
                  </a:lnTo>
                  <a:lnTo>
                    <a:pt x="114" y="606"/>
                  </a:lnTo>
                  <a:lnTo>
                    <a:pt x="114" y="600"/>
                  </a:lnTo>
                  <a:lnTo>
                    <a:pt x="120" y="600"/>
                  </a:lnTo>
                  <a:lnTo>
                    <a:pt x="114" y="600"/>
                  </a:lnTo>
                  <a:lnTo>
                    <a:pt x="120" y="594"/>
                  </a:lnTo>
                  <a:lnTo>
                    <a:pt x="114" y="594"/>
                  </a:lnTo>
                  <a:lnTo>
                    <a:pt x="108" y="594"/>
                  </a:lnTo>
                  <a:lnTo>
                    <a:pt x="102" y="594"/>
                  </a:lnTo>
                  <a:lnTo>
                    <a:pt x="96" y="594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0"/>
                  </a:lnTo>
                  <a:lnTo>
                    <a:pt x="102" y="600"/>
                  </a:lnTo>
                  <a:lnTo>
                    <a:pt x="96" y="606"/>
                  </a:lnTo>
                  <a:lnTo>
                    <a:pt x="102" y="606"/>
                  </a:lnTo>
                  <a:lnTo>
                    <a:pt x="96" y="606"/>
                  </a:lnTo>
                  <a:lnTo>
                    <a:pt x="96" y="600"/>
                  </a:lnTo>
                  <a:lnTo>
                    <a:pt x="90" y="600"/>
                  </a:lnTo>
                  <a:lnTo>
                    <a:pt x="90" y="594"/>
                  </a:lnTo>
                  <a:lnTo>
                    <a:pt x="96" y="594"/>
                  </a:lnTo>
                  <a:lnTo>
                    <a:pt x="96" y="588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0" y="594"/>
                  </a:lnTo>
                  <a:lnTo>
                    <a:pt x="90" y="588"/>
                  </a:lnTo>
                  <a:lnTo>
                    <a:pt x="96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96" y="576"/>
                  </a:lnTo>
                  <a:lnTo>
                    <a:pt x="96" y="570"/>
                  </a:lnTo>
                  <a:lnTo>
                    <a:pt x="90" y="570"/>
                  </a:lnTo>
                  <a:lnTo>
                    <a:pt x="90" y="564"/>
                  </a:lnTo>
                  <a:lnTo>
                    <a:pt x="90" y="558"/>
                  </a:lnTo>
                  <a:lnTo>
                    <a:pt x="84" y="558"/>
                  </a:lnTo>
                  <a:lnTo>
                    <a:pt x="84" y="552"/>
                  </a:lnTo>
                  <a:lnTo>
                    <a:pt x="78" y="552"/>
                  </a:lnTo>
                  <a:lnTo>
                    <a:pt x="78" y="546"/>
                  </a:lnTo>
                  <a:lnTo>
                    <a:pt x="72" y="546"/>
                  </a:lnTo>
                  <a:lnTo>
                    <a:pt x="72" y="540"/>
                  </a:lnTo>
                  <a:lnTo>
                    <a:pt x="78" y="540"/>
                  </a:lnTo>
                  <a:lnTo>
                    <a:pt x="78" y="546"/>
                  </a:lnTo>
                  <a:lnTo>
                    <a:pt x="84" y="546"/>
                  </a:lnTo>
                  <a:lnTo>
                    <a:pt x="78" y="546"/>
                  </a:lnTo>
                  <a:lnTo>
                    <a:pt x="78" y="540"/>
                  </a:lnTo>
                  <a:lnTo>
                    <a:pt x="72" y="540"/>
                  </a:lnTo>
                  <a:lnTo>
                    <a:pt x="72" y="534"/>
                  </a:lnTo>
                  <a:lnTo>
                    <a:pt x="6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2" y="522"/>
                  </a:lnTo>
                  <a:lnTo>
                    <a:pt x="72" y="528"/>
                  </a:lnTo>
                  <a:lnTo>
                    <a:pt x="78" y="528"/>
                  </a:lnTo>
                  <a:lnTo>
                    <a:pt x="84" y="528"/>
                  </a:lnTo>
                  <a:lnTo>
                    <a:pt x="84" y="522"/>
                  </a:lnTo>
                  <a:lnTo>
                    <a:pt x="90" y="522"/>
                  </a:lnTo>
                  <a:lnTo>
                    <a:pt x="90" y="516"/>
                  </a:lnTo>
                  <a:lnTo>
                    <a:pt x="90" y="510"/>
                  </a:lnTo>
                  <a:lnTo>
                    <a:pt x="90" y="504"/>
                  </a:lnTo>
                  <a:lnTo>
                    <a:pt x="90" y="498"/>
                  </a:lnTo>
                  <a:lnTo>
                    <a:pt x="90" y="492"/>
                  </a:lnTo>
                  <a:lnTo>
                    <a:pt x="90" y="486"/>
                  </a:lnTo>
                  <a:lnTo>
                    <a:pt x="90" y="480"/>
                  </a:lnTo>
                  <a:lnTo>
                    <a:pt x="84" y="480"/>
                  </a:lnTo>
                  <a:lnTo>
                    <a:pt x="84" y="474"/>
                  </a:lnTo>
                  <a:lnTo>
                    <a:pt x="84" y="468"/>
                  </a:lnTo>
                  <a:lnTo>
                    <a:pt x="78" y="462"/>
                  </a:lnTo>
                  <a:lnTo>
                    <a:pt x="72" y="456"/>
                  </a:lnTo>
                  <a:lnTo>
                    <a:pt x="72" y="450"/>
                  </a:lnTo>
                  <a:lnTo>
                    <a:pt x="66" y="450"/>
                  </a:lnTo>
                  <a:lnTo>
                    <a:pt x="66" y="444"/>
                  </a:lnTo>
                  <a:lnTo>
                    <a:pt x="60" y="444"/>
                  </a:lnTo>
                  <a:lnTo>
                    <a:pt x="60" y="438"/>
                  </a:lnTo>
                  <a:lnTo>
                    <a:pt x="54" y="432"/>
                  </a:lnTo>
                  <a:lnTo>
                    <a:pt x="54" y="426"/>
                  </a:lnTo>
                  <a:lnTo>
                    <a:pt x="48" y="426"/>
                  </a:lnTo>
                  <a:lnTo>
                    <a:pt x="48" y="420"/>
                  </a:lnTo>
                  <a:lnTo>
                    <a:pt x="48" y="414"/>
                  </a:lnTo>
                  <a:lnTo>
                    <a:pt x="42" y="414"/>
                  </a:lnTo>
                  <a:lnTo>
                    <a:pt x="42" y="408"/>
                  </a:lnTo>
                  <a:lnTo>
                    <a:pt x="42" y="402"/>
                  </a:lnTo>
                  <a:lnTo>
                    <a:pt x="36" y="402"/>
                  </a:lnTo>
                  <a:lnTo>
                    <a:pt x="36" y="396"/>
                  </a:lnTo>
                  <a:lnTo>
                    <a:pt x="36" y="390"/>
                  </a:lnTo>
                  <a:lnTo>
                    <a:pt x="30" y="384"/>
                  </a:lnTo>
                  <a:lnTo>
                    <a:pt x="30" y="378"/>
                  </a:lnTo>
                  <a:lnTo>
                    <a:pt x="30" y="372"/>
                  </a:lnTo>
                  <a:lnTo>
                    <a:pt x="24" y="366"/>
                  </a:lnTo>
                  <a:lnTo>
                    <a:pt x="24" y="360"/>
                  </a:lnTo>
                  <a:lnTo>
                    <a:pt x="24" y="354"/>
                  </a:lnTo>
                  <a:lnTo>
                    <a:pt x="18" y="354"/>
                  </a:lnTo>
                  <a:lnTo>
                    <a:pt x="18" y="348"/>
                  </a:lnTo>
                  <a:lnTo>
                    <a:pt x="18" y="342"/>
                  </a:lnTo>
                  <a:lnTo>
                    <a:pt x="12" y="342"/>
                  </a:lnTo>
                  <a:lnTo>
                    <a:pt x="12" y="336"/>
                  </a:lnTo>
                  <a:lnTo>
                    <a:pt x="6" y="336"/>
                  </a:lnTo>
                  <a:lnTo>
                    <a:pt x="6" y="330"/>
                  </a:lnTo>
                  <a:lnTo>
                    <a:pt x="6" y="324"/>
                  </a:lnTo>
                  <a:lnTo>
                    <a:pt x="0" y="324"/>
                  </a:lnTo>
                  <a:lnTo>
                    <a:pt x="0" y="31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09" name="Freeform 64"/>
            <p:cNvSpPr>
              <a:spLocks noChangeAspect="1"/>
            </p:cNvSpPr>
            <p:nvPr>
              <p:custDataLst>
                <p:tags r:id="rId43"/>
              </p:custDataLst>
            </p:nvPr>
          </p:nvSpPr>
          <p:spPr bwMode="auto">
            <a:xfrm>
              <a:off x="3197" y="3569"/>
              <a:ext cx="107" cy="87"/>
            </a:xfrm>
            <a:custGeom>
              <a:avLst/>
              <a:gdLst>
                <a:gd name="T0" fmla="*/ 56 w 126"/>
                <a:gd name="T1" fmla="*/ 38 h 102"/>
                <a:gd name="T2" fmla="*/ 56 w 126"/>
                <a:gd name="T3" fmla="*/ 32 h 102"/>
                <a:gd name="T4" fmla="*/ 59 w 126"/>
                <a:gd name="T5" fmla="*/ 28 h 102"/>
                <a:gd name="T6" fmla="*/ 63 w 126"/>
                <a:gd name="T7" fmla="*/ 22 h 102"/>
                <a:gd name="T8" fmla="*/ 65 w 126"/>
                <a:gd name="T9" fmla="*/ 19 h 102"/>
                <a:gd name="T10" fmla="*/ 63 w 126"/>
                <a:gd name="T11" fmla="*/ 16 h 102"/>
                <a:gd name="T12" fmla="*/ 56 w 126"/>
                <a:gd name="T13" fmla="*/ 13 h 102"/>
                <a:gd name="T14" fmla="*/ 50 w 126"/>
                <a:gd name="T15" fmla="*/ 9 h 102"/>
                <a:gd name="T16" fmla="*/ 47 w 126"/>
                <a:gd name="T17" fmla="*/ 7 h 102"/>
                <a:gd name="T18" fmla="*/ 43 w 126"/>
                <a:gd name="T19" fmla="*/ 3 h 102"/>
                <a:gd name="T20" fmla="*/ 41 w 126"/>
                <a:gd name="T21" fmla="*/ 0 h 102"/>
                <a:gd name="T22" fmla="*/ 37 w 126"/>
                <a:gd name="T23" fmla="*/ 3 h 102"/>
                <a:gd name="T24" fmla="*/ 37 w 126"/>
                <a:gd name="T25" fmla="*/ 3 h 102"/>
                <a:gd name="T26" fmla="*/ 31 w 126"/>
                <a:gd name="T27" fmla="*/ 3 h 102"/>
                <a:gd name="T28" fmla="*/ 28 w 126"/>
                <a:gd name="T29" fmla="*/ 7 h 102"/>
                <a:gd name="T30" fmla="*/ 25 w 126"/>
                <a:gd name="T31" fmla="*/ 9 h 102"/>
                <a:gd name="T32" fmla="*/ 25 w 126"/>
                <a:gd name="T33" fmla="*/ 9 h 102"/>
                <a:gd name="T34" fmla="*/ 19 w 126"/>
                <a:gd name="T35" fmla="*/ 9 h 102"/>
                <a:gd name="T36" fmla="*/ 19 w 126"/>
                <a:gd name="T37" fmla="*/ 9 h 102"/>
                <a:gd name="T38" fmla="*/ 19 w 126"/>
                <a:gd name="T39" fmla="*/ 16 h 102"/>
                <a:gd name="T40" fmla="*/ 15 w 126"/>
                <a:gd name="T41" fmla="*/ 19 h 102"/>
                <a:gd name="T42" fmla="*/ 12 w 126"/>
                <a:gd name="T43" fmla="*/ 22 h 102"/>
                <a:gd name="T44" fmla="*/ 9 w 126"/>
                <a:gd name="T45" fmla="*/ 26 h 102"/>
                <a:gd name="T46" fmla="*/ 3 w 126"/>
                <a:gd name="T47" fmla="*/ 26 h 102"/>
                <a:gd name="T48" fmla="*/ 0 w 126"/>
                <a:gd name="T49" fmla="*/ 28 h 102"/>
                <a:gd name="T50" fmla="*/ 3 w 126"/>
                <a:gd name="T51" fmla="*/ 32 h 102"/>
                <a:gd name="T52" fmla="*/ 9 w 126"/>
                <a:gd name="T53" fmla="*/ 42 h 102"/>
                <a:gd name="T54" fmla="*/ 9 w 126"/>
                <a:gd name="T55" fmla="*/ 42 h 102"/>
                <a:gd name="T56" fmla="*/ 12 w 126"/>
                <a:gd name="T57" fmla="*/ 44 h 102"/>
                <a:gd name="T58" fmla="*/ 9 w 126"/>
                <a:gd name="T59" fmla="*/ 48 h 102"/>
                <a:gd name="T60" fmla="*/ 15 w 126"/>
                <a:gd name="T61" fmla="*/ 48 h 102"/>
                <a:gd name="T62" fmla="*/ 19 w 126"/>
                <a:gd name="T63" fmla="*/ 51 h 102"/>
                <a:gd name="T64" fmla="*/ 22 w 126"/>
                <a:gd name="T65" fmla="*/ 54 h 102"/>
                <a:gd name="T66" fmla="*/ 28 w 126"/>
                <a:gd name="T67" fmla="*/ 54 h 102"/>
                <a:gd name="T68" fmla="*/ 31 w 126"/>
                <a:gd name="T69" fmla="*/ 51 h 102"/>
                <a:gd name="T70" fmla="*/ 35 w 126"/>
                <a:gd name="T71" fmla="*/ 48 h 102"/>
                <a:gd name="T72" fmla="*/ 35 w 126"/>
                <a:gd name="T73" fmla="*/ 44 h 102"/>
                <a:gd name="T74" fmla="*/ 41 w 126"/>
                <a:gd name="T75" fmla="*/ 42 h 102"/>
                <a:gd name="T76" fmla="*/ 47 w 126"/>
                <a:gd name="T77" fmla="*/ 42 h 102"/>
                <a:gd name="T78" fmla="*/ 50 w 126"/>
                <a:gd name="T79" fmla="*/ 38 h 10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6" h="102">
                  <a:moveTo>
                    <a:pt x="102" y="72"/>
                  </a:moveTo>
                  <a:lnTo>
                    <a:pt x="108" y="72"/>
                  </a:lnTo>
                  <a:lnTo>
                    <a:pt x="108" y="66"/>
                  </a:lnTo>
                  <a:lnTo>
                    <a:pt x="108" y="60"/>
                  </a:lnTo>
                  <a:lnTo>
                    <a:pt x="108" y="54"/>
                  </a:lnTo>
                  <a:lnTo>
                    <a:pt x="114" y="54"/>
                  </a:lnTo>
                  <a:lnTo>
                    <a:pt x="114" y="48"/>
                  </a:lnTo>
                  <a:lnTo>
                    <a:pt x="120" y="42"/>
                  </a:lnTo>
                  <a:lnTo>
                    <a:pt x="126" y="42"/>
                  </a:lnTo>
                  <a:lnTo>
                    <a:pt x="126" y="36"/>
                  </a:lnTo>
                  <a:lnTo>
                    <a:pt x="120" y="36"/>
                  </a:lnTo>
                  <a:lnTo>
                    <a:pt x="120" y="30"/>
                  </a:lnTo>
                  <a:lnTo>
                    <a:pt x="114" y="24"/>
                  </a:lnTo>
                  <a:lnTo>
                    <a:pt x="108" y="24"/>
                  </a:lnTo>
                  <a:lnTo>
                    <a:pt x="102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84" y="0"/>
                  </a:lnTo>
                  <a:lnTo>
                    <a:pt x="78" y="0"/>
                  </a:lnTo>
                  <a:lnTo>
                    <a:pt x="7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60" y="12"/>
                  </a:lnTo>
                  <a:lnTo>
                    <a:pt x="54" y="12"/>
                  </a:lnTo>
                  <a:lnTo>
                    <a:pt x="54" y="18"/>
                  </a:lnTo>
                  <a:lnTo>
                    <a:pt x="48" y="18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36" y="30"/>
                  </a:lnTo>
                  <a:lnTo>
                    <a:pt x="30" y="30"/>
                  </a:lnTo>
                  <a:lnTo>
                    <a:pt x="30" y="36"/>
                  </a:lnTo>
                  <a:lnTo>
                    <a:pt x="24" y="36"/>
                  </a:lnTo>
                  <a:lnTo>
                    <a:pt x="24" y="42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6" y="54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24" y="78"/>
                  </a:lnTo>
                  <a:lnTo>
                    <a:pt x="18" y="78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24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102"/>
                  </a:lnTo>
                  <a:lnTo>
                    <a:pt x="42" y="102"/>
                  </a:lnTo>
                  <a:lnTo>
                    <a:pt x="48" y="102"/>
                  </a:lnTo>
                  <a:lnTo>
                    <a:pt x="54" y="102"/>
                  </a:lnTo>
                  <a:lnTo>
                    <a:pt x="60" y="102"/>
                  </a:lnTo>
                  <a:lnTo>
                    <a:pt x="60" y="96"/>
                  </a:lnTo>
                  <a:lnTo>
                    <a:pt x="60" y="90"/>
                  </a:lnTo>
                  <a:lnTo>
                    <a:pt x="66" y="90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2" y="78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90" y="78"/>
                  </a:lnTo>
                  <a:lnTo>
                    <a:pt x="96" y="78"/>
                  </a:lnTo>
                  <a:lnTo>
                    <a:pt x="96" y="72"/>
                  </a:lnTo>
                  <a:lnTo>
                    <a:pt x="102" y="7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10" name="Freeform 65"/>
            <p:cNvSpPr>
              <a:spLocks noChangeAspect="1"/>
            </p:cNvSpPr>
            <p:nvPr>
              <p:custDataLst>
                <p:tags r:id="rId44"/>
              </p:custDataLst>
            </p:nvPr>
          </p:nvSpPr>
          <p:spPr bwMode="auto">
            <a:xfrm>
              <a:off x="2555" y="3080"/>
              <a:ext cx="571" cy="505"/>
            </a:xfrm>
            <a:custGeom>
              <a:avLst/>
              <a:gdLst>
                <a:gd name="T0" fmla="*/ 6 w 672"/>
                <a:gd name="T1" fmla="*/ 7 h 594"/>
                <a:gd name="T2" fmla="*/ 19 w 672"/>
                <a:gd name="T3" fmla="*/ 9 h 594"/>
                <a:gd name="T4" fmla="*/ 28 w 672"/>
                <a:gd name="T5" fmla="*/ 3 h 594"/>
                <a:gd name="T6" fmla="*/ 43 w 672"/>
                <a:gd name="T7" fmla="*/ 0 h 594"/>
                <a:gd name="T8" fmla="*/ 47 w 672"/>
                <a:gd name="T9" fmla="*/ 7 h 594"/>
                <a:gd name="T10" fmla="*/ 56 w 672"/>
                <a:gd name="T11" fmla="*/ 12 h 594"/>
                <a:gd name="T12" fmla="*/ 134 w 672"/>
                <a:gd name="T13" fmla="*/ 12 h 594"/>
                <a:gd name="T14" fmla="*/ 178 w 672"/>
                <a:gd name="T15" fmla="*/ 16 h 594"/>
                <a:gd name="T16" fmla="*/ 188 w 672"/>
                <a:gd name="T17" fmla="*/ 22 h 594"/>
                <a:gd name="T18" fmla="*/ 200 w 672"/>
                <a:gd name="T19" fmla="*/ 26 h 594"/>
                <a:gd name="T20" fmla="*/ 200 w 672"/>
                <a:gd name="T21" fmla="*/ 22 h 594"/>
                <a:gd name="T22" fmla="*/ 206 w 672"/>
                <a:gd name="T23" fmla="*/ 26 h 594"/>
                <a:gd name="T24" fmla="*/ 218 w 672"/>
                <a:gd name="T25" fmla="*/ 26 h 594"/>
                <a:gd name="T26" fmla="*/ 229 w 672"/>
                <a:gd name="T27" fmla="*/ 26 h 594"/>
                <a:gd name="T28" fmla="*/ 238 w 672"/>
                <a:gd name="T29" fmla="*/ 26 h 594"/>
                <a:gd name="T30" fmla="*/ 288 w 672"/>
                <a:gd name="T31" fmla="*/ 19 h 594"/>
                <a:gd name="T32" fmla="*/ 329 w 672"/>
                <a:gd name="T33" fmla="*/ 16 h 594"/>
                <a:gd name="T34" fmla="*/ 338 w 672"/>
                <a:gd name="T35" fmla="*/ 16 h 594"/>
                <a:gd name="T36" fmla="*/ 348 w 672"/>
                <a:gd name="T37" fmla="*/ 22 h 594"/>
                <a:gd name="T38" fmla="*/ 338 w 672"/>
                <a:gd name="T39" fmla="*/ 22 h 594"/>
                <a:gd name="T40" fmla="*/ 329 w 672"/>
                <a:gd name="T41" fmla="*/ 26 h 594"/>
                <a:gd name="T42" fmla="*/ 319 w 672"/>
                <a:gd name="T43" fmla="*/ 31 h 594"/>
                <a:gd name="T44" fmla="*/ 310 w 672"/>
                <a:gd name="T45" fmla="*/ 37 h 594"/>
                <a:gd name="T46" fmla="*/ 304 w 672"/>
                <a:gd name="T47" fmla="*/ 31 h 594"/>
                <a:gd name="T48" fmla="*/ 251 w 672"/>
                <a:gd name="T49" fmla="*/ 35 h 594"/>
                <a:gd name="T50" fmla="*/ 213 w 672"/>
                <a:gd name="T51" fmla="*/ 204 h 594"/>
                <a:gd name="T52" fmla="*/ 206 w 672"/>
                <a:gd name="T53" fmla="*/ 298 h 594"/>
                <a:gd name="T54" fmla="*/ 197 w 672"/>
                <a:gd name="T55" fmla="*/ 307 h 594"/>
                <a:gd name="T56" fmla="*/ 188 w 672"/>
                <a:gd name="T57" fmla="*/ 310 h 594"/>
                <a:gd name="T58" fmla="*/ 175 w 672"/>
                <a:gd name="T59" fmla="*/ 310 h 594"/>
                <a:gd name="T60" fmla="*/ 162 w 672"/>
                <a:gd name="T61" fmla="*/ 307 h 594"/>
                <a:gd name="T62" fmla="*/ 150 w 672"/>
                <a:gd name="T63" fmla="*/ 304 h 594"/>
                <a:gd name="T64" fmla="*/ 147 w 672"/>
                <a:gd name="T65" fmla="*/ 298 h 594"/>
                <a:gd name="T66" fmla="*/ 141 w 672"/>
                <a:gd name="T67" fmla="*/ 288 h 594"/>
                <a:gd name="T68" fmla="*/ 132 w 672"/>
                <a:gd name="T69" fmla="*/ 294 h 594"/>
                <a:gd name="T70" fmla="*/ 128 w 672"/>
                <a:gd name="T71" fmla="*/ 298 h 594"/>
                <a:gd name="T72" fmla="*/ 119 w 672"/>
                <a:gd name="T73" fmla="*/ 302 h 594"/>
                <a:gd name="T74" fmla="*/ 109 w 672"/>
                <a:gd name="T75" fmla="*/ 292 h 594"/>
                <a:gd name="T76" fmla="*/ 100 w 672"/>
                <a:gd name="T77" fmla="*/ 282 h 594"/>
                <a:gd name="T78" fmla="*/ 91 w 672"/>
                <a:gd name="T79" fmla="*/ 270 h 594"/>
                <a:gd name="T80" fmla="*/ 88 w 672"/>
                <a:gd name="T81" fmla="*/ 257 h 594"/>
                <a:gd name="T82" fmla="*/ 84 w 672"/>
                <a:gd name="T83" fmla="*/ 251 h 594"/>
                <a:gd name="T84" fmla="*/ 88 w 672"/>
                <a:gd name="T85" fmla="*/ 244 h 594"/>
                <a:gd name="T86" fmla="*/ 84 w 672"/>
                <a:gd name="T87" fmla="*/ 239 h 594"/>
                <a:gd name="T88" fmla="*/ 78 w 672"/>
                <a:gd name="T89" fmla="*/ 229 h 594"/>
                <a:gd name="T90" fmla="*/ 78 w 672"/>
                <a:gd name="T91" fmla="*/ 219 h 594"/>
                <a:gd name="T92" fmla="*/ 78 w 672"/>
                <a:gd name="T93" fmla="*/ 210 h 594"/>
                <a:gd name="T94" fmla="*/ 75 w 672"/>
                <a:gd name="T95" fmla="*/ 197 h 594"/>
                <a:gd name="T96" fmla="*/ 69 w 672"/>
                <a:gd name="T97" fmla="*/ 185 h 594"/>
                <a:gd name="T98" fmla="*/ 71 w 672"/>
                <a:gd name="T99" fmla="*/ 173 h 594"/>
                <a:gd name="T100" fmla="*/ 71 w 672"/>
                <a:gd name="T101" fmla="*/ 162 h 594"/>
                <a:gd name="T102" fmla="*/ 71 w 672"/>
                <a:gd name="T103" fmla="*/ 156 h 594"/>
                <a:gd name="T104" fmla="*/ 69 w 672"/>
                <a:gd name="T105" fmla="*/ 142 h 594"/>
                <a:gd name="T106" fmla="*/ 59 w 672"/>
                <a:gd name="T107" fmla="*/ 128 h 594"/>
                <a:gd name="T108" fmla="*/ 54 w 672"/>
                <a:gd name="T109" fmla="*/ 119 h 594"/>
                <a:gd name="T110" fmla="*/ 47 w 672"/>
                <a:gd name="T111" fmla="*/ 106 h 594"/>
                <a:gd name="T112" fmla="*/ 41 w 672"/>
                <a:gd name="T113" fmla="*/ 97 h 594"/>
                <a:gd name="T114" fmla="*/ 35 w 672"/>
                <a:gd name="T115" fmla="*/ 82 h 594"/>
                <a:gd name="T116" fmla="*/ 28 w 672"/>
                <a:gd name="T117" fmla="*/ 69 h 594"/>
                <a:gd name="T118" fmla="*/ 19 w 672"/>
                <a:gd name="T119" fmla="*/ 51 h 594"/>
                <a:gd name="T120" fmla="*/ 6 w 672"/>
                <a:gd name="T121" fmla="*/ 41 h 594"/>
                <a:gd name="T122" fmla="*/ 0 w 672"/>
                <a:gd name="T123" fmla="*/ 26 h 594"/>
                <a:gd name="T124" fmla="*/ 0 w 672"/>
                <a:gd name="T125" fmla="*/ 9 h 59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672" h="594">
                  <a:moveTo>
                    <a:pt x="0" y="12"/>
                  </a:moveTo>
                  <a:lnTo>
                    <a:pt x="0" y="18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8" y="12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36" y="12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84" y="6"/>
                  </a:lnTo>
                  <a:lnTo>
                    <a:pt x="90" y="6"/>
                  </a:lnTo>
                  <a:lnTo>
                    <a:pt x="90" y="12"/>
                  </a:lnTo>
                  <a:lnTo>
                    <a:pt x="96" y="12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14" y="24"/>
                  </a:lnTo>
                  <a:lnTo>
                    <a:pt x="120" y="24"/>
                  </a:lnTo>
                  <a:lnTo>
                    <a:pt x="120" y="18"/>
                  </a:lnTo>
                  <a:lnTo>
                    <a:pt x="144" y="24"/>
                  </a:lnTo>
                  <a:lnTo>
                    <a:pt x="258" y="24"/>
                  </a:lnTo>
                  <a:lnTo>
                    <a:pt x="264" y="24"/>
                  </a:lnTo>
                  <a:lnTo>
                    <a:pt x="330" y="24"/>
                  </a:lnTo>
                  <a:lnTo>
                    <a:pt x="336" y="24"/>
                  </a:lnTo>
                  <a:lnTo>
                    <a:pt x="336" y="30"/>
                  </a:lnTo>
                  <a:lnTo>
                    <a:pt x="342" y="30"/>
                  </a:lnTo>
                  <a:lnTo>
                    <a:pt x="342" y="36"/>
                  </a:lnTo>
                  <a:lnTo>
                    <a:pt x="348" y="36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42"/>
                  </a:lnTo>
                  <a:lnTo>
                    <a:pt x="366" y="42"/>
                  </a:lnTo>
                  <a:lnTo>
                    <a:pt x="372" y="42"/>
                  </a:lnTo>
                  <a:lnTo>
                    <a:pt x="378" y="42"/>
                  </a:lnTo>
                  <a:lnTo>
                    <a:pt x="378" y="48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84" y="42"/>
                  </a:lnTo>
                  <a:lnTo>
                    <a:pt x="384" y="48"/>
                  </a:lnTo>
                  <a:lnTo>
                    <a:pt x="390" y="48"/>
                  </a:lnTo>
                  <a:lnTo>
                    <a:pt x="390" y="42"/>
                  </a:lnTo>
                  <a:lnTo>
                    <a:pt x="396" y="42"/>
                  </a:lnTo>
                  <a:lnTo>
                    <a:pt x="396" y="48"/>
                  </a:lnTo>
                  <a:lnTo>
                    <a:pt x="402" y="48"/>
                  </a:lnTo>
                  <a:lnTo>
                    <a:pt x="402" y="42"/>
                  </a:lnTo>
                  <a:lnTo>
                    <a:pt x="408" y="48"/>
                  </a:lnTo>
                  <a:lnTo>
                    <a:pt x="414" y="48"/>
                  </a:lnTo>
                  <a:lnTo>
                    <a:pt x="420" y="48"/>
                  </a:lnTo>
                  <a:lnTo>
                    <a:pt x="426" y="48"/>
                  </a:lnTo>
                  <a:lnTo>
                    <a:pt x="426" y="42"/>
                  </a:lnTo>
                  <a:lnTo>
                    <a:pt x="426" y="48"/>
                  </a:lnTo>
                  <a:lnTo>
                    <a:pt x="432" y="48"/>
                  </a:lnTo>
                  <a:lnTo>
                    <a:pt x="438" y="48"/>
                  </a:lnTo>
                  <a:lnTo>
                    <a:pt x="444" y="48"/>
                  </a:lnTo>
                  <a:lnTo>
                    <a:pt x="444" y="54"/>
                  </a:lnTo>
                  <a:lnTo>
                    <a:pt x="450" y="54"/>
                  </a:lnTo>
                  <a:lnTo>
                    <a:pt x="456" y="54"/>
                  </a:lnTo>
                  <a:lnTo>
                    <a:pt x="456" y="48"/>
                  </a:lnTo>
                  <a:lnTo>
                    <a:pt x="462" y="48"/>
                  </a:lnTo>
                  <a:lnTo>
                    <a:pt x="468" y="48"/>
                  </a:lnTo>
                  <a:lnTo>
                    <a:pt x="474" y="48"/>
                  </a:lnTo>
                  <a:lnTo>
                    <a:pt x="480" y="54"/>
                  </a:lnTo>
                  <a:lnTo>
                    <a:pt x="552" y="36"/>
                  </a:lnTo>
                  <a:lnTo>
                    <a:pt x="582" y="36"/>
                  </a:lnTo>
                  <a:lnTo>
                    <a:pt x="618" y="24"/>
                  </a:lnTo>
                  <a:lnTo>
                    <a:pt x="624" y="24"/>
                  </a:lnTo>
                  <a:lnTo>
                    <a:pt x="630" y="24"/>
                  </a:lnTo>
                  <a:lnTo>
                    <a:pt x="630" y="30"/>
                  </a:lnTo>
                  <a:lnTo>
                    <a:pt x="636" y="30"/>
                  </a:lnTo>
                  <a:lnTo>
                    <a:pt x="642" y="30"/>
                  </a:lnTo>
                  <a:lnTo>
                    <a:pt x="642" y="24"/>
                  </a:lnTo>
                  <a:lnTo>
                    <a:pt x="642" y="30"/>
                  </a:lnTo>
                  <a:lnTo>
                    <a:pt x="648" y="30"/>
                  </a:lnTo>
                  <a:lnTo>
                    <a:pt x="654" y="30"/>
                  </a:lnTo>
                  <a:lnTo>
                    <a:pt x="660" y="30"/>
                  </a:lnTo>
                  <a:lnTo>
                    <a:pt x="660" y="36"/>
                  </a:lnTo>
                  <a:lnTo>
                    <a:pt x="666" y="36"/>
                  </a:lnTo>
                  <a:lnTo>
                    <a:pt x="666" y="42"/>
                  </a:lnTo>
                  <a:lnTo>
                    <a:pt x="672" y="42"/>
                  </a:lnTo>
                  <a:lnTo>
                    <a:pt x="666" y="42"/>
                  </a:lnTo>
                  <a:lnTo>
                    <a:pt x="660" y="42"/>
                  </a:lnTo>
                  <a:lnTo>
                    <a:pt x="654" y="42"/>
                  </a:lnTo>
                  <a:lnTo>
                    <a:pt x="648" y="42"/>
                  </a:lnTo>
                  <a:lnTo>
                    <a:pt x="648" y="48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30" y="54"/>
                  </a:lnTo>
                  <a:lnTo>
                    <a:pt x="630" y="48"/>
                  </a:lnTo>
                  <a:lnTo>
                    <a:pt x="624" y="48"/>
                  </a:lnTo>
                  <a:lnTo>
                    <a:pt x="624" y="54"/>
                  </a:lnTo>
                  <a:lnTo>
                    <a:pt x="618" y="54"/>
                  </a:lnTo>
                  <a:lnTo>
                    <a:pt x="612" y="54"/>
                  </a:lnTo>
                  <a:lnTo>
                    <a:pt x="612" y="60"/>
                  </a:lnTo>
                  <a:lnTo>
                    <a:pt x="606" y="60"/>
                  </a:lnTo>
                  <a:lnTo>
                    <a:pt x="606" y="66"/>
                  </a:lnTo>
                  <a:lnTo>
                    <a:pt x="600" y="66"/>
                  </a:lnTo>
                  <a:lnTo>
                    <a:pt x="600" y="72"/>
                  </a:lnTo>
                  <a:lnTo>
                    <a:pt x="594" y="72"/>
                  </a:lnTo>
                  <a:lnTo>
                    <a:pt x="588" y="78"/>
                  </a:lnTo>
                  <a:lnTo>
                    <a:pt x="588" y="72"/>
                  </a:lnTo>
                  <a:lnTo>
                    <a:pt x="588" y="66"/>
                  </a:lnTo>
                  <a:lnTo>
                    <a:pt x="582" y="66"/>
                  </a:lnTo>
                  <a:lnTo>
                    <a:pt x="582" y="60"/>
                  </a:lnTo>
                  <a:lnTo>
                    <a:pt x="576" y="60"/>
                  </a:lnTo>
                  <a:lnTo>
                    <a:pt x="576" y="54"/>
                  </a:lnTo>
                  <a:lnTo>
                    <a:pt x="570" y="54"/>
                  </a:lnTo>
                  <a:lnTo>
                    <a:pt x="564" y="54"/>
                  </a:lnTo>
                  <a:lnTo>
                    <a:pt x="480" y="66"/>
                  </a:lnTo>
                  <a:lnTo>
                    <a:pt x="456" y="66"/>
                  </a:lnTo>
                  <a:lnTo>
                    <a:pt x="456" y="198"/>
                  </a:lnTo>
                  <a:lnTo>
                    <a:pt x="456" y="252"/>
                  </a:lnTo>
                  <a:lnTo>
                    <a:pt x="408" y="252"/>
                  </a:lnTo>
                  <a:lnTo>
                    <a:pt x="408" y="390"/>
                  </a:lnTo>
                  <a:lnTo>
                    <a:pt x="408" y="570"/>
                  </a:lnTo>
                  <a:lnTo>
                    <a:pt x="402" y="570"/>
                  </a:lnTo>
                  <a:lnTo>
                    <a:pt x="402" y="576"/>
                  </a:lnTo>
                  <a:lnTo>
                    <a:pt x="396" y="576"/>
                  </a:lnTo>
                  <a:lnTo>
                    <a:pt x="396" y="570"/>
                  </a:lnTo>
                  <a:lnTo>
                    <a:pt x="396" y="576"/>
                  </a:lnTo>
                  <a:lnTo>
                    <a:pt x="390" y="576"/>
                  </a:lnTo>
                  <a:lnTo>
                    <a:pt x="384" y="576"/>
                  </a:lnTo>
                  <a:lnTo>
                    <a:pt x="384" y="582"/>
                  </a:lnTo>
                  <a:lnTo>
                    <a:pt x="378" y="588"/>
                  </a:lnTo>
                  <a:lnTo>
                    <a:pt x="372" y="582"/>
                  </a:lnTo>
                  <a:lnTo>
                    <a:pt x="372" y="588"/>
                  </a:lnTo>
                  <a:lnTo>
                    <a:pt x="372" y="594"/>
                  </a:lnTo>
                  <a:lnTo>
                    <a:pt x="366" y="594"/>
                  </a:lnTo>
                  <a:lnTo>
                    <a:pt x="360" y="594"/>
                  </a:lnTo>
                  <a:lnTo>
                    <a:pt x="354" y="594"/>
                  </a:lnTo>
                  <a:lnTo>
                    <a:pt x="354" y="588"/>
                  </a:lnTo>
                  <a:lnTo>
                    <a:pt x="348" y="588"/>
                  </a:lnTo>
                  <a:lnTo>
                    <a:pt x="342" y="588"/>
                  </a:lnTo>
                  <a:lnTo>
                    <a:pt x="336" y="594"/>
                  </a:lnTo>
                  <a:lnTo>
                    <a:pt x="330" y="594"/>
                  </a:lnTo>
                  <a:lnTo>
                    <a:pt x="324" y="594"/>
                  </a:lnTo>
                  <a:lnTo>
                    <a:pt x="318" y="594"/>
                  </a:lnTo>
                  <a:lnTo>
                    <a:pt x="312" y="594"/>
                  </a:lnTo>
                  <a:lnTo>
                    <a:pt x="312" y="588"/>
                  </a:lnTo>
                  <a:lnTo>
                    <a:pt x="306" y="588"/>
                  </a:lnTo>
                  <a:lnTo>
                    <a:pt x="300" y="588"/>
                  </a:lnTo>
                  <a:lnTo>
                    <a:pt x="294" y="588"/>
                  </a:lnTo>
                  <a:lnTo>
                    <a:pt x="288" y="588"/>
                  </a:lnTo>
                  <a:lnTo>
                    <a:pt x="288" y="582"/>
                  </a:lnTo>
                  <a:lnTo>
                    <a:pt x="282" y="582"/>
                  </a:lnTo>
                  <a:lnTo>
                    <a:pt x="282" y="576"/>
                  </a:lnTo>
                  <a:lnTo>
                    <a:pt x="276" y="576"/>
                  </a:lnTo>
                  <a:lnTo>
                    <a:pt x="276" y="570"/>
                  </a:lnTo>
                  <a:lnTo>
                    <a:pt x="282" y="570"/>
                  </a:lnTo>
                  <a:lnTo>
                    <a:pt x="282" y="564"/>
                  </a:lnTo>
                  <a:lnTo>
                    <a:pt x="276" y="564"/>
                  </a:lnTo>
                  <a:lnTo>
                    <a:pt x="276" y="558"/>
                  </a:lnTo>
                  <a:lnTo>
                    <a:pt x="270" y="558"/>
                  </a:lnTo>
                  <a:lnTo>
                    <a:pt x="270" y="552"/>
                  </a:lnTo>
                  <a:lnTo>
                    <a:pt x="264" y="552"/>
                  </a:lnTo>
                  <a:lnTo>
                    <a:pt x="258" y="552"/>
                  </a:lnTo>
                  <a:lnTo>
                    <a:pt x="252" y="552"/>
                  </a:lnTo>
                  <a:lnTo>
                    <a:pt x="252" y="558"/>
                  </a:lnTo>
                  <a:lnTo>
                    <a:pt x="252" y="564"/>
                  </a:lnTo>
                  <a:lnTo>
                    <a:pt x="246" y="564"/>
                  </a:lnTo>
                  <a:lnTo>
                    <a:pt x="252" y="564"/>
                  </a:lnTo>
                  <a:lnTo>
                    <a:pt x="246" y="570"/>
                  </a:lnTo>
                  <a:lnTo>
                    <a:pt x="246" y="576"/>
                  </a:lnTo>
                  <a:lnTo>
                    <a:pt x="246" y="570"/>
                  </a:lnTo>
                  <a:lnTo>
                    <a:pt x="240" y="570"/>
                  </a:lnTo>
                  <a:lnTo>
                    <a:pt x="240" y="576"/>
                  </a:lnTo>
                  <a:lnTo>
                    <a:pt x="234" y="576"/>
                  </a:lnTo>
                  <a:lnTo>
                    <a:pt x="234" y="582"/>
                  </a:lnTo>
                  <a:lnTo>
                    <a:pt x="228" y="576"/>
                  </a:lnTo>
                  <a:lnTo>
                    <a:pt x="222" y="576"/>
                  </a:lnTo>
                  <a:lnTo>
                    <a:pt x="222" y="570"/>
                  </a:lnTo>
                  <a:lnTo>
                    <a:pt x="216" y="564"/>
                  </a:lnTo>
                  <a:lnTo>
                    <a:pt x="210" y="564"/>
                  </a:lnTo>
                  <a:lnTo>
                    <a:pt x="210" y="558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8" y="546"/>
                  </a:lnTo>
                  <a:lnTo>
                    <a:pt x="192" y="546"/>
                  </a:lnTo>
                  <a:lnTo>
                    <a:pt x="192" y="540"/>
                  </a:lnTo>
                  <a:lnTo>
                    <a:pt x="186" y="534"/>
                  </a:lnTo>
                  <a:lnTo>
                    <a:pt x="186" y="528"/>
                  </a:lnTo>
                  <a:lnTo>
                    <a:pt x="180" y="522"/>
                  </a:lnTo>
                  <a:lnTo>
                    <a:pt x="180" y="516"/>
                  </a:lnTo>
                  <a:lnTo>
                    <a:pt x="174" y="516"/>
                  </a:lnTo>
                  <a:lnTo>
                    <a:pt x="174" y="510"/>
                  </a:lnTo>
                  <a:lnTo>
                    <a:pt x="174" y="504"/>
                  </a:lnTo>
                  <a:lnTo>
                    <a:pt x="174" y="498"/>
                  </a:lnTo>
                  <a:lnTo>
                    <a:pt x="174" y="492"/>
                  </a:lnTo>
                  <a:lnTo>
                    <a:pt x="168" y="492"/>
                  </a:lnTo>
                  <a:lnTo>
                    <a:pt x="168" y="498"/>
                  </a:lnTo>
                  <a:lnTo>
                    <a:pt x="168" y="492"/>
                  </a:lnTo>
                  <a:lnTo>
                    <a:pt x="168" y="486"/>
                  </a:lnTo>
                  <a:lnTo>
                    <a:pt x="162" y="486"/>
                  </a:lnTo>
                  <a:lnTo>
                    <a:pt x="162" y="480"/>
                  </a:lnTo>
                  <a:lnTo>
                    <a:pt x="168" y="480"/>
                  </a:lnTo>
                  <a:lnTo>
                    <a:pt x="168" y="486"/>
                  </a:lnTo>
                  <a:lnTo>
                    <a:pt x="168" y="480"/>
                  </a:lnTo>
                  <a:lnTo>
                    <a:pt x="168" y="474"/>
                  </a:lnTo>
                  <a:lnTo>
                    <a:pt x="168" y="468"/>
                  </a:lnTo>
                  <a:lnTo>
                    <a:pt x="162" y="468"/>
                  </a:lnTo>
                  <a:lnTo>
                    <a:pt x="156" y="462"/>
                  </a:lnTo>
                  <a:lnTo>
                    <a:pt x="162" y="462"/>
                  </a:lnTo>
                  <a:lnTo>
                    <a:pt x="156" y="456"/>
                  </a:lnTo>
                  <a:lnTo>
                    <a:pt x="162" y="456"/>
                  </a:lnTo>
                  <a:lnTo>
                    <a:pt x="162" y="450"/>
                  </a:lnTo>
                  <a:lnTo>
                    <a:pt x="156" y="450"/>
                  </a:lnTo>
                  <a:lnTo>
                    <a:pt x="156" y="444"/>
                  </a:lnTo>
                  <a:lnTo>
                    <a:pt x="156" y="438"/>
                  </a:lnTo>
                  <a:lnTo>
                    <a:pt x="150" y="438"/>
                  </a:lnTo>
                  <a:lnTo>
                    <a:pt x="156" y="438"/>
                  </a:lnTo>
                  <a:lnTo>
                    <a:pt x="150" y="432"/>
                  </a:lnTo>
                  <a:lnTo>
                    <a:pt x="156" y="432"/>
                  </a:lnTo>
                  <a:lnTo>
                    <a:pt x="156" y="426"/>
                  </a:lnTo>
                  <a:lnTo>
                    <a:pt x="150" y="420"/>
                  </a:lnTo>
                  <a:lnTo>
                    <a:pt x="150" y="414"/>
                  </a:lnTo>
                  <a:lnTo>
                    <a:pt x="150" y="408"/>
                  </a:lnTo>
                  <a:lnTo>
                    <a:pt x="156" y="408"/>
                  </a:lnTo>
                  <a:lnTo>
                    <a:pt x="156" y="402"/>
                  </a:lnTo>
                  <a:lnTo>
                    <a:pt x="150" y="402"/>
                  </a:lnTo>
                  <a:lnTo>
                    <a:pt x="150" y="396"/>
                  </a:lnTo>
                  <a:lnTo>
                    <a:pt x="150" y="390"/>
                  </a:lnTo>
                  <a:lnTo>
                    <a:pt x="150" y="384"/>
                  </a:lnTo>
                  <a:lnTo>
                    <a:pt x="144" y="384"/>
                  </a:lnTo>
                  <a:lnTo>
                    <a:pt x="144" y="378"/>
                  </a:lnTo>
                  <a:lnTo>
                    <a:pt x="138" y="378"/>
                  </a:lnTo>
                  <a:lnTo>
                    <a:pt x="144" y="378"/>
                  </a:lnTo>
                  <a:lnTo>
                    <a:pt x="144" y="372"/>
                  </a:lnTo>
                  <a:lnTo>
                    <a:pt x="138" y="360"/>
                  </a:lnTo>
                  <a:lnTo>
                    <a:pt x="132" y="354"/>
                  </a:lnTo>
                  <a:lnTo>
                    <a:pt x="132" y="348"/>
                  </a:lnTo>
                  <a:lnTo>
                    <a:pt x="138" y="348"/>
                  </a:lnTo>
                  <a:lnTo>
                    <a:pt x="138" y="342"/>
                  </a:lnTo>
                  <a:lnTo>
                    <a:pt x="138" y="336"/>
                  </a:lnTo>
                  <a:lnTo>
                    <a:pt x="138" y="330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2" y="318"/>
                  </a:lnTo>
                  <a:lnTo>
                    <a:pt x="138" y="318"/>
                  </a:lnTo>
                  <a:lnTo>
                    <a:pt x="138" y="312"/>
                  </a:lnTo>
                  <a:lnTo>
                    <a:pt x="132" y="306"/>
                  </a:lnTo>
                  <a:lnTo>
                    <a:pt x="132" y="300"/>
                  </a:lnTo>
                  <a:lnTo>
                    <a:pt x="132" y="294"/>
                  </a:lnTo>
                  <a:lnTo>
                    <a:pt x="132" y="300"/>
                  </a:lnTo>
                  <a:lnTo>
                    <a:pt x="138" y="300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8" y="282"/>
                  </a:lnTo>
                  <a:lnTo>
                    <a:pt x="138" y="276"/>
                  </a:lnTo>
                  <a:lnTo>
                    <a:pt x="132" y="270"/>
                  </a:lnTo>
                  <a:lnTo>
                    <a:pt x="132" y="264"/>
                  </a:lnTo>
                  <a:lnTo>
                    <a:pt x="126" y="258"/>
                  </a:lnTo>
                  <a:lnTo>
                    <a:pt x="120" y="252"/>
                  </a:lnTo>
                  <a:lnTo>
                    <a:pt x="120" y="246"/>
                  </a:lnTo>
                  <a:lnTo>
                    <a:pt x="114" y="246"/>
                  </a:lnTo>
                  <a:lnTo>
                    <a:pt x="114" y="240"/>
                  </a:lnTo>
                  <a:lnTo>
                    <a:pt x="108" y="240"/>
                  </a:lnTo>
                  <a:lnTo>
                    <a:pt x="108" y="234"/>
                  </a:lnTo>
                  <a:lnTo>
                    <a:pt x="108" y="228"/>
                  </a:lnTo>
                  <a:lnTo>
                    <a:pt x="102" y="228"/>
                  </a:lnTo>
                  <a:lnTo>
                    <a:pt x="102" y="222"/>
                  </a:lnTo>
                  <a:lnTo>
                    <a:pt x="96" y="216"/>
                  </a:lnTo>
                  <a:lnTo>
                    <a:pt x="96" y="210"/>
                  </a:lnTo>
                  <a:lnTo>
                    <a:pt x="90" y="210"/>
                  </a:lnTo>
                  <a:lnTo>
                    <a:pt x="90" y="204"/>
                  </a:lnTo>
                  <a:lnTo>
                    <a:pt x="90" y="198"/>
                  </a:lnTo>
                  <a:lnTo>
                    <a:pt x="84" y="198"/>
                  </a:lnTo>
                  <a:lnTo>
                    <a:pt x="84" y="192"/>
                  </a:lnTo>
                  <a:lnTo>
                    <a:pt x="78" y="192"/>
                  </a:lnTo>
                  <a:lnTo>
                    <a:pt x="78" y="186"/>
                  </a:lnTo>
                  <a:lnTo>
                    <a:pt x="78" y="174"/>
                  </a:lnTo>
                  <a:lnTo>
                    <a:pt x="72" y="174"/>
                  </a:lnTo>
                  <a:lnTo>
                    <a:pt x="72" y="168"/>
                  </a:lnTo>
                  <a:lnTo>
                    <a:pt x="72" y="162"/>
                  </a:lnTo>
                  <a:lnTo>
                    <a:pt x="66" y="156"/>
                  </a:lnTo>
                  <a:lnTo>
                    <a:pt x="60" y="150"/>
                  </a:lnTo>
                  <a:lnTo>
                    <a:pt x="60" y="144"/>
                  </a:lnTo>
                  <a:lnTo>
                    <a:pt x="60" y="138"/>
                  </a:lnTo>
                  <a:lnTo>
                    <a:pt x="54" y="138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48" y="120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36" y="96"/>
                  </a:lnTo>
                  <a:lnTo>
                    <a:pt x="30" y="96"/>
                  </a:lnTo>
                  <a:lnTo>
                    <a:pt x="30" y="90"/>
                  </a:lnTo>
                  <a:lnTo>
                    <a:pt x="24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11" name="Freeform 66"/>
            <p:cNvSpPr>
              <a:spLocks noChangeAspect="1"/>
            </p:cNvSpPr>
            <p:nvPr>
              <p:custDataLst>
                <p:tags r:id="rId45"/>
              </p:custDataLst>
            </p:nvPr>
          </p:nvSpPr>
          <p:spPr bwMode="auto">
            <a:xfrm>
              <a:off x="3360" y="3452"/>
              <a:ext cx="56" cy="66"/>
            </a:xfrm>
            <a:custGeom>
              <a:avLst/>
              <a:gdLst>
                <a:gd name="T0" fmla="*/ 28 w 66"/>
                <a:gd name="T1" fmla="*/ 3 h 78"/>
                <a:gd name="T2" fmla="*/ 31 w 66"/>
                <a:gd name="T3" fmla="*/ 6 h 78"/>
                <a:gd name="T4" fmla="*/ 31 w 66"/>
                <a:gd name="T5" fmla="*/ 9 h 78"/>
                <a:gd name="T6" fmla="*/ 31 w 66"/>
                <a:gd name="T7" fmla="*/ 12 h 78"/>
                <a:gd name="T8" fmla="*/ 31 w 66"/>
                <a:gd name="T9" fmla="*/ 15 h 78"/>
                <a:gd name="T10" fmla="*/ 35 w 66"/>
                <a:gd name="T11" fmla="*/ 18 h 78"/>
                <a:gd name="T12" fmla="*/ 35 w 66"/>
                <a:gd name="T13" fmla="*/ 28 h 78"/>
                <a:gd name="T14" fmla="*/ 31 w 66"/>
                <a:gd name="T15" fmla="*/ 28 h 78"/>
                <a:gd name="T16" fmla="*/ 28 w 66"/>
                <a:gd name="T17" fmla="*/ 30 h 78"/>
                <a:gd name="T18" fmla="*/ 28 w 66"/>
                <a:gd name="T19" fmla="*/ 34 h 78"/>
                <a:gd name="T20" fmla="*/ 28 w 66"/>
                <a:gd name="T21" fmla="*/ 40 h 78"/>
                <a:gd name="T22" fmla="*/ 19 w 66"/>
                <a:gd name="T23" fmla="*/ 40 h 78"/>
                <a:gd name="T24" fmla="*/ 15 w 66"/>
                <a:gd name="T25" fmla="*/ 40 h 78"/>
                <a:gd name="T26" fmla="*/ 12 w 66"/>
                <a:gd name="T27" fmla="*/ 37 h 78"/>
                <a:gd name="T28" fmla="*/ 9 w 66"/>
                <a:gd name="T29" fmla="*/ 37 h 78"/>
                <a:gd name="T30" fmla="*/ 6 w 66"/>
                <a:gd name="T31" fmla="*/ 34 h 78"/>
                <a:gd name="T32" fmla="*/ 3 w 66"/>
                <a:gd name="T33" fmla="*/ 30 h 78"/>
                <a:gd name="T34" fmla="*/ 3 w 66"/>
                <a:gd name="T35" fmla="*/ 28 h 78"/>
                <a:gd name="T36" fmla="*/ 0 w 66"/>
                <a:gd name="T37" fmla="*/ 28 h 78"/>
                <a:gd name="T38" fmla="*/ 0 w 66"/>
                <a:gd name="T39" fmla="*/ 25 h 78"/>
                <a:gd name="T40" fmla="*/ 0 w 66"/>
                <a:gd name="T41" fmla="*/ 28 h 78"/>
                <a:gd name="T42" fmla="*/ 0 w 66"/>
                <a:gd name="T43" fmla="*/ 25 h 78"/>
                <a:gd name="T44" fmla="*/ 0 w 66"/>
                <a:gd name="T45" fmla="*/ 21 h 78"/>
                <a:gd name="T46" fmla="*/ 0 w 66"/>
                <a:gd name="T47" fmla="*/ 18 h 78"/>
                <a:gd name="T48" fmla="*/ 0 w 66"/>
                <a:gd name="T49" fmla="*/ 15 h 78"/>
                <a:gd name="T50" fmla="*/ 0 w 66"/>
                <a:gd name="T51" fmla="*/ 12 h 78"/>
                <a:gd name="T52" fmla="*/ 3 w 66"/>
                <a:gd name="T53" fmla="*/ 12 h 78"/>
                <a:gd name="T54" fmla="*/ 6 w 66"/>
                <a:gd name="T55" fmla="*/ 6 h 78"/>
                <a:gd name="T56" fmla="*/ 6 w 66"/>
                <a:gd name="T57" fmla="*/ 3 h 78"/>
                <a:gd name="T58" fmla="*/ 9 w 66"/>
                <a:gd name="T59" fmla="*/ 0 h 78"/>
                <a:gd name="T60" fmla="*/ 12 w 66"/>
                <a:gd name="T61" fmla="*/ 0 h 78"/>
                <a:gd name="T62" fmla="*/ 15 w 66"/>
                <a:gd name="T63" fmla="*/ 0 h 78"/>
                <a:gd name="T64" fmla="*/ 19 w 66"/>
                <a:gd name="T65" fmla="*/ 0 h 78"/>
                <a:gd name="T66" fmla="*/ 19 w 66"/>
                <a:gd name="T67" fmla="*/ 3 h 78"/>
                <a:gd name="T68" fmla="*/ 25 w 66"/>
                <a:gd name="T69" fmla="*/ 6 h 78"/>
                <a:gd name="T70" fmla="*/ 28 w 66"/>
                <a:gd name="T71" fmla="*/ 6 h 78"/>
                <a:gd name="T72" fmla="*/ 28 w 66"/>
                <a:gd name="T73" fmla="*/ 3 h 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6" h="78">
                  <a:moveTo>
                    <a:pt x="54" y="6"/>
                  </a:moveTo>
                  <a:lnTo>
                    <a:pt x="60" y="12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60" y="30"/>
                  </a:lnTo>
                  <a:lnTo>
                    <a:pt x="66" y="36"/>
                  </a:lnTo>
                  <a:lnTo>
                    <a:pt x="66" y="54"/>
                  </a:lnTo>
                  <a:lnTo>
                    <a:pt x="60" y="54"/>
                  </a:lnTo>
                  <a:lnTo>
                    <a:pt x="54" y="60"/>
                  </a:lnTo>
                  <a:lnTo>
                    <a:pt x="54" y="66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30" y="78"/>
                  </a:lnTo>
                  <a:lnTo>
                    <a:pt x="24" y="72"/>
                  </a:lnTo>
                  <a:lnTo>
                    <a:pt x="18" y="72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0" y="48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2" y="12"/>
                  </a:lnTo>
                  <a:lnTo>
                    <a:pt x="12" y="6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6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54" y="6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12" name="Freeform 67"/>
            <p:cNvSpPr>
              <a:spLocks noChangeAspect="1"/>
            </p:cNvSpPr>
            <p:nvPr>
              <p:custDataLst>
                <p:tags r:id="rId46"/>
              </p:custDataLst>
            </p:nvPr>
          </p:nvSpPr>
          <p:spPr bwMode="auto">
            <a:xfrm>
              <a:off x="3462" y="2845"/>
              <a:ext cx="133" cy="240"/>
            </a:xfrm>
            <a:custGeom>
              <a:avLst/>
              <a:gdLst>
                <a:gd name="T0" fmla="*/ 0 w 156"/>
                <a:gd name="T1" fmla="*/ 69 h 282"/>
                <a:gd name="T2" fmla="*/ 3 w 156"/>
                <a:gd name="T3" fmla="*/ 76 h 282"/>
                <a:gd name="T4" fmla="*/ 9 w 156"/>
                <a:gd name="T5" fmla="*/ 79 h 282"/>
                <a:gd name="T6" fmla="*/ 16 w 156"/>
                <a:gd name="T7" fmla="*/ 82 h 282"/>
                <a:gd name="T8" fmla="*/ 22 w 156"/>
                <a:gd name="T9" fmla="*/ 79 h 282"/>
                <a:gd name="T10" fmla="*/ 32 w 156"/>
                <a:gd name="T11" fmla="*/ 79 h 282"/>
                <a:gd name="T12" fmla="*/ 35 w 156"/>
                <a:gd name="T13" fmla="*/ 85 h 282"/>
                <a:gd name="T14" fmla="*/ 35 w 156"/>
                <a:gd name="T15" fmla="*/ 91 h 282"/>
                <a:gd name="T16" fmla="*/ 35 w 156"/>
                <a:gd name="T17" fmla="*/ 100 h 282"/>
                <a:gd name="T18" fmla="*/ 35 w 156"/>
                <a:gd name="T19" fmla="*/ 105 h 282"/>
                <a:gd name="T20" fmla="*/ 32 w 156"/>
                <a:gd name="T21" fmla="*/ 110 h 282"/>
                <a:gd name="T22" fmla="*/ 26 w 156"/>
                <a:gd name="T23" fmla="*/ 114 h 282"/>
                <a:gd name="T24" fmla="*/ 28 w 156"/>
                <a:gd name="T25" fmla="*/ 119 h 282"/>
                <a:gd name="T26" fmla="*/ 28 w 156"/>
                <a:gd name="T27" fmla="*/ 123 h 282"/>
                <a:gd name="T28" fmla="*/ 32 w 156"/>
                <a:gd name="T29" fmla="*/ 129 h 282"/>
                <a:gd name="T30" fmla="*/ 35 w 156"/>
                <a:gd name="T31" fmla="*/ 132 h 282"/>
                <a:gd name="T32" fmla="*/ 42 w 156"/>
                <a:gd name="T33" fmla="*/ 135 h 282"/>
                <a:gd name="T34" fmla="*/ 44 w 156"/>
                <a:gd name="T35" fmla="*/ 142 h 282"/>
                <a:gd name="T36" fmla="*/ 51 w 156"/>
                <a:gd name="T37" fmla="*/ 145 h 282"/>
                <a:gd name="T38" fmla="*/ 54 w 156"/>
                <a:gd name="T39" fmla="*/ 148 h 282"/>
                <a:gd name="T40" fmla="*/ 54 w 156"/>
                <a:gd name="T41" fmla="*/ 139 h 282"/>
                <a:gd name="T42" fmla="*/ 51 w 156"/>
                <a:gd name="T43" fmla="*/ 132 h 282"/>
                <a:gd name="T44" fmla="*/ 54 w 156"/>
                <a:gd name="T45" fmla="*/ 126 h 282"/>
                <a:gd name="T46" fmla="*/ 61 w 156"/>
                <a:gd name="T47" fmla="*/ 123 h 282"/>
                <a:gd name="T48" fmla="*/ 67 w 156"/>
                <a:gd name="T49" fmla="*/ 119 h 282"/>
                <a:gd name="T50" fmla="*/ 67 w 156"/>
                <a:gd name="T51" fmla="*/ 97 h 282"/>
                <a:gd name="T52" fmla="*/ 61 w 156"/>
                <a:gd name="T53" fmla="*/ 76 h 282"/>
                <a:gd name="T54" fmla="*/ 48 w 156"/>
                <a:gd name="T55" fmla="*/ 60 h 282"/>
                <a:gd name="T56" fmla="*/ 35 w 156"/>
                <a:gd name="T57" fmla="*/ 54 h 282"/>
                <a:gd name="T58" fmla="*/ 35 w 156"/>
                <a:gd name="T59" fmla="*/ 48 h 282"/>
                <a:gd name="T60" fmla="*/ 32 w 156"/>
                <a:gd name="T61" fmla="*/ 37 h 282"/>
                <a:gd name="T62" fmla="*/ 32 w 156"/>
                <a:gd name="T63" fmla="*/ 26 h 282"/>
                <a:gd name="T64" fmla="*/ 32 w 156"/>
                <a:gd name="T65" fmla="*/ 19 h 282"/>
                <a:gd name="T66" fmla="*/ 35 w 156"/>
                <a:gd name="T67" fmla="*/ 7 h 282"/>
                <a:gd name="T68" fmla="*/ 54 w 156"/>
                <a:gd name="T69" fmla="*/ 3 h 282"/>
                <a:gd name="T70" fmla="*/ 57 w 156"/>
                <a:gd name="T71" fmla="*/ 3 h 282"/>
                <a:gd name="T72" fmla="*/ 61 w 156"/>
                <a:gd name="T73" fmla="*/ 3 h 282"/>
                <a:gd name="T74" fmla="*/ 61 w 156"/>
                <a:gd name="T75" fmla="*/ 7 h 282"/>
                <a:gd name="T76" fmla="*/ 63 w 156"/>
                <a:gd name="T77" fmla="*/ 3 h 282"/>
                <a:gd name="T78" fmla="*/ 70 w 156"/>
                <a:gd name="T79" fmla="*/ 0 h 282"/>
                <a:gd name="T80" fmla="*/ 77 w 156"/>
                <a:gd name="T81" fmla="*/ 3 h 282"/>
                <a:gd name="T82" fmla="*/ 79 w 156"/>
                <a:gd name="T83" fmla="*/ 7 h 282"/>
                <a:gd name="T84" fmla="*/ 82 w 156"/>
                <a:gd name="T85" fmla="*/ 7 h 2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56" h="282">
                  <a:moveTo>
                    <a:pt x="0" y="132"/>
                  </a:moveTo>
                  <a:lnTo>
                    <a:pt x="0" y="126"/>
                  </a:lnTo>
                  <a:lnTo>
                    <a:pt x="0" y="132"/>
                  </a:lnTo>
                  <a:lnTo>
                    <a:pt x="0" y="138"/>
                  </a:lnTo>
                  <a:lnTo>
                    <a:pt x="6" y="138"/>
                  </a:lnTo>
                  <a:lnTo>
                    <a:pt x="6" y="144"/>
                  </a:lnTo>
                  <a:lnTo>
                    <a:pt x="12" y="144"/>
                  </a:lnTo>
                  <a:lnTo>
                    <a:pt x="12" y="150"/>
                  </a:lnTo>
                  <a:lnTo>
                    <a:pt x="18" y="150"/>
                  </a:lnTo>
                  <a:lnTo>
                    <a:pt x="18" y="156"/>
                  </a:lnTo>
                  <a:lnTo>
                    <a:pt x="24" y="156"/>
                  </a:lnTo>
                  <a:lnTo>
                    <a:pt x="30" y="156"/>
                  </a:lnTo>
                  <a:lnTo>
                    <a:pt x="30" y="150"/>
                  </a:lnTo>
                  <a:lnTo>
                    <a:pt x="36" y="150"/>
                  </a:lnTo>
                  <a:lnTo>
                    <a:pt x="42" y="150"/>
                  </a:lnTo>
                  <a:lnTo>
                    <a:pt x="48" y="150"/>
                  </a:lnTo>
                  <a:lnTo>
                    <a:pt x="54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66" y="162"/>
                  </a:lnTo>
                  <a:lnTo>
                    <a:pt x="60" y="162"/>
                  </a:lnTo>
                  <a:lnTo>
                    <a:pt x="66" y="168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6" y="186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6" y="192"/>
                  </a:lnTo>
                  <a:lnTo>
                    <a:pt x="66" y="198"/>
                  </a:lnTo>
                  <a:lnTo>
                    <a:pt x="60" y="198"/>
                  </a:lnTo>
                  <a:lnTo>
                    <a:pt x="60" y="204"/>
                  </a:lnTo>
                  <a:lnTo>
                    <a:pt x="60" y="210"/>
                  </a:lnTo>
                  <a:lnTo>
                    <a:pt x="54" y="210"/>
                  </a:lnTo>
                  <a:lnTo>
                    <a:pt x="54" y="216"/>
                  </a:lnTo>
                  <a:lnTo>
                    <a:pt x="48" y="216"/>
                  </a:lnTo>
                  <a:lnTo>
                    <a:pt x="48" y="222"/>
                  </a:lnTo>
                  <a:lnTo>
                    <a:pt x="54" y="222"/>
                  </a:lnTo>
                  <a:lnTo>
                    <a:pt x="54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54" y="234"/>
                  </a:lnTo>
                  <a:lnTo>
                    <a:pt x="54" y="240"/>
                  </a:lnTo>
                  <a:lnTo>
                    <a:pt x="60" y="240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6"/>
                  </a:lnTo>
                  <a:lnTo>
                    <a:pt x="66" y="252"/>
                  </a:lnTo>
                  <a:lnTo>
                    <a:pt x="72" y="252"/>
                  </a:lnTo>
                  <a:lnTo>
                    <a:pt x="72" y="258"/>
                  </a:lnTo>
                  <a:lnTo>
                    <a:pt x="78" y="258"/>
                  </a:lnTo>
                  <a:lnTo>
                    <a:pt x="78" y="264"/>
                  </a:lnTo>
                  <a:lnTo>
                    <a:pt x="84" y="264"/>
                  </a:lnTo>
                  <a:lnTo>
                    <a:pt x="84" y="270"/>
                  </a:lnTo>
                  <a:lnTo>
                    <a:pt x="90" y="270"/>
                  </a:lnTo>
                  <a:lnTo>
                    <a:pt x="96" y="270"/>
                  </a:lnTo>
                  <a:lnTo>
                    <a:pt x="96" y="276"/>
                  </a:lnTo>
                  <a:lnTo>
                    <a:pt x="90" y="276"/>
                  </a:lnTo>
                  <a:lnTo>
                    <a:pt x="90" y="282"/>
                  </a:lnTo>
                  <a:lnTo>
                    <a:pt x="102" y="282"/>
                  </a:lnTo>
                  <a:lnTo>
                    <a:pt x="102" y="276"/>
                  </a:lnTo>
                  <a:lnTo>
                    <a:pt x="102" y="270"/>
                  </a:lnTo>
                  <a:lnTo>
                    <a:pt x="102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6" y="252"/>
                  </a:lnTo>
                  <a:lnTo>
                    <a:pt x="102" y="252"/>
                  </a:lnTo>
                  <a:lnTo>
                    <a:pt x="102" y="246"/>
                  </a:lnTo>
                  <a:lnTo>
                    <a:pt x="102" y="240"/>
                  </a:lnTo>
                  <a:lnTo>
                    <a:pt x="102" y="234"/>
                  </a:lnTo>
                  <a:lnTo>
                    <a:pt x="108" y="234"/>
                  </a:lnTo>
                  <a:lnTo>
                    <a:pt x="114" y="234"/>
                  </a:lnTo>
                  <a:lnTo>
                    <a:pt x="120" y="234"/>
                  </a:lnTo>
                  <a:lnTo>
                    <a:pt x="126" y="234"/>
                  </a:lnTo>
                  <a:lnTo>
                    <a:pt x="126" y="228"/>
                  </a:lnTo>
                  <a:lnTo>
                    <a:pt x="126" y="222"/>
                  </a:lnTo>
                  <a:lnTo>
                    <a:pt x="126" y="198"/>
                  </a:lnTo>
                  <a:lnTo>
                    <a:pt x="126" y="186"/>
                  </a:lnTo>
                  <a:lnTo>
                    <a:pt x="132" y="174"/>
                  </a:lnTo>
                  <a:lnTo>
                    <a:pt x="132" y="162"/>
                  </a:lnTo>
                  <a:lnTo>
                    <a:pt x="114" y="144"/>
                  </a:lnTo>
                  <a:lnTo>
                    <a:pt x="108" y="138"/>
                  </a:lnTo>
                  <a:lnTo>
                    <a:pt x="96" y="120"/>
                  </a:lnTo>
                  <a:lnTo>
                    <a:pt x="90" y="114"/>
                  </a:lnTo>
                  <a:lnTo>
                    <a:pt x="84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66" y="96"/>
                  </a:lnTo>
                  <a:lnTo>
                    <a:pt x="60" y="96"/>
                  </a:lnTo>
                  <a:lnTo>
                    <a:pt x="66" y="90"/>
                  </a:lnTo>
                  <a:lnTo>
                    <a:pt x="66" y="84"/>
                  </a:lnTo>
                  <a:lnTo>
                    <a:pt x="60" y="78"/>
                  </a:lnTo>
                  <a:lnTo>
                    <a:pt x="60" y="72"/>
                  </a:lnTo>
                  <a:lnTo>
                    <a:pt x="60" y="66"/>
                  </a:lnTo>
                  <a:lnTo>
                    <a:pt x="60" y="60"/>
                  </a:lnTo>
                  <a:lnTo>
                    <a:pt x="60" y="48"/>
                  </a:lnTo>
                  <a:lnTo>
                    <a:pt x="54" y="42"/>
                  </a:lnTo>
                  <a:lnTo>
                    <a:pt x="60" y="42"/>
                  </a:lnTo>
                  <a:lnTo>
                    <a:pt x="60" y="36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84" y="6"/>
                  </a:lnTo>
                  <a:lnTo>
                    <a:pt x="102" y="6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8" y="6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14" y="6"/>
                  </a:lnTo>
                  <a:lnTo>
                    <a:pt x="114" y="12"/>
                  </a:lnTo>
                  <a:lnTo>
                    <a:pt x="120" y="6"/>
                  </a:lnTo>
                  <a:lnTo>
                    <a:pt x="120" y="12"/>
                  </a:lnTo>
                  <a:lnTo>
                    <a:pt x="120" y="6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2" y="6"/>
                  </a:lnTo>
                  <a:lnTo>
                    <a:pt x="138" y="6"/>
                  </a:lnTo>
                  <a:lnTo>
                    <a:pt x="144" y="6"/>
                  </a:lnTo>
                  <a:lnTo>
                    <a:pt x="144" y="12"/>
                  </a:lnTo>
                  <a:lnTo>
                    <a:pt x="144" y="18"/>
                  </a:lnTo>
                  <a:lnTo>
                    <a:pt x="150" y="12"/>
                  </a:lnTo>
                  <a:lnTo>
                    <a:pt x="150" y="18"/>
                  </a:lnTo>
                  <a:lnTo>
                    <a:pt x="150" y="12"/>
                  </a:lnTo>
                  <a:lnTo>
                    <a:pt x="156" y="12"/>
                  </a:lnTo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13" name="Freeform 68"/>
            <p:cNvSpPr>
              <a:spLocks noChangeAspect="1"/>
            </p:cNvSpPr>
            <p:nvPr>
              <p:custDataLst>
                <p:tags r:id="rId47"/>
              </p:custDataLst>
            </p:nvPr>
          </p:nvSpPr>
          <p:spPr bwMode="auto">
            <a:xfrm>
              <a:off x="3881" y="2866"/>
              <a:ext cx="311" cy="581"/>
            </a:xfrm>
            <a:custGeom>
              <a:avLst/>
              <a:gdLst>
                <a:gd name="T0" fmla="*/ 35 w 366"/>
                <a:gd name="T1" fmla="*/ 194 h 684"/>
                <a:gd name="T2" fmla="*/ 28 w 366"/>
                <a:gd name="T3" fmla="*/ 188 h 684"/>
                <a:gd name="T4" fmla="*/ 22 w 366"/>
                <a:gd name="T5" fmla="*/ 169 h 684"/>
                <a:gd name="T6" fmla="*/ 19 w 366"/>
                <a:gd name="T7" fmla="*/ 150 h 684"/>
                <a:gd name="T8" fmla="*/ 22 w 366"/>
                <a:gd name="T9" fmla="*/ 141 h 684"/>
                <a:gd name="T10" fmla="*/ 28 w 366"/>
                <a:gd name="T11" fmla="*/ 128 h 684"/>
                <a:gd name="T12" fmla="*/ 35 w 366"/>
                <a:gd name="T13" fmla="*/ 119 h 684"/>
                <a:gd name="T14" fmla="*/ 50 w 366"/>
                <a:gd name="T15" fmla="*/ 109 h 684"/>
                <a:gd name="T16" fmla="*/ 56 w 366"/>
                <a:gd name="T17" fmla="*/ 106 h 684"/>
                <a:gd name="T18" fmla="*/ 63 w 366"/>
                <a:gd name="T19" fmla="*/ 109 h 684"/>
                <a:gd name="T20" fmla="*/ 69 w 366"/>
                <a:gd name="T21" fmla="*/ 99 h 684"/>
                <a:gd name="T22" fmla="*/ 78 w 366"/>
                <a:gd name="T23" fmla="*/ 99 h 684"/>
                <a:gd name="T24" fmla="*/ 84 w 366"/>
                <a:gd name="T25" fmla="*/ 103 h 684"/>
                <a:gd name="T26" fmla="*/ 88 w 366"/>
                <a:gd name="T27" fmla="*/ 93 h 684"/>
                <a:gd name="T28" fmla="*/ 100 w 366"/>
                <a:gd name="T29" fmla="*/ 87 h 684"/>
                <a:gd name="T30" fmla="*/ 104 w 366"/>
                <a:gd name="T31" fmla="*/ 87 h 684"/>
                <a:gd name="T32" fmla="*/ 106 w 366"/>
                <a:gd name="T33" fmla="*/ 82 h 684"/>
                <a:gd name="T34" fmla="*/ 113 w 366"/>
                <a:gd name="T35" fmla="*/ 75 h 684"/>
                <a:gd name="T36" fmla="*/ 116 w 366"/>
                <a:gd name="T37" fmla="*/ 71 h 684"/>
                <a:gd name="T38" fmla="*/ 119 w 366"/>
                <a:gd name="T39" fmla="*/ 63 h 684"/>
                <a:gd name="T40" fmla="*/ 125 w 366"/>
                <a:gd name="T41" fmla="*/ 63 h 684"/>
                <a:gd name="T42" fmla="*/ 125 w 366"/>
                <a:gd name="T43" fmla="*/ 54 h 684"/>
                <a:gd name="T44" fmla="*/ 125 w 366"/>
                <a:gd name="T45" fmla="*/ 43 h 684"/>
                <a:gd name="T46" fmla="*/ 137 w 366"/>
                <a:gd name="T47" fmla="*/ 43 h 684"/>
                <a:gd name="T48" fmla="*/ 144 w 366"/>
                <a:gd name="T49" fmla="*/ 37 h 684"/>
                <a:gd name="T50" fmla="*/ 150 w 366"/>
                <a:gd name="T51" fmla="*/ 28 h 684"/>
                <a:gd name="T52" fmla="*/ 144 w 366"/>
                <a:gd name="T53" fmla="*/ 12 h 684"/>
                <a:gd name="T54" fmla="*/ 153 w 366"/>
                <a:gd name="T55" fmla="*/ 6 h 684"/>
                <a:gd name="T56" fmla="*/ 156 w 366"/>
                <a:gd name="T57" fmla="*/ 0 h 684"/>
                <a:gd name="T58" fmla="*/ 160 w 366"/>
                <a:gd name="T59" fmla="*/ 9 h 684"/>
                <a:gd name="T60" fmla="*/ 162 w 366"/>
                <a:gd name="T61" fmla="*/ 9 h 684"/>
                <a:gd name="T62" fmla="*/ 169 w 366"/>
                <a:gd name="T63" fmla="*/ 22 h 684"/>
                <a:gd name="T64" fmla="*/ 175 w 366"/>
                <a:gd name="T65" fmla="*/ 31 h 684"/>
                <a:gd name="T66" fmla="*/ 182 w 366"/>
                <a:gd name="T67" fmla="*/ 54 h 684"/>
                <a:gd name="T68" fmla="*/ 185 w 366"/>
                <a:gd name="T69" fmla="*/ 78 h 684"/>
                <a:gd name="T70" fmla="*/ 188 w 366"/>
                <a:gd name="T71" fmla="*/ 93 h 684"/>
                <a:gd name="T72" fmla="*/ 175 w 366"/>
                <a:gd name="T73" fmla="*/ 99 h 684"/>
                <a:gd name="T74" fmla="*/ 169 w 366"/>
                <a:gd name="T75" fmla="*/ 93 h 684"/>
                <a:gd name="T76" fmla="*/ 172 w 366"/>
                <a:gd name="T77" fmla="*/ 112 h 684"/>
                <a:gd name="T78" fmla="*/ 172 w 366"/>
                <a:gd name="T79" fmla="*/ 128 h 684"/>
                <a:gd name="T80" fmla="*/ 162 w 366"/>
                <a:gd name="T81" fmla="*/ 150 h 684"/>
                <a:gd name="T82" fmla="*/ 160 w 366"/>
                <a:gd name="T83" fmla="*/ 172 h 684"/>
                <a:gd name="T84" fmla="*/ 144 w 366"/>
                <a:gd name="T85" fmla="*/ 213 h 684"/>
                <a:gd name="T86" fmla="*/ 134 w 366"/>
                <a:gd name="T87" fmla="*/ 247 h 684"/>
                <a:gd name="T88" fmla="*/ 122 w 366"/>
                <a:gd name="T89" fmla="*/ 279 h 684"/>
                <a:gd name="T90" fmla="*/ 116 w 366"/>
                <a:gd name="T91" fmla="*/ 303 h 684"/>
                <a:gd name="T92" fmla="*/ 106 w 366"/>
                <a:gd name="T93" fmla="*/ 328 h 684"/>
                <a:gd name="T94" fmla="*/ 93 w 366"/>
                <a:gd name="T95" fmla="*/ 341 h 684"/>
                <a:gd name="T96" fmla="*/ 69 w 366"/>
                <a:gd name="T97" fmla="*/ 350 h 684"/>
                <a:gd name="T98" fmla="*/ 50 w 366"/>
                <a:gd name="T99" fmla="*/ 353 h 684"/>
                <a:gd name="T100" fmla="*/ 25 w 366"/>
                <a:gd name="T101" fmla="*/ 341 h 684"/>
                <a:gd name="T102" fmla="*/ 12 w 366"/>
                <a:gd name="T103" fmla="*/ 322 h 684"/>
                <a:gd name="T104" fmla="*/ 15 w 366"/>
                <a:gd name="T105" fmla="*/ 296 h 684"/>
                <a:gd name="T106" fmla="*/ 3 w 366"/>
                <a:gd name="T107" fmla="*/ 279 h 684"/>
                <a:gd name="T108" fmla="*/ 3 w 366"/>
                <a:gd name="T109" fmla="*/ 257 h 684"/>
                <a:gd name="T110" fmla="*/ 9 w 366"/>
                <a:gd name="T111" fmla="*/ 251 h 684"/>
                <a:gd name="T112" fmla="*/ 9 w 366"/>
                <a:gd name="T113" fmla="*/ 247 h 684"/>
                <a:gd name="T114" fmla="*/ 19 w 366"/>
                <a:gd name="T115" fmla="*/ 240 h 684"/>
                <a:gd name="T116" fmla="*/ 22 w 366"/>
                <a:gd name="T117" fmla="*/ 231 h 684"/>
                <a:gd name="T118" fmla="*/ 31 w 366"/>
                <a:gd name="T119" fmla="*/ 216 h 6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66" h="684">
                  <a:moveTo>
                    <a:pt x="60" y="390"/>
                  </a:moveTo>
                  <a:lnTo>
                    <a:pt x="60" y="384"/>
                  </a:lnTo>
                  <a:lnTo>
                    <a:pt x="60" y="390"/>
                  </a:lnTo>
                  <a:lnTo>
                    <a:pt x="66" y="390"/>
                  </a:lnTo>
                  <a:lnTo>
                    <a:pt x="60" y="390"/>
                  </a:lnTo>
                  <a:lnTo>
                    <a:pt x="60" y="384"/>
                  </a:lnTo>
                  <a:lnTo>
                    <a:pt x="66" y="384"/>
                  </a:lnTo>
                  <a:lnTo>
                    <a:pt x="66" y="378"/>
                  </a:lnTo>
                  <a:lnTo>
                    <a:pt x="66" y="372"/>
                  </a:lnTo>
                  <a:lnTo>
                    <a:pt x="60" y="372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54" y="366"/>
                  </a:lnTo>
                  <a:lnTo>
                    <a:pt x="54" y="360"/>
                  </a:lnTo>
                  <a:lnTo>
                    <a:pt x="60" y="360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60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54"/>
                  </a:lnTo>
                  <a:lnTo>
                    <a:pt x="54" y="348"/>
                  </a:lnTo>
                  <a:lnTo>
                    <a:pt x="54" y="342"/>
                  </a:lnTo>
                  <a:lnTo>
                    <a:pt x="54" y="336"/>
                  </a:lnTo>
                  <a:lnTo>
                    <a:pt x="48" y="336"/>
                  </a:lnTo>
                  <a:lnTo>
                    <a:pt x="48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42" y="312"/>
                  </a:lnTo>
                  <a:lnTo>
                    <a:pt x="42" y="306"/>
                  </a:lnTo>
                  <a:lnTo>
                    <a:pt x="42" y="300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42" y="294"/>
                  </a:lnTo>
                  <a:lnTo>
                    <a:pt x="42" y="288"/>
                  </a:lnTo>
                  <a:lnTo>
                    <a:pt x="36" y="288"/>
                  </a:lnTo>
                  <a:lnTo>
                    <a:pt x="36" y="282"/>
                  </a:lnTo>
                  <a:lnTo>
                    <a:pt x="42" y="288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42" y="282"/>
                  </a:lnTo>
                  <a:lnTo>
                    <a:pt x="36" y="282"/>
                  </a:lnTo>
                  <a:lnTo>
                    <a:pt x="36" y="276"/>
                  </a:lnTo>
                  <a:lnTo>
                    <a:pt x="42" y="276"/>
                  </a:lnTo>
                  <a:lnTo>
                    <a:pt x="42" y="270"/>
                  </a:lnTo>
                  <a:lnTo>
                    <a:pt x="42" y="264"/>
                  </a:lnTo>
                  <a:lnTo>
                    <a:pt x="42" y="270"/>
                  </a:lnTo>
                  <a:lnTo>
                    <a:pt x="48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54" y="252"/>
                  </a:lnTo>
                  <a:lnTo>
                    <a:pt x="54" y="246"/>
                  </a:lnTo>
                  <a:lnTo>
                    <a:pt x="60" y="246"/>
                  </a:lnTo>
                  <a:lnTo>
                    <a:pt x="60" y="240"/>
                  </a:lnTo>
                  <a:lnTo>
                    <a:pt x="66" y="240"/>
                  </a:lnTo>
                  <a:lnTo>
                    <a:pt x="66" y="234"/>
                  </a:lnTo>
                  <a:lnTo>
                    <a:pt x="60" y="234"/>
                  </a:lnTo>
                  <a:lnTo>
                    <a:pt x="66" y="234"/>
                  </a:lnTo>
                  <a:lnTo>
                    <a:pt x="66" y="228"/>
                  </a:lnTo>
                  <a:lnTo>
                    <a:pt x="60" y="222"/>
                  </a:lnTo>
                  <a:lnTo>
                    <a:pt x="60" y="216"/>
                  </a:lnTo>
                  <a:lnTo>
                    <a:pt x="66" y="216"/>
                  </a:lnTo>
                  <a:lnTo>
                    <a:pt x="72" y="216"/>
                  </a:lnTo>
                  <a:lnTo>
                    <a:pt x="78" y="216"/>
                  </a:lnTo>
                  <a:lnTo>
                    <a:pt x="84" y="216"/>
                  </a:lnTo>
                  <a:lnTo>
                    <a:pt x="90" y="216"/>
                  </a:lnTo>
                  <a:lnTo>
                    <a:pt x="90" y="210"/>
                  </a:lnTo>
                  <a:lnTo>
                    <a:pt x="96" y="210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198"/>
                  </a:lnTo>
                  <a:lnTo>
                    <a:pt x="102" y="204"/>
                  </a:lnTo>
                  <a:lnTo>
                    <a:pt x="108" y="204"/>
                  </a:lnTo>
                  <a:lnTo>
                    <a:pt x="108" y="210"/>
                  </a:lnTo>
                  <a:lnTo>
                    <a:pt x="102" y="210"/>
                  </a:lnTo>
                  <a:lnTo>
                    <a:pt x="108" y="210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08" y="204"/>
                  </a:lnTo>
                  <a:lnTo>
                    <a:pt x="114" y="204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210"/>
                  </a:lnTo>
                  <a:lnTo>
                    <a:pt x="120" y="204"/>
                  </a:lnTo>
                  <a:lnTo>
                    <a:pt x="120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26" y="192"/>
                  </a:lnTo>
                  <a:lnTo>
                    <a:pt x="126" y="198"/>
                  </a:lnTo>
                  <a:lnTo>
                    <a:pt x="132" y="192"/>
                  </a:lnTo>
                  <a:lnTo>
                    <a:pt x="132" y="198"/>
                  </a:lnTo>
                  <a:lnTo>
                    <a:pt x="132" y="192"/>
                  </a:lnTo>
                  <a:lnTo>
                    <a:pt x="138" y="192"/>
                  </a:lnTo>
                  <a:lnTo>
                    <a:pt x="138" y="198"/>
                  </a:lnTo>
                  <a:lnTo>
                    <a:pt x="144" y="198"/>
                  </a:lnTo>
                  <a:lnTo>
                    <a:pt x="144" y="192"/>
                  </a:lnTo>
                  <a:lnTo>
                    <a:pt x="144" y="198"/>
                  </a:lnTo>
                  <a:lnTo>
                    <a:pt x="138" y="198"/>
                  </a:lnTo>
                  <a:lnTo>
                    <a:pt x="138" y="192"/>
                  </a:lnTo>
                  <a:lnTo>
                    <a:pt x="144" y="192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56" y="198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56" y="204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204"/>
                  </a:lnTo>
                  <a:lnTo>
                    <a:pt x="162" y="198"/>
                  </a:lnTo>
                  <a:lnTo>
                    <a:pt x="162" y="204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56" y="198"/>
                  </a:lnTo>
                  <a:lnTo>
                    <a:pt x="156" y="192"/>
                  </a:lnTo>
                  <a:lnTo>
                    <a:pt x="156" y="186"/>
                  </a:lnTo>
                  <a:lnTo>
                    <a:pt x="162" y="186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2" y="180"/>
                  </a:lnTo>
                  <a:lnTo>
                    <a:pt x="168" y="180"/>
                  </a:lnTo>
                  <a:lnTo>
                    <a:pt x="168" y="174"/>
                  </a:lnTo>
                  <a:lnTo>
                    <a:pt x="174" y="174"/>
                  </a:lnTo>
                  <a:lnTo>
                    <a:pt x="180" y="168"/>
                  </a:lnTo>
                  <a:lnTo>
                    <a:pt x="186" y="168"/>
                  </a:lnTo>
                  <a:lnTo>
                    <a:pt x="186" y="162"/>
                  </a:lnTo>
                  <a:lnTo>
                    <a:pt x="186" y="168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86" y="180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74"/>
                  </a:lnTo>
                  <a:lnTo>
                    <a:pt x="198" y="174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8" y="168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198" y="156"/>
                  </a:lnTo>
                  <a:lnTo>
                    <a:pt x="204" y="156"/>
                  </a:lnTo>
                  <a:lnTo>
                    <a:pt x="204" y="150"/>
                  </a:lnTo>
                  <a:lnTo>
                    <a:pt x="210" y="150"/>
                  </a:lnTo>
                  <a:lnTo>
                    <a:pt x="204" y="150"/>
                  </a:lnTo>
                  <a:lnTo>
                    <a:pt x="210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16" y="144"/>
                  </a:lnTo>
                  <a:lnTo>
                    <a:pt x="216" y="150"/>
                  </a:lnTo>
                  <a:lnTo>
                    <a:pt x="210" y="156"/>
                  </a:lnTo>
                  <a:lnTo>
                    <a:pt x="210" y="162"/>
                  </a:lnTo>
                  <a:lnTo>
                    <a:pt x="216" y="162"/>
                  </a:lnTo>
                  <a:lnTo>
                    <a:pt x="216" y="156"/>
                  </a:lnTo>
                  <a:lnTo>
                    <a:pt x="216" y="150"/>
                  </a:lnTo>
                  <a:lnTo>
                    <a:pt x="222" y="150"/>
                  </a:lnTo>
                  <a:lnTo>
                    <a:pt x="222" y="144"/>
                  </a:lnTo>
                  <a:lnTo>
                    <a:pt x="222" y="138"/>
                  </a:lnTo>
                  <a:lnTo>
                    <a:pt x="228" y="138"/>
                  </a:lnTo>
                  <a:lnTo>
                    <a:pt x="228" y="132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6"/>
                  </a:lnTo>
                  <a:lnTo>
                    <a:pt x="222" y="126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28" y="120"/>
                  </a:lnTo>
                  <a:lnTo>
                    <a:pt x="228" y="114"/>
                  </a:lnTo>
                  <a:lnTo>
                    <a:pt x="234" y="120"/>
                  </a:lnTo>
                  <a:lnTo>
                    <a:pt x="234" y="114"/>
                  </a:lnTo>
                  <a:lnTo>
                    <a:pt x="240" y="114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40" y="108"/>
                  </a:lnTo>
                  <a:lnTo>
                    <a:pt x="240" y="114"/>
                  </a:lnTo>
                  <a:lnTo>
                    <a:pt x="240" y="120"/>
                  </a:lnTo>
                  <a:lnTo>
                    <a:pt x="240" y="126"/>
                  </a:lnTo>
                  <a:lnTo>
                    <a:pt x="240" y="120"/>
                  </a:lnTo>
                  <a:lnTo>
                    <a:pt x="240" y="114"/>
                  </a:lnTo>
                  <a:lnTo>
                    <a:pt x="246" y="114"/>
                  </a:lnTo>
                  <a:lnTo>
                    <a:pt x="240" y="114"/>
                  </a:lnTo>
                  <a:lnTo>
                    <a:pt x="240" y="108"/>
                  </a:lnTo>
                  <a:lnTo>
                    <a:pt x="234" y="108"/>
                  </a:lnTo>
                  <a:lnTo>
                    <a:pt x="234" y="102"/>
                  </a:lnTo>
                  <a:lnTo>
                    <a:pt x="240" y="102"/>
                  </a:lnTo>
                  <a:lnTo>
                    <a:pt x="234" y="102"/>
                  </a:lnTo>
                  <a:lnTo>
                    <a:pt x="234" y="96"/>
                  </a:lnTo>
                  <a:lnTo>
                    <a:pt x="234" y="90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34" y="84"/>
                  </a:lnTo>
                  <a:lnTo>
                    <a:pt x="240" y="84"/>
                  </a:lnTo>
                  <a:lnTo>
                    <a:pt x="240" y="78"/>
                  </a:lnTo>
                  <a:lnTo>
                    <a:pt x="240" y="84"/>
                  </a:lnTo>
                  <a:lnTo>
                    <a:pt x="246" y="84"/>
                  </a:lnTo>
                  <a:lnTo>
                    <a:pt x="246" y="90"/>
                  </a:lnTo>
                  <a:lnTo>
                    <a:pt x="252" y="96"/>
                  </a:lnTo>
                  <a:lnTo>
                    <a:pt x="258" y="96"/>
                  </a:lnTo>
                  <a:lnTo>
                    <a:pt x="258" y="90"/>
                  </a:lnTo>
                  <a:lnTo>
                    <a:pt x="258" y="84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84"/>
                  </a:lnTo>
                  <a:lnTo>
                    <a:pt x="270" y="84"/>
                  </a:lnTo>
                  <a:lnTo>
                    <a:pt x="270" y="78"/>
                  </a:lnTo>
                  <a:lnTo>
                    <a:pt x="264" y="84"/>
                  </a:lnTo>
                  <a:lnTo>
                    <a:pt x="264" y="78"/>
                  </a:lnTo>
                  <a:lnTo>
                    <a:pt x="264" y="72"/>
                  </a:lnTo>
                  <a:lnTo>
                    <a:pt x="264" y="78"/>
                  </a:lnTo>
                  <a:lnTo>
                    <a:pt x="270" y="78"/>
                  </a:lnTo>
                  <a:lnTo>
                    <a:pt x="276" y="78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82" y="72"/>
                  </a:lnTo>
                  <a:lnTo>
                    <a:pt x="282" y="66"/>
                  </a:lnTo>
                  <a:lnTo>
                    <a:pt x="282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42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82" y="36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76" y="24"/>
                  </a:lnTo>
                  <a:lnTo>
                    <a:pt x="282" y="24"/>
                  </a:lnTo>
                  <a:lnTo>
                    <a:pt x="282" y="30"/>
                  </a:lnTo>
                  <a:lnTo>
                    <a:pt x="288" y="30"/>
                  </a:lnTo>
                  <a:lnTo>
                    <a:pt x="288" y="24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300" y="18"/>
                  </a:lnTo>
                  <a:lnTo>
                    <a:pt x="294" y="18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300" y="12"/>
                  </a:lnTo>
                  <a:lnTo>
                    <a:pt x="294" y="12"/>
                  </a:lnTo>
                  <a:lnTo>
                    <a:pt x="294" y="6"/>
                  </a:lnTo>
                  <a:lnTo>
                    <a:pt x="300" y="6"/>
                  </a:lnTo>
                  <a:lnTo>
                    <a:pt x="300" y="12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300" y="0"/>
                  </a:lnTo>
                  <a:lnTo>
                    <a:pt x="306" y="6"/>
                  </a:lnTo>
                  <a:lnTo>
                    <a:pt x="300" y="6"/>
                  </a:lnTo>
                  <a:lnTo>
                    <a:pt x="306" y="6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6" y="18"/>
                  </a:lnTo>
                  <a:lnTo>
                    <a:pt x="306" y="12"/>
                  </a:lnTo>
                  <a:lnTo>
                    <a:pt x="300" y="12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00" y="18"/>
                  </a:lnTo>
                  <a:lnTo>
                    <a:pt x="300" y="24"/>
                  </a:lnTo>
                  <a:lnTo>
                    <a:pt x="300" y="18"/>
                  </a:lnTo>
                  <a:lnTo>
                    <a:pt x="306" y="18"/>
                  </a:lnTo>
                  <a:lnTo>
                    <a:pt x="312" y="18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2" y="24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24"/>
                  </a:lnTo>
                  <a:lnTo>
                    <a:pt x="318" y="30"/>
                  </a:lnTo>
                  <a:lnTo>
                    <a:pt x="318" y="36"/>
                  </a:lnTo>
                  <a:lnTo>
                    <a:pt x="324" y="42"/>
                  </a:lnTo>
                  <a:lnTo>
                    <a:pt x="324" y="48"/>
                  </a:lnTo>
                  <a:lnTo>
                    <a:pt x="324" y="42"/>
                  </a:lnTo>
                  <a:lnTo>
                    <a:pt x="330" y="42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0" y="48"/>
                  </a:lnTo>
                  <a:lnTo>
                    <a:pt x="330" y="54"/>
                  </a:lnTo>
                  <a:lnTo>
                    <a:pt x="336" y="54"/>
                  </a:lnTo>
                  <a:lnTo>
                    <a:pt x="336" y="60"/>
                  </a:lnTo>
                  <a:lnTo>
                    <a:pt x="336" y="66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2" y="78"/>
                  </a:lnTo>
                  <a:lnTo>
                    <a:pt x="342" y="84"/>
                  </a:lnTo>
                  <a:lnTo>
                    <a:pt x="342" y="90"/>
                  </a:lnTo>
                  <a:lnTo>
                    <a:pt x="348" y="90"/>
                  </a:lnTo>
                  <a:lnTo>
                    <a:pt x="348" y="96"/>
                  </a:lnTo>
                  <a:lnTo>
                    <a:pt x="348" y="102"/>
                  </a:lnTo>
                  <a:lnTo>
                    <a:pt x="348" y="108"/>
                  </a:lnTo>
                  <a:lnTo>
                    <a:pt x="348" y="114"/>
                  </a:lnTo>
                  <a:lnTo>
                    <a:pt x="348" y="120"/>
                  </a:lnTo>
                  <a:lnTo>
                    <a:pt x="348" y="126"/>
                  </a:lnTo>
                  <a:lnTo>
                    <a:pt x="348" y="132"/>
                  </a:lnTo>
                  <a:lnTo>
                    <a:pt x="348" y="138"/>
                  </a:lnTo>
                  <a:lnTo>
                    <a:pt x="348" y="144"/>
                  </a:lnTo>
                  <a:lnTo>
                    <a:pt x="354" y="144"/>
                  </a:lnTo>
                  <a:lnTo>
                    <a:pt x="354" y="150"/>
                  </a:lnTo>
                  <a:lnTo>
                    <a:pt x="354" y="156"/>
                  </a:lnTo>
                  <a:lnTo>
                    <a:pt x="360" y="156"/>
                  </a:lnTo>
                  <a:lnTo>
                    <a:pt x="360" y="162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68"/>
                  </a:lnTo>
                  <a:lnTo>
                    <a:pt x="366" y="168"/>
                  </a:lnTo>
                  <a:lnTo>
                    <a:pt x="360" y="174"/>
                  </a:lnTo>
                  <a:lnTo>
                    <a:pt x="360" y="180"/>
                  </a:lnTo>
                  <a:lnTo>
                    <a:pt x="360" y="186"/>
                  </a:lnTo>
                  <a:lnTo>
                    <a:pt x="354" y="186"/>
                  </a:lnTo>
                  <a:lnTo>
                    <a:pt x="360" y="192"/>
                  </a:lnTo>
                  <a:lnTo>
                    <a:pt x="354" y="192"/>
                  </a:lnTo>
                  <a:lnTo>
                    <a:pt x="354" y="198"/>
                  </a:lnTo>
                  <a:lnTo>
                    <a:pt x="348" y="204"/>
                  </a:lnTo>
                  <a:lnTo>
                    <a:pt x="342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36" y="186"/>
                  </a:lnTo>
                  <a:lnTo>
                    <a:pt x="336" y="180"/>
                  </a:lnTo>
                  <a:lnTo>
                    <a:pt x="336" y="174"/>
                  </a:lnTo>
                  <a:lnTo>
                    <a:pt x="330" y="174"/>
                  </a:lnTo>
                  <a:lnTo>
                    <a:pt x="330" y="180"/>
                  </a:lnTo>
                  <a:lnTo>
                    <a:pt x="324" y="174"/>
                  </a:lnTo>
                  <a:lnTo>
                    <a:pt x="330" y="174"/>
                  </a:lnTo>
                  <a:lnTo>
                    <a:pt x="324" y="174"/>
                  </a:lnTo>
                  <a:lnTo>
                    <a:pt x="324" y="180"/>
                  </a:lnTo>
                  <a:lnTo>
                    <a:pt x="318" y="180"/>
                  </a:lnTo>
                  <a:lnTo>
                    <a:pt x="318" y="186"/>
                  </a:lnTo>
                  <a:lnTo>
                    <a:pt x="324" y="186"/>
                  </a:lnTo>
                  <a:lnTo>
                    <a:pt x="324" y="192"/>
                  </a:lnTo>
                  <a:lnTo>
                    <a:pt x="324" y="198"/>
                  </a:lnTo>
                  <a:lnTo>
                    <a:pt x="324" y="204"/>
                  </a:lnTo>
                  <a:lnTo>
                    <a:pt x="324" y="210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10"/>
                  </a:lnTo>
                  <a:lnTo>
                    <a:pt x="330" y="216"/>
                  </a:lnTo>
                  <a:lnTo>
                    <a:pt x="330" y="222"/>
                  </a:lnTo>
                  <a:lnTo>
                    <a:pt x="330" y="228"/>
                  </a:lnTo>
                  <a:lnTo>
                    <a:pt x="330" y="234"/>
                  </a:lnTo>
                  <a:lnTo>
                    <a:pt x="330" y="240"/>
                  </a:lnTo>
                  <a:lnTo>
                    <a:pt x="324" y="240"/>
                  </a:lnTo>
                  <a:lnTo>
                    <a:pt x="324" y="246"/>
                  </a:lnTo>
                  <a:lnTo>
                    <a:pt x="330" y="246"/>
                  </a:lnTo>
                  <a:lnTo>
                    <a:pt x="324" y="246"/>
                  </a:lnTo>
                  <a:lnTo>
                    <a:pt x="318" y="252"/>
                  </a:lnTo>
                  <a:lnTo>
                    <a:pt x="318" y="258"/>
                  </a:lnTo>
                  <a:lnTo>
                    <a:pt x="312" y="258"/>
                  </a:lnTo>
                  <a:lnTo>
                    <a:pt x="312" y="264"/>
                  </a:lnTo>
                  <a:lnTo>
                    <a:pt x="312" y="270"/>
                  </a:lnTo>
                  <a:lnTo>
                    <a:pt x="312" y="276"/>
                  </a:lnTo>
                  <a:lnTo>
                    <a:pt x="312" y="282"/>
                  </a:lnTo>
                  <a:lnTo>
                    <a:pt x="312" y="288"/>
                  </a:lnTo>
                  <a:lnTo>
                    <a:pt x="318" y="288"/>
                  </a:lnTo>
                  <a:lnTo>
                    <a:pt x="312" y="294"/>
                  </a:lnTo>
                  <a:lnTo>
                    <a:pt x="312" y="300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06" y="324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300" y="342"/>
                  </a:lnTo>
                  <a:lnTo>
                    <a:pt x="288" y="366"/>
                  </a:lnTo>
                  <a:lnTo>
                    <a:pt x="288" y="372"/>
                  </a:lnTo>
                  <a:lnTo>
                    <a:pt x="288" y="378"/>
                  </a:lnTo>
                  <a:lnTo>
                    <a:pt x="282" y="384"/>
                  </a:lnTo>
                  <a:lnTo>
                    <a:pt x="282" y="396"/>
                  </a:lnTo>
                  <a:lnTo>
                    <a:pt x="276" y="402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70" y="420"/>
                  </a:lnTo>
                  <a:lnTo>
                    <a:pt x="270" y="432"/>
                  </a:lnTo>
                  <a:lnTo>
                    <a:pt x="264" y="438"/>
                  </a:lnTo>
                  <a:lnTo>
                    <a:pt x="264" y="444"/>
                  </a:lnTo>
                  <a:lnTo>
                    <a:pt x="264" y="450"/>
                  </a:lnTo>
                  <a:lnTo>
                    <a:pt x="258" y="462"/>
                  </a:lnTo>
                  <a:lnTo>
                    <a:pt x="258" y="468"/>
                  </a:lnTo>
                  <a:lnTo>
                    <a:pt x="258" y="474"/>
                  </a:lnTo>
                  <a:lnTo>
                    <a:pt x="252" y="480"/>
                  </a:lnTo>
                  <a:lnTo>
                    <a:pt x="252" y="486"/>
                  </a:lnTo>
                  <a:lnTo>
                    <a:pt x="252" y="492"/>
                  </a:lnTo>
                  <a:lnTo>
                    <a:pt x="246" y="498"/>
                  </a:lnTo>
                  <a:lnTo>
                    <a:pt x="246" y="504"/>
                  </a:lnTo>
                  <a:lnTo>
                    <a:pt x="240" y="516"/>
                  </a:lnTo>
                  <a:lnTo>
                    <a:pt x="234" y="522"/>
                  </a:lnTo>
                  <a:lnTo>
                    <a:pt x="234" y="528"/>
                  </a:lnTo>
                  <a:lnTo>
                    <a:pt x="234" y="534"/>
                  </a:lnTo>
                  <a:lnTo>
                    <a:pt x="234" y="540"/>
                  </a:lnTo>
                  <a:lnTo>
                    <a:pt x="234" y="546"/>
                  </a:lnTo>
                  <a:lnTo>
                    <a:pt x="228" y="552"/>
                  </a:lnTo>
                  <a:lnTo>
                    <a:pt x="228" y="558"/>
                  </a:lnTo>
                  <a:lnTo>
                    <a:pt x="228" y="564"/>
                  </a:lnTo>
                  <a:lnTo>
                    <a:pt x="228" y="570"/>
                  </a:lnTo>
                  <a:lnTo>
                    <a:pt x="222" y="570"/>
                  </a:lnTo>
                  <a:lnTo>
                    <a:pt x="222" y="576"/>
                  </a:lnTo>
                  <a:lnTo>
                    <a:pt x="222" y="582"/>
                  </a:lnTo>
                  <a:lnTo>
                    <a:pt x="222" y="588"/>
                  </a:lnTo>
                  <a:lnTo>
                    <a:pt x="222" y="594"/>
                  </a:lnTo>
                  <a:lnTo>
                    <a:pt x="216" y="594"/>
                  </a:lnTo>
                  <a:lnTo>
                    <a:pt x="216" y="606"/>
                  </a:lnTo>
                  <a:lnTo>
                    <a:pt x="210" y="612"/>
                  </a:lnTo>
                  <a:lnTo>
                    <a:pt x="210" y="618"/>
                  </a:lnTo>
                  <a:lnTo>
                    <a:pt x="204" y="618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204" y="636"/>
                  </a:lnTo>
                  <a:lnTo>
                    <a:pt x="198" y="636"/>
                  </a:lnTo>
                  <a:lnTo>
                    <a:pt x="198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48"/>
                  </a:lnTo>
                  <a:lnTo>
                    <a:pt x="192" y="654"/>
                  </a:lnTo>
                  <a:lnTo>
                    <a:pt x="186" y="654"/>
                  </a:lnTo>
                  <a:lnTo>
                    <a:pt x="180" y="654"/>
                  </a:lnTo>
                  <a:lnTo>
                    <a:pt x="180" y="660"/>
                  </a:lnTo>
                  <a:lnTo>
                    <a:pt x="174" y="660"/>
                  </a:lnTo>
                  <a:lnTo>
                    <a:pt x="168" y="660"/>
                  </a:lnTo>
                  <a:lnTo>
                    <a:pt x="162" y="660"/>
                  </a:lnTo>
                  <a:lnTo>
                    <a:pt x="156" y="660"/>
                  </a:lnTo>
                  <a:lnTo>
                    <a:pt x="150" y="666"/>
                  </a:lnTo>
                  <a:lnTo>
                    <a:pt x="144" y="666"/>
                  </a:lnTo>
                  <a:lnTo>
                    <a:pt x="138" y="666"/>
                  </a:lnTo>
                  <a:lnTo>
                    <a:pt x="132" y="672"/>
                  </a:lnTo>
                  <a:lnTo>
                    <a:pt x="126" y="672"/>
                  </a:lnTo>
                  <a:lnTo>
                    <a:pt x="126" y="678"/>
                  </a:lnTo>
                  <a:lnTo>
                    <a:pt x="120" y="678"/>
                  </a:lnTo>
                  <a:lnTo>
                    <a:pt x="114" y="678"/>
                  </a:lnTo>
                  <a:lnTo>
                    <a:pt x="108" y="678"/>
                  </a:lnTo>
                  <a:lnTo>
                    <a:pt x="102" y="678"/>
                  </a:lnTo>
                  <a:lnTo>
                    <a:pt x="102" y="684"/>
                  </a:lnTo>
                  <a:lnTo>
                    <a:pt x="96" y="684"/>
                  </a:lnTo>
                  <a:lnTo>
                    <a:pt x="96" y="678"/>
                  </a:lnTo>
                  <a:lnTo>
                    <a:pt x="90" y="678"/>
                  </a:lnTo>
                  <a:lnTo>
                    <a:pt x="90" y="672"/>
                  </a:lnTo>
                  <a:lnTo>
                    <a:pt x="84" y="672"/>
                  </a:lnTo>
                  <a:lnTo>
                    <a:pt x="78" y="666"/>
                  </a:lnTo>
                  <a:lnTo>
                    <a:pt x="66" y="666"/>
                  </a:lnTo>
                  <a:lnTo>
                    <a:pt x="60" y="666"/>
                  </a:lnTo>
                  <a:lnTo>
                    <a:pt x="60" y="660"/>
                  </a:lnTo>
                  <a:lnTo>
                    <a:pt x="54" y="660"/>
                  </a:lnTo>
                  <a:lnTo>
                    <a:pt x="48" y="654"/>
                  </a:lnTo>
                  <a:lnTo>
                    <a:pt x="42" y="654"/>
                  </a:lnTo>
                  <a:lnTo>
                    <a:pt x="42" y="648"/>
                  </a:lnTo>
                  <a:lnTo>
                    <a:pt x="42" y="642"/>
                  </a:lnTo>
                  <a:lnTo>
                    <a:pt x="36" y="642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30" y="624"/>
                  </a:lnTo>
                  <a:lnTo>
                    <a:pt x="24" y="624"/>
                  </a:lnTo>
                  <a:lnTo>
                    <a:pt x="24" y="618"/>
                  </a:lnTo>
                  <a:lnTo>
                    <a:pt x="24" y="612"/>
                  </a:lnTo>
                  <a:lnTo>
                    <a:pt x="24" y="606"/>
                  </a:lnTo>
                  <a:lnTo>
                    <a:pt x="24" y="600"/>
                  </a:lnTo>
                  <a:lnTo>
                    <a:pt x="24" y="594"/>
                  </a:lnTo>
                  <a:lnTo>
                    <a:pt x="24" y="588"/>
                  </a:lnTo>
                  <a:lnTo>
                    <a:pt x="24" y="582"/>
                  </a:lnTo>
                  <a:lnTo>
                    <a:pt x="30" y="582"/>
                  </a:lnTo>
                  <a:lnTo>
                    <a:pt x="30" y="576"/>
                  </a:lnTo>
                  <a:lnTo>
                    <a:pt x="30" y="570"/>
                  </a:lnTo>
                  <a:lnTo>
                    <a:pt x="24" y="570"/>
                  </a:lnTo>
                  <a:lnTo>
                    <a:pt x="24" y="564"/>
                  </a:lnTo>
                  <a:lnTo>
                    <a:pt x="24" y="558"/>
                  </a:lnTo>
                  <a:lnTo>
                    <a:pt x="18" y="558"/>
                  </a:lnTo>
                  <a:lnTo>
                    <a:pt x="18" y="552"/>
                  </a:lnTo>
                  <a:lnTo>
                    <a:pt x="12" y="552"/>
                  </a:lnTo>
                  <a:lnTo>
                    <a:pt x="12" y="546"/>
                  </a:lnTo>
                  <a:lnTo>
                    <a:pt x="6" y="540"/>
                  </a:lnTo>
                  <a:lnTo>
                    <a:pt x="6" y="534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6" y="516"/>
                  </a:lnTo>
                  <a:lnTo>
                    <a:pt x="0" y="516"/>
                  </a:lnTo>
                  <a:lnTo>
                    <a:pt x="6" y="516"/>
                  </a:lnTo>
                  <a:lnTo>
                    <a:pt x="6" y="510"/>
                  </a:lnTo>
                  <a:lnTo>
                    <a:pt x="6" y="504"/>
                  </a:lnTo>
                  <a:lnTo>
                    <a:pt x="6" y="498"/>
                  </a:lnTo>
                  <a:lnTo>
                    <a:pt x="6" y="492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2" y="486"/>
                  </a:lnTo>
                  <a:lnTo>
                    <a:pt x="18" y="486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8" y="480"/>
                  </a:lnTo>
                  <a:lnTo>
                    <a:pt x="12" y="480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2" y="474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18" y="474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18" y="468"/>
                  </a:lnTo>
                  <a:lnTo>
                    <a:pt x="24" y="468"/>
                  </a:lnTo>
                  <a:lnTo>
                    <a:pt x="30" y="468"/>
                  </a:lnTo>
                  <a:lnTo>
                    <a:pt x="30" y="462"/>
                  </a:lnTo>
                  <a:lnTo>
                    <a:pt x="36" y="462"/>
                  </a:lnTo>
                  <a:lnTo>
                    <a:pt x="36" y="456"/>
                  </a:lnTo>
                  <a:lnTo>
                    <a:pt x="36" y="450"/>
                  </a:lnTo>
                  <a:lnTo>
                    <a:pt x="36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36" y="444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2" y="444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54" y="426"/>
                  </a:lnTo>
                  <a:lnTo>
                    <a:pt x="54" y="420"/>
                  </a:lnTo>
                  <a:lnTo>
                    <a:pt x="54" y="414"/>
                  </a:lnTo>
                  <a:lnTo>
                    <a:pt x="60" y="414"/>
                  </a:lnTo>
                  <a:lnTo>
                    <a:pt x="60" y="408"/>
                  </a:lnTo>
                  <a:lnTo>
                    <a:pt x="66" y="408"/>
                  </a:lnTo>
                  <a:lnTo>
                    <a:pt x="66" y="402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6" y="396"/>
                  </a:lnTo>
                  <a:lnTo>
                    <a:pt x="60" y="396"/>
                  </a:lnTo>
                  <a:lnTo>
                    <a:pt x="60" y="39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14" name="Freeform 69"/>
            <p:cNvSpPr>
              <a:spLocks noChangeAspect="1"/>
            </p:cNvSpPr>
            <p:nvPr>
              <p:custDataLst>
                <p:tags r:id="rId48"/>
              </p:custDataLst>
            </p:nvPr>
          </p:nvSpPr>
          <p:spPr bwMode="auto">
            <a:xfrm>
              <a:off x="3284" y="2463"/>
              <a:ext cx="76" cy="92"/>
            </a:xfrm>
            <a:custGeom>
              <a:avLst/>
              <a:gdLst>
                <a:gd name="T0" fmla="*/ 0 w 90"/>
                <a:gd name="T1" fmla="*/ 7 h 108"/>
                <a:gd name="T2" fmla="*/ 6 w 90"/>
                <a:gd name="T3" fmla="*/ 7 h 108"/>
                <a:gd name="T4" fmla="*/ 9 w 90"/>
                <a:gd name="T5" fmla="*/ 9 h 108"/>
                <a:gd name="T6" fmla="*/ 9 w 90"/>
                <a:gd name="T7" fmla="*/ 12 h 108"/>
                <a:gd name="T8" fmla="*/ 15 w 90"/>
                <a:gd name="T9" fmla="*/ 12 h 108"/>
                <a:gd name="T10" fmla="*/ 18 w 90"/>
                <a:gd name="T11" fmla="*/ 9 h 108"/>
                <a:gd name="T12" fmla="*/ 21 w 90"/>
                <a:gd name="T13" fmla="*/ 12 h 108"/>
                <a:gd name="T14" fmla="*/ 21 w 90"/>
                <a:gd name="T15" fmla="*/ 7 h 108"/>
                <a:gd name="T16" fmla="*/ 25 w 90"/>
                <a:gd name="T17" fmla="*/ 3 h 108"/>
                <a:gd name="T18" fmla="*/ 28 w 90"/>
                <a:gd name="T19" fmla="*/ 3 h 108"/>
                <a:gd name="T20" fmla="*/ 34 w 90"/>
                <a:gd name="T21" fmla="*/ 0 h 108"/>
                <a:gd name="T22" fmla="*/ 40 w 90"/>
                <a:gd name="T23" fmla="*/ 0 h 108"/>
                <a:gd name="T24" fmla="*/ 37 w 90"/>
                <a:gd name="T25" fmla="*/ 3 h 108"/>
                <a:gd name="T26" fmla="*/ 34 w 90"/>
                <a:gd name="T27" fmla="*/ 9 h 108"/>
                <a:gd name="T28" fmla="*/ 37 w 90"/>
                <a:gd name="T29" fmla="*/ 12 h 108"/>
                <a:gd name="T30" fmla="*/ 37 w 90"/>
                <a:gd name="T31" fmla="*/ 12 h 108"/>
                <a:gd name="T32" fmla="*/ 40 w 90"/>
                <a:gd name="T33" fmla="*/ 16 h 108"/>
                <a:gd name="T34" fmla="*/ 46 w 90"/>
                <a:gd name="T35" fmla="*/ 16 h 108"/>
                <a:gd name="T36" fmla="*/ 46 w 90"/>
                <a:gd name="T37" fmla="*/ 22 h 108"/>
                <a:gd name="T38" fmla="*/ 43 w 90"/>
                <a:gd name="T39" fmla="*/ 26 h 108"/>
                <a:gd name="T40" fmla="*/ 40 w 90"/>
                <a:gd name="T41" fmla="*/ 28 h 108"/>
                <a:gd name="T42" fmla="*/ 40 w 90"/>
                <a:gd name="T43" fmla="*/ 28 h 108"/>
                <a:gd name="T44" fmla="*/ 37 w 90"/>
                <a:gd name="T45" fmla="*/ 32 h 108"/>
                <a:gd name="T46" fmla="*/ 34 w 90"/>
                <a:gd name="T47" fmla="*/ 37 h 108"/>
                <a:gd name="T48" fmla="*/ 30 w 90"/>
                <a:gd name="T49" fmla="*/ 44 h 108"/>
                <a:gd name="T50" fmla="*/ 28 w 90"/>
                <a:gd name="T51" fmla="*/ 48 h 108"/>
                <a:gd name="T52" fmla="*/ 25 w 90"/>
                <a:gd name="T53" fmla="*/ 51 h 108"/>
                <a:gd name="T54" fmla="*/ 21 w 90"/>
                <a:gd name="T55" fmla="*/ 54 h 108"/>
                <a:gd name="T56" fmla="*/ 18 w 90"/>
                <a:gd name="T57" fmla="*/ 56 h 108"/>
                <a:gd name="T58" fmla="*/ 15 w 90"/>
                <a:gd name="T59" fmla="*/ 54 h 108"/>
                <a:gd name="T60" fmla="*/ 9 w 90"/>
                <a:gd name="T61" fmla="*/ 48 h 108"/>
                <a:gd name="T62" fmla="*/ 6 w 90"/>
                <a:gd name="T63" fmla="*/ 44 h 108"/>
                <a:gd name="T64" fmla="*/ 6 w 90"/>
                <a:gd name="T65" fmla="*/ 37 h 108"/>
                <a:gd name="T66" fmla="*/ 6 w 90"/>
                <a:gd name="T67" fmla="*/ 32 h 108"/>
                <a:gd name="T68" fmla="*/ 3 w 90"/>
                <a:gd name="T69" fmla="*/ 26 h 108"/>
                <a:gd name="T70" fmla="*/ 3 w 90"/>
                <a:gd name="T71" fmla="*/ 22 h 108"/>
                <a:gd name="T72" fmla="*/ 3 w 90"/>
                <a:gd name="T73" fmla="*/ 22 h 108"/>
                <a:gd name="T74" fmla="*/ 6 w 90"/>
                <a:gd name="T75" fmla="*/ 19 h 108"/>
                <a:gd name="T76" fmla="*/ 6 w 90"/>
                <a:gd name="T77" fmla="*/ 19 h 108"/>
                <a:gd name="T78" fmla="*/ 3 w 90"/>
                <a:gd name="T79" fmla="*/ 16 h 108"/>
                <a:gd name="T80" fmla="*/ 0 w 90"/>
                <a:gd name="T81" fmla="*/ 12 h 10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90" h="108">
                  <a:moveTo>
                    <a:pt x="0" y="18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12" y="12"/>
                  </a:lnTo>
                  <a:lnTo>
                    <a:pt x="12" y="18"/>
                  </a:lnTo>
                  <a:lnTo>
                    <a:pt x="18" y="18"/>
                  </a:lnTo>
                  <a:lnTo>
                    <a:pt x="12" y="1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36" y="18"/>
                  </a:lnTo>
                  <a:lnTo>
                    <a:pt x="36" y="24"/>
                  </a:lnTo>
                  <a:lnTo>
                    <a:pt x="42" y="24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2" y="6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54" y="6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72" y="24"/>
                  </a:lnTo>
                  <a:lnTo>
                    <a:pt x="66" y="24"/>
                  </a:lnTo>
                  <a:lnTo>
                    <a:pt x="72" y="24"/>
                  </a:lnTo>
                  <a:lnTo>
                    <a:pt x="72" y="30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0"/>
                  </a:lnTo>
                  <a:lnTo>
                    <a:pt x="90" y="36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84" y="48"/>
                  </a:lnTo>
                  <a:lnTo>
                    <a:pt x="78" y="48"/>
                  </a:lnTo>
                  <a:lnTo>
                    <a:pt x="78" y="54"/>
                  </a:lnTo>
                  <a:lnTo>
                    <a:pt x="84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2" y="60"/>
                  </a:lnTo>
                  <a:lnTo>
                    <a:pt x="66" y="66"/>
                  </a:lnTo>
                  <a:lnTo>
                    <a:pt x="66" y="72"/>
                  </a:lnTo>
                  <a:lnTo>
                    <a:pt x="60" y="78"/>
                  </a:lnTo>
                  <a:lnTo>
                    <a:pt x="60" y="84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2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6" y="102"/>
                  </a:lnTo>
                  <a:lnTo>
                    <a:pt x="30" y="102"/>
                  </a:lnTo>
                  <a:lnTo>
                    <a:pt x="18" y="102"/>
                  </a:lnTo>
                  <a:lnTo>
                    <a:pt x="18" y="90"/>
                  </a:lnTo>
                  <a:lnTo>
                    <a:pt x="18" y="84"/>
                  </a:lnTo>
                  <a:lnTo>
                    <a:pt x="12" y="84"/>
                  </a:lnTo>
                  <a:lnTo>
                    <a:pt x="12" y="78"/>
                  </a:lnTo>
                  <a:lnTo>
                    <a:pt x="12" y="72"/>
                  </a:lnTo>
                  <a:lnTo>
                    <a:pt x="12" y="66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6" y="42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6" y="3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2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15" name="Freeform 70"/>
            <p:cNvSpPr>
              <a:spLocks noChangeAspect="1"/>
            </p:cNvSpPr>
            <p:nvPr>
              <p:custDataLst>
                <p:tags r:id="rId49"/>
              </p:custDataLst>
            </p:nvPr>
          </p:nvSpPr>
          <p:spPr bwMode="auto">
            <a:xfrm>
              <a:off x="3437" y="2759"/>
              <a:ext cx="137" cy="326"/>
            </a:xfrm>
            <a:custGeom>
              <a:avLst/>
              <a:gdLst>
                <a:gd name="T0" fmla="*/ 12 w 162"/>
                <a:gd name="T1" fmla="*/ 3 h 384"/>
                <a:gd name="T2" fmla="*/ 21 w 162"/>
                <a:gd name="T3" fmla="*/ 6 h 384"/>
                <a:gd name="T4" fmla="*/ 30 w 162"/>
                <a:gd name="T5" fmla="*/ 9 h 384"/>
                <a:gd name="T6" fmla="*/ 37 w 162"/>
                <a:gd name="T7" fmla="*/ 3 h 384"/>
                <a:gd name="T8" fmla="*/ 43 w 162"/>
                <a:gd name="T9" fmla="*/ 9 h 384"/>
                <a:gd name="T10" fmla="*/ 46 w 162"/>
                <a:gd name="T11" fmla="*/ 19 h 384"/>
                <a:gd name="T12" fmla="*/ 49 w 162"/>
                <a:gd name="T13" fmla="*/ 31 h 384"/>
                <a:gd name="T14" fmla="*/ 49 w 162"/>
                <a:gd name="T15" fmla="*/ 43 h 384"/>
                <a:gd name="T16" fmla="*/ 55 w 162"/>
                <a:gd name="T17" fmla="*/ 50 h 384"/>
                <a:gd name="T18" fmla="*/ 49 w 162"/>
                <a:gd name="T19" fmla="*/ 56 h 384"/>
                <a:gd name="T20" fmla="*/ 46 w 162"/>
                <a:gd name="T21" fmla="*/ 71 h 384"/>
                <a:gd name="T22" fmla="*/ 46 w 162"/>
                <a:gd name="T23" fmla="*/ 84 h 384"/>
                <a:gd name="T24" fmla="*/ 49 w 162"/>
                <a:gd name="T25" fmla="*/ 97 h 384"/>
                <a:gd name="T26" fmla="*/ 49 w 162"/>
                <a:gd name="T27" fmla="*/ 106 h 384"/>
                <a:gd name="T28" fmla="*/ 64 w 162"/>
                <a:gd name="T29" fmla="*/ 115 h 384"/>
                <a:gd name="T30" fmla="*/ 83 w 162"/>
                <a:gd name="T31" fmla="*/ 143 h 384"/>
                <a:gd name="T32" fmla="*/ 80 w 162"/>
                <a:gd name="T33" fmla="*/ 171 h 384"/>
                <a:gd name="T34" fmla="*/ 71 w 162"/>
                <a:gd name="T35" fmla="*/ 174 h 384"/>
                <a:gd name="T36" fmla="*/ 68 w 162"/>
                <a:gd name="T37" fmla="*/ 184 h 384"/>
                <a:gd name="T38" fmla="*/ 68 w 162"/>
                <a:gd name="T39" fmla="*/ 190 h 384"/>
                <a:gd name="T40" fmla="*/ 61 w 162"/>
                <a:gd name="T41" fmla="*/ 200 h 384"/>
                <a:gd name="T42" fmla="*/ 61 w 162"/>
                <a:gd name="T43" fmla="*/ 194 h 384"/>
                <a:gd name="T44" fmla="*/ 55 w 162"/>
                <a:gd name="T45" fmla="*/ 188 h 384"/>
                <a:gd name="T46" fmla="*/ 49 w 162"/>
                <a:gd name="T47" fmla="*/ 180 h 384"/>
                <a:gd name="T48" fmla="*/ 43 w 162"/>
                <a:gd name="T49" fmla="*/ 177 h 384"/>
                <a:gd name="T50" fmla="*/ 43 w 162"/>
                <a:gd name="T51" fmla="*/ 171 h 384"/>
                <a:gd name="T52" fmla="*/ 43 w 162"/>
                <a:gd name="T53" fmla="*/ 165 h 384"/>
                <a:gd name="T54" fmla="*/ 46 w 162"/>
                <a:gd name="T55" fmla="*/ 155 h 384"/>
                <a:gd name="T56" fmla="*/ 49 w 162"/>
                <a:gd name="T57" fmla="*/ 153 h 384"/>
                <a:gd name="T58" fmla="*/ 49 w 162"/>
                <a:gd name="T59" fmla="*/ 140 h 384"/>
                <a:gd name="T60" fmla="*/ 46 w 162"/>
                <a:gd name="T61" fmla="*/ 134 h 384"/>
                <a:gd name="T62" fmla="*/ 37 w 162"/>
                <a:gd name="T63" fmla="*/ 132 h 384"/>
                <a:gd name="T64" fmla="*/ 28 w 162"/>
                <a:gd name="T65" fmla="*/ 134 h 384"/>
                <a:gd name="T66" fmla="*/ 21 w 162"/>
                <a:gd name="T67" fmla="*/ 127 h 384"/>
                <a:gd name="T68" fmla="*/ 15 w 162"/>
                <a:gd name="T69" fmla="*/ 121 h 384"/>
                <a:gd name="T70" fmla="*/ 9 w 162"/>
                <a:gd name="T71" fmla="*/ 119 h 384"/>
                <a:gd name="T72" fmla="*/ 6 w 162"/>
                <a:gd name="T73" fmla="*/ 115 h 384"/>
                <a:gd name="T74" fmla="*/ 3 w 162"/>
                <a:gd name="T75" fmla="*/ 112 h 384"/>
                <a:gd name="T76" fmla="*/ 0 w 162"/>
                <a:gd name="T77" fmla="*/ 109 h 384"/>
                <a:gd name="T78" fmla="*/ 6 w 162"/>
                <a:gd name="T79" fmla="*/ 99 h 384"/>
                <a:gd name="T80" fmla="*/ 9 w 162"/>
                <a:gd name="T81" fmla="*/ 91 h 384"/>
                <a:gd name="T82" fmla="*/ 9 w 162"/>
                <a:gd name="T83" fmla="*/ 84 h 384"/>
                <a:gd name="T84" fmla="*/ 18 w 162"/>
                <a:gd name="T85" fmla="*/ 81 h 384"/>
                <a:gd name="T86" fmla="*/ 18 w 162"/>
                <a:gd name="T87" fmla="*/ 75 h 384"/>
                <a:gd name="T88" fmla="*/ 15 w 162"/>
                <a:gd name="T89" fmla="*/ 65 h 384"/>
                <a:gd name="T90" fmla="*/ 15 w 162"/>
                <a:gd name="T91" fmla="*/ 56 h 384"/>
                <a:gd name="T92" fmla="*/ 15 w 162"/>
                <a:gd name="T93" fmla="*/ 50 h 384"/>
                <a:gd name="T94" fmla="*/ 15 w 162"/>
                <a:gd name="T95" fmla="*/ 43 h 384"/>
                <a:gd name="T96" fmla="*/ 21 w 162"/>
                <a:gd name="T97" fmla="*/ 35 h 384"/>
                <a:gd name="T98" fmla="*/ 25 w 162"/>
                <a:gd name="T99" fmla="*/ 31 h 384"/>
                <a:gd name="T100" fmla="*/ 18 w 162"/>
                <a:gd name="T101" fmla="*/ 19 h 384"/>
                <a:gd name="T102" fmla="*/ 15 w 162"/>
                <a:gd name="T103" fmla="*/ 12 h 384"/>
                <a:gd name="T104" fmla="*/ 12 w 162"/>
                <a:gd name="T105" fmla="*/ 9 h 384"/>
                <a:gd name="T106" fmla="*/ 6 w 162"/>
                <a:gd name="T107" fmla="*/ 3 h 3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62" h="384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54" y="12"/>
                  </a:lnTo>
                  <a:lnTo>
                    <a:pt x="60" y="12"/>
                  </a:lnTo>
                  <a:lnTo>
                    <a:pt x="60" y="18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8" y="12"/>
                  </a:lnTo>
                  <a:lnTo>
                    <a:pt x="78" y="18"/>
                  </a:lnTo>
                  <a:lnTo>
                    <a:pt x="84" y="18"/>
                  </a:lnTo>
                  <a:lnTo>
                    <a:pt x="84" y="24"/>
                  </a:lnTo>
                  <a:lnTo>
                    <a:pt x="90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96" y="42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96" y="90"/>
                  </a:lnTo>
                  <a:lnTo>
                    <a:pt x="102" y="90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08" y="102"/>
                  </a:lnTo>
                  <a:lnTo>
                    <a:pt x="114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96" y="120"/>
                  </a:lnTo>
                  <a:lnTo>
                    <a:pt x="90" y="132"/>
                  </a:lnTo>
                  <a:lnTo>
                    <a:pt x="90" y="138"/>
                  </a:lnTo>
                  <a:lnTo>
                    <a:pt x="90" y="144"/>
                  </a:lnTo>
                  <a:lnTo>
                    <a:pt x="84" y="144"/>
                  </a:lnTo>
                  <a:lnTo>
                    <a:pt x="90" y="150"/>
                  </a:lnTo>
                  <a:lnTo>
                    <a:pt x="90" y="162"/>
                  </a:lnTo>
                  <a:lnTo>
                    <a:pt x="90" y="168"/>
                  </a:lnTo>
                  <a:lnTo>
                    <a:pt x="90" y="174"/>
                  </a:lnTo>
                  <a:lnTo>
                    <a:pt x="90" y="180"/>
                  </a:lnTo>
                  <a:lnTo>
                    <a:pt x="96" y="186"/>
                  </a:lnTo>
                  <a:lnTo>
                    <a:pt x="96" y="192"/>
                  </a:lnTo>
                  <a:lnTo>
                    <a:pt x="90" y="198"/>
                  </a:lnTo>
                  <a:lnTo>
                    <a:pt x="96" y="198"/>
                  </a:lnTo>
                  <a:lnTo>
                    <a:pt x="96" y="204"/>
                  </a:lnTo>
                  <a:lnTo>
                    <a:pt x="108" y="204"/>
                  </a:lnTo>
                  <a:lnTo>
                    <a:pt x="114" y="210"/>
                  </a:lnTo>
                  <a:lnTo>
                    <a:pt x="120" y="216"/>
                  </a:lnTo>
                  <a:lnTo>
                    <a:pt x="126" y="222"/>
                  </a:lnTo>
                  <a:lnTo>
                    <a:pt x="138" y="240"/>
                  </a:lnTo>
                  <a:lnTo>
                    <a:pt x="144" y="246"/>
                  </a:lnTo>
                  <a:lnTo>
                    <a:pt x="162" y="264"/>
                  </a:lnTo>
                  <a:lnTo>
                    <a:pt x="162" y="276"/>
                  </a:lnTo>
                  <a:lnTo>
                    <a:pt x="156" y="288"/>
                  </a:lnTo>
                  <a:lnTo>
                    <a:pt x="156" y="300"/>
                  </a:lnTo>
                  <a:lnTo>
                    <a:pt x="156" y="324"/>
                  </a:lnTo>
                  <a:lnTo>
                    <a:pt x="156" y="330"/>
                  </a:lnTo>
                  <a:lnTo>
                    <a:pt x="156" y="336"/>
                  </a:lnTo>
                  <a:lnTo>
                    <a:pt x="150" y="336"/>
                  </a:lnTo>
                  <a:lnTo>
                    <a:pt x="144" y="336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42"/>
                  </a:lnTo>
                  <a:lnTo>
                    <a:pt x="132" y="348"/>
                  </a:lnTo>
                  <a:lnTo>
                    <a:pt x="132" y="354"/>
                  </a:lnTo>
                  <a:lnTo>
                    <a:pt x="126" y="354"/>
                  </a:lnTo>
                  <a:lnTo>
                    <a:pt x="126" y="360"/>
                  </a:lnTo>
                  <a:lnTo>
                    <a:pt x="126" y="366"/>
                  </a:lnTo>
                  <a:lnTo>
                    <a:pt x="132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32" y="384"/>
                  </a:lnTo>
                  <a:lnTo>
                    <a:pt x="120" y="384"/>
                  </a:lnTo>
                  <a:lnTo>
                    <a:pt x="120" y="378"/>
                  </a:lnTo>
                  <a:lnTo>
                    <a:pt x="126" y="378"/>
                  </a:lnTo>
                  <a:lnTo>
                    <a:pt x="126" y="372"/>
                  </a:lnTo>
                  <a:lnTo>
                    <a:pt x="120" y="372"/>
                  </a:lnTo>
                  <a:lnTo>
                    <a:pt x="114" y="372"/>
                  </a:lnTo>
                  <a:lnTo>
                    <a:pt x="114" y="366"/>
                  </a:lnTo>
                  <a:lnTo>
                    <a:pt x="108" y="366"/>
                  </a:lnTo>
                  <a:lnTo>
                    <a:pt x="108" y="360"/>
                  </a:lnTo>
                  <a:lnTo>
                    <a:pt x="102" y="360"/>
                  </a:lnTo>
                  <a:lnTo>
                    <a:pt x="102" y="354"/>
                  </a:lnTo>
                  <a:lnTo>
                    <a:pt x="96" y="354"/>
                  </a:lnTo>
                  <a:lnTo>
                    <a:pt x="96" y="348"/>
                  </a:lnTo>
                  <a:lnTo>
                    <a:pt x="90" y="342"/>
                  </a:lnTo>
                  <a:lnTo>
                    <a:pt x="90" y="348"/>
                  </a:lnTo>
                  <a:lnTo>
                    <a:pt x="90" y="342"/>
                  </a:lnTo>
                  <a:lnTo>
                    <a:pt x="84" y="342"/>
                  </a:lnTo>
                  <a:lnTo>
                    <a:pt x="84" y="336"/>
                  </a:lnTo>
                  <a:lnTo>
                    <a:pt x="90" y="336"/>
                  </a:lnTo>
                  <a:lnTo>
                    <a:pt x="90" y="330"/>
                  </a:lnTo>
                  <a:lnTo>
                    <a:pt x="84" y="330"/>
                  </a:lnTo>
                  <a:lnTo>
                    <a:pt x="84" y="324"/>
                  </a:lnTo>
                  <a:lnTo>
                    <a:pt x="78" y="324"/>
                  </a:lnTo>
                  <a:lnTo>
                    <a:pt x="78" y="318"/>
                  </a:lnTo>
                  <a:lnTo>
                    <a:pt x="84" y="318"/>
                  </a:lnTo>
                  <a:lnTo>
                    <a:pt x="84" y="312"/>
                  </a:lnTo>
                  <a:lnTo>
                    <a:pt x="90" y="312"/>
                  </a:lnTo>
                  <a:lnTo>
                    <a:pt x="90" y="306"/>
                  </a:lnTo>
                  <a:lnTo>
                    <a:pt x="90" y="300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300"/>
                  </a:lnTo>
                  <a:lnTo>
                    <a:pt x="96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6" y="276"/>
                  </a:lnTo>
                  <a:lnTo>
                    <a:pt x="96" y="270"/>
                  </a:lnTo>
                  <a:lnTo>
                    <a:pt x="90" y="264"/>
                  </a:lnTo>
                  <a:lnTo>
                    <a:pt x="96" y="264"/>
                  </a:lnTo>
                  <a:lnTo>
                    <a:pt x="96" y="258"/>
                  </a:lnTo>
                  <a:lnTo>
                    <a:pt x="90" y="258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8" y="252"/>
                  </a:lnTo>
                  <a:lnTo>
                    <a:pt x="72" y="252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60" y="258"/>
                  </a:lnTo>
                  <a:lnTo>
                    <a:pt x="54" y="258"/>
                  </a:lnTo>
                  <a:lnTo>
                    <a:pt x="48" y="258"/>
                  </a:lnTo>
                  <a:lnTo>
                    <a:pt x="48" y="252"/>
                  </a:lnTo>
                  <a:lnTo>
                    <a:pt x="42" y="252"/>
                  </a:lnTo>
                  <a:lnTo>
                    <a:pt x="42" y="246"/>
                  </a:lnTo>
                  <a:lnTo>
                    <a:pt x="36" y="246"/>
                  </a:lnTo>
                  <a:lnTo>
                    <a:pt x="36" y="240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30" y="228"/>
                  </a:lnTo>
                  <a:lnTo>
                    <a:pt x="30" y="234"/>
                  </a:lnTo>
                  <a:lnTo>
                    <a:pt x="24" y="228"/>
                  </a:lnTo>
                  <a:lnTo>
                    <a:pt x="18" y="228"/>
                  </a:lnTo>
                  <a:lnTo>
                    <a:pt x="18" y="234"/>
                  </a:lnTo>
                  <a:lnTo>
                    <a:pt x="18" y="228"/>
                  </a:lnTo>
                  <a:lnTo>
                    <a:pt x="12" y="228"/>
                  </a:lnTo>
                  <a:lnTo>
                    <a:pt x="12" y="222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12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12" y="204"/>
                  </a:lnTo>
                  <a:lnTo>
                    <a:pt x="12" y="198"/>
                  </a:lnTo>
                  <a:lnTo>
                    <a:pt x="12" y="192"/>
                  </a:lnTo>
                  <a:lnTo>
                    <a:pt x="18" y="192"/>
                  </a:lnTo>
                  <a:lnTo>
                    <a:pt x="18" y="186"/>
                  </a:lnTo>
                  <a:lnTo>
                    <a:pt x="18" y="180"/>
                  </a:lnTo>
                  <a:lnTo>
                    <a:pt x="18" y="174"/>
                  </a:lnTo>
                  <a:lnTo>
                    <a:pt x="12" y="174"/>
                  </a:lnTo>
                  <a:lnTo>
                    <a:pt x="12" y="168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4" y="162"/>
                  </a:lnTo>
                  <a:lnTo>
                    <a:pt x="30" y="162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2" y="150"/>
                  </a:lnTo>
                  <a:lnTo>
                    <a:pt x="36" y="150"/>
                  </a:lnTo>
                  <a:lnTo>
                    <a:pt x="36" y="144"/>
                  </a:lnTo>
                  <a:lnTo>
                    <a:pt x="30" y="144"/>
                  </a:lnTo>
                  <a:lnTo>
                    <a:pt x="30" y="138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36" y="120"/>
                  </a:lnTo>
                  <a:lnTo>
                    <a:pt x="30" y="120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30" y="108"/>
                  </a:lnTo>
                  <a:lnTo>
                    <a:pt x="30" y="102"/>
                  </a:lnTo>
                  <a:lnTo>
                    <a:pt x="30" y="96"/>
                  </a:lnTo>
                  <a:lnTo>
                    <a:pt x="36" y="96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30" y="84"/>
                  </a:lnTo>
                  <a:lnTo>
                    <a:pt x="30" y="78"/>
                  </a:lnTo>
                  <a:lnTo>
                    <a:pt x="36" y="72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8" y="66"/>
                  </a:lnTo>
                  <a:lnTo>
                    <a:pt x="48" y="60"/>
                  </a:lnTo>
                  <a:lnTo>
                    <a:pt x="54" y="60"/>
                  </a:lnTo>
                  <a:lnTo>
                    <a:pt x="48" y="60"/>
                  </a:lnTo>
                  <a:lnTo>
                    <a:pt x="48" y="54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6" y="30"/>
                  </a:lnTo>
                  <a:lnTo>
                    <a:pt x="36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8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2616" name="Group 71"/>
            <p:cNvGrpSpPr>
              <a:grpSpLocks/>
            </p:cNvGrpSpPr>
            <p:nvPr>
              <p:custDataLst>
                <p:tags r:id="rId50"/>
              </p:custDataLst>
            </p:nvPr>
          </p:nvGrpSpPr>
          <p:grpSpPr bwMode="auto">
            <a:xfrm>
              <a:off x="3294" y="2407"/>
              <a:ext cx="469" cy="454"/>
              <a:chOff x="3294" y="2407"/>
              <a:chExt cx="469" cy="454"/>
            </a:xfrm>
          </p:grpSpPr>
          <p:sp>
            <p:nvSpPr>
              <p:cNvPr id="22639" name="Freeform 72"/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3294" y="2407"/>
                <a:ext cx="469" cy="454"/>
              </a:xfrm>
              <a:custGeom>
                <a:avLst/>
                <a:gdLst>
                  <a:gd name="T0" fmla="*/ 15 w 552"/>
                  <a:gd name="T1" fmla="*/ 88 h 534"/>
                  <a:gd name="T2" fmla="*/ 25 w 552"/>
                  <a:gd name="T3" fmla="*/ 79 h 534"/>
                  <a:gd name="T4" fmla="*/ 35 w 552"/>
                  <a:gd name="T5" fmla="*/ 63 h 534"/>
                  <a:gd name="T6" fmla="*/ 41 w 552"/>
                  <a:gd name="T7" fmla="*/ 56 h 534"/>
                  <a:gd name="T8" fmla="*/ 31 w 552"/>
                  <a:gd name="T9" fmla="*/ 47 h 534"/>
                  <a:gd name="T10" fmla="*/ 31 w 552"/>
                  <a:gd name="T11" fmla="*/ 37 h 534"/>
                  <a:gd name="T12" fmla="*/ 41 w 552"/>
                  <a:gd name="T13" fmla="*/ 31 h 534"/>
                  <a:gd name="T14" fmla="*/ 41 w 552"/>
                  <a:gd name="T15" fmla="*/ 19 h 534"/>
                  <a:gd name="T16" fmla="*/ 31 w 552"/>
                  <a:gd name="T17" fmla="*/ 7 h 534"/>
                  <a:gd name="T18" fmla="*/ 47 w 552"/>
                  <a:gd name="T19" fmla="*/ 0 h 534"/>
                  <a:gd name="T20" fmla="*/ 150 w 552"/>
                  <a:gd name="T21" fmla="*/ 16 h 534"/>
                  <a:gd name="T22" fmla="*/ 216 w 552"/>
                  <a:gd name="T23" fmla="*/ 51 h 534"/>
                  <a:gd name="T24" fmla="*/ 223 w 552"/>
                  <a:gd name="T25" fmla="*/ 69 h 534"/>
                  <a:gd name="T26" fmla="*/ 257 w 552"/>
                  <a:gd name="T27" fmla="*/ 100 h 534"/>
                  <a:gd name="T28" fmla="*/ 253 w 552"/>
                  <a:gd name="T29" fmla="*/ 104 h 534"/>
                  <a:gd name="T30" fmla="*/ 253 w 552"/>
                  <a:gd name="T31" fmla="*/ 110 h 534"/>
                  <a:gd name="T32" fmla="*/ 251 w 552"/>
                  <a:gd name="T33" fmla="*/ 119 h 534"/>
                  <a:gd name="T34" fmla="*/ 247 w 552"/>
                  <a:gd name="T35" fmla="*/ 138 h 534"/>
                  <a:gd name="T36" fmla="*/ 251 w 552"/>
                  <a:gd name="T37" fmla="*/ 142 h 534"/>
                  <a:gd name="T38" fmla="*/ 257 w 552"/>
                  <a:gd name="T39" fmla="*/ 147 h 534"/>
                  <a:gd name="T40" fmla="*/ 266 w 552"/>
                  <a:gd name="T41" fmla="*/ 156 h 534"/>
                  <a:gd name="T42" fmla="*/ 259 w 552"/>
                  <a:gd name="T43" fmla="*/ 162 h 534"/>
                  <a:gd name="T44" fmla="*/ 259 w 552"/>
                  <a:gd name="T45" fmla="*/ 176 h 534"/>
                  <a:gd name="T46" fmla="*/ 259 w 552"/>
                  <a:gd name="T47" fmla="*/ 185 h 534"/>
                  <a:gd name="T48" fmla="*/ 259 w 552"/>
                  <a:gd name="T49" fmla="*/ 201 h 534"/>
                  <a:gd name="T50" fmla="*/ 263 w 552"/>
                  <a:gd name="T51" fmla="*/ 204 h 534"/>
                  <a:gd name="T52" fmla="*/ 266 w 552"/>
                  <a:gd name="T53" fmla="*/ 210 h 534"/>
                  <a:gd name="T54" fmla="*/ 266 w 552"/>
                  <a:gd name="T55" fmla="*/ 210 h 534"/>
                  <a:gd name="T56" fmla="*/ 268 w 552"/>
                  <a:gd name="T57" fmla="*/ 223 h 534"/>
                  <a:gd name="T58" fmla="*/ 268 w 552"/>
                  <a:gd name="T59" fmla="*/ 232 h 534"/>
                  <a:gd name="T60" fmla="*/ 279 w 552"/>
                  <a:gd name="T61" fmla="*/ 239 h 534"/>
                  <a:gd name="T62" fmla="*/ 281 w 552"/>
                  <a:gd name="T63" fmla="*/ 241 h 534"/>
                  <a:gd name="T64" fmla="*/ 287 w 552"/>
                  <a:gd name="T65" fmla="*/ 241 h 534"/>
                  <a:gd name="T66" fmla="*/ 275 w 552"/>
                  <a:gd name="T67" fmla="*/ 253 h 534"/>
                  <a:gd name="T68" fmla="*/ 259 w 552"/>
                  <a:gd name="T69" fmla="*/ 263 h 534"/>
                  <a:gd name="T70" fmla="*/ 244 w 552"/>
                  <a:gd name="T71" fmla="*/ 267 h 534"/>
                  <a:gd name="T72" fmla="*/ 231 w 552"/>
                  <a:gd name="T73" fmla="*/ 267 h 534"/>
                  <a:gd name="T74" fmla="*/ 218 w 552"/>
                  <a:gd name="T75" fmla="*/ 273 h 534"/>
                  <a:gd name="T76" fmla="*/ 210 w 552"/>
                  <a:gd name="T77" fmla="*/ 276 h 534"/>
                  <a:gd name="T78" fmla="*/ 194 w 552"/>
                  <a:gd name="T79" fmla="*/ 273 h 534"/>
                  <a:gd name="T80" fmla="*/ 185 w 552"/>
                  <a:gd name="T81" fmla="*/ 276 h 534"/>
                  <a:gd name="T82" fmla="*/ 178 w 552"/>
                  <a:gd name="T83" fmla="*/ 273 h 534"/>
                  <a:gd name="T84" fmla="*/ 166 w 552"/>
                  <a:gd name="T85" fmla="*/ 273 h 534"/>
                  <a:gd name="T86" fmla="*/ 162 w 552"/>
                  <a:gd name="T87" fmla="*/ 273 h 534"/>
                  <a:gd name="T88" fmla="*/ 156 w 552"/>
                  <a:gd name="T89" fmla="*/ 273 h 534"/>
                  <a:gd name="T90" fmla="*/ 141 w 552"/>
                  <a:gd name="T91" fmla="*/ 263 h 534"/>
                  <a:gd name="T92" fmla="*/ 137 w 552"/>
                  <a:gd name="T93" fmla="*/ 248 h 534"/>
                  <a:gd name="T94" fmla="*/ 134 w 552"/>
                  <a:gd name="T95" fmla="*/ 232 h 534"/>
                  <a:gd name="T96" fmla="*/ 125 w 552"/>
                  <a:gd name="T97" fmla="*/ 219 h 534"/>
                  <a:gd name="T98" fmla="*/ 116 w 552"/>
                  <a:gd name="T99" fmla="*/ 223 h 534"/>
                  <a:gd name="T100" fmla="*/ 99 w 552"/>
                  <a:gd name="T101" fmla="*/ 219 h 534"/>
                  <a:gd name="T102" fmla="*/ 88 w 552"/>
                  <a:gd name="T103" fmla="*/ 213 h 534"/>
                  <a:gd name="T104" fmla="*/ 71 w 552"/>
                  <a:gd name="T105" fmla="*/ 210 h 534"/>
                  <a:gd name="T106" fmla="*/ 59 w 552"/>
                  <a:gd name="T107" fmla="*/ 204 h 534"/>
                  <a:gd name="T108" fmla="*/ 47 w 552"/>
                  <a:gd name="T109" fmla="*/ 197 h 534"/>
                  <a:gd name="T110" fmla="*/ 37 w 552"/>
                  <a:gd name="T111" fmla="*/ 182 h 534"/>
                  <a:gd name="T112" fmla="*/ 25 w 552"/>
                  <a:gd name="T113" fmla="*/ 156 h 534"/>
                  <a:gd name="T114" fmla="*/ 9 w 552"/>
                  <a:gd name="T115" fmla="*/ 138 h 534"/>
                  <a:gd name="T116" fmla="*/ 9 w 552"/>
                  <a:gd name="T117" fmla="*/ 119 h 534"/>
                  <a:gd name="T118" fmla="*/ 0 w 552"/>
                  <a:gd name="T119" fmla="*/ 100 h 53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552" h="534">
                    <a:moveTo>
                      <a:pt x="6" y="168"/>
                    </a:moveTo>
                    <a:lnTo>
                      <a:pt x="18" y="168"/>
                    </a:lnTo>
                    <a:lnTo>
                      <a:pt x="24" y="168"/>
                    </a:lnTo>
                    <a:lnTo>
                      <a:pt x="24" y="174"/>
                    </a:lnTo>
                    <a:lnTo>
                      <a:pt x="24" y="168"/>
                    </a:lnTo>
                    <a:lnTo>
                      <a:pt x="30" y="168"/>
                    </a:lnTo>
                    <a:lnTo>
                      <a:pt x="30" y="162"/>
                    </a:lnTo>
                    <a:lnTo>
                      <a:pt x="36" y="162"/>
                    </a:lnTo>
                    <a:lnTo>
                      <a:pt x="36" y="156"/>
                    </a:lnTo>
                    <a:lnTo>
                      <a:pt x="42" y="156"/>
                    </a:lnTo>
                    <a:lnTo>
                      <a:pt x="42" y="150"/>
                    </a:lnTo>
                    <a:lnTo>
                      <a:pt x="48" y="150"/>
                    </a:lnTo>
                    <a:lnTo>
                      <a:pt x="48" y="144"/>
                    </a:lnTo>
                    <a:lnTo>
                      <a:pt x="54" y="138"/>
                    </a:lnTo>
                    <a:lnTo>
                      <a:pt x="54" y="132"/>
                    </a:lnTo>
                    <a:lnTo>
                      <a:pt x="60" y="126"/>
                    </a:lnTo>
                    <a:lnTo>
                      <a:pt x="60" y="120"/>
                    </a:lnTo>
                    <a:lnTo>
                      <a:pt x="66" y="120"/>
                    </a:lnTo>
                    <a:lnTo>
                      <a:pt x="72" y="120"/>
                    </a:lnTo>
                    <a:lnTo>
                      <a:pt x="66" y="120"/>
                    </a:lnTo>
                    <a:lnTo>
                      <a:pt x="66" y="114"/>
                    </a:lnTo>
                    <a:lnTo>
                      <a:pt x="72" y="114"/>
                    </a:lnTo>
                    <a:lnTo>
                      <a:pt x="78" y="114"/>
                    </a:lnTo>
                    <a:lnTo>
                      <a:pt x="78" y="108"/>
                    </a:lnTo>
                    <a:lnTo>
                      <a:pt x="78" y="102"/>
                    </a:lnTo>
                    <a:lnTo>
                      <a:pt x="78" y="96"/>
                    </a:lnTo>
                    <a:lnTo>
                      <a:pt x="72" y="96"/>
                    </a:lnTo>
                    <a:lnTo>
                      <a:pt x="66" y="96"/>
                    </a:lnTo>
                    <a:lnTo>
                      <a:pt x="60" y="96"/>
                    </a:lnTo>
                    <a:lnTo>
                      <a:pt x="60" y="90"/>
                    </a:lnTo>
                    <a:lnTo>
                      <a:pt x="54" y="90"/>
                    </a:lnTo>
                    <a:lnTo>
                      <a:pt x="60" y="90"/>
                    </a:lnTo>
                    <a:lnTo>
                      <a:pt x="60" y="84"/>
                    </a:lnTo>
                    <a:lnTo>
                      <a:pt x="54" y="84"/>
                    </a:lnTo>
                    <a:lnTo>
                      <a:pt x="60" y="78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6" y="66"/>
                    </a:lnTo>
                    <a:lnTo>
                      <a:pt x="66" y="72"/>
                    </a:lnTo>
                    <a:lnTo>
                      <a:pt x="72" y="66"/>
                    </a:lnTo>
                    <a:lnTo>
                      <a:pt x="78" y="66"/>
                    </a:lnTo>
                    <a:lnTo>
                      <a:pt x="78" y="60"/>
                    </a:lnTo>
                    <a:lnTo>
                      <a:pt x="78" y="54"/>
                    </a:lnTo>
                    <a:lnTo>
                      <a:pt x="78" y="48"/>
                    </a:lnTo>
                    <a:lnTo>
                      <a:pt x="72" y="48"/>
                    </a:lnTo>
                    <a:lnTo>
                      <a:pt x="72" y="42"/>
                    </a:lnTo>
                    <a:lnTo>
                      <a:pt x="78" y="42"/>
                    </a:lnTo>
                    <a:lnTo>
                      <a:pt x="78" y="36"/>
                    </a:lnTo>
                    <a:lnTo>
                      <a:pt x="78" y="30"/>
                    </a:lnTo>
                    <a:lnTo>
                      <a:pt x="72" y="24"/>
                    </a:lnTo>
                    <a:lnTo>
                      <a:pt x="72" y="18"/>
                    </a:lnTo>
                    <a:lnTo>
                      <a:pt x="66" y="18"/>
                    </a:lnTo>
                    <a:lnTo>
                      <a:pt x="66" y="12"/>
                    </a:lnTo>
                    <a:lnTo>
                      <a:pt x="60" y="12"/>
                    </a:lnTo>
                    <a:lnTo>
                      <a:pt x="60" y="6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2" y="0"/>
                    </a:lnTo>
                    <a:lnTo>
                      <a:pt x="78" y="0"/>
                    </a:lnTo>
                    <a:lnTo>
                      <a:pt x="90" y="0"/>
                    </a:lnTo>
                    <a:lnTo>
                      <a:pt x="96" y="0"/>
                    </a:lnTo>
                    <a:lnTo>
                      <a:pt x="114" y="0"/>
                    </a:lnTo>
                    <a:lnTo>
                      <a:pt x="228" y="0"/>
                    </a:lnTo>
                    <a:lnTo>
                      <a:pt x="234" y="0"/>
                    </a:lnTo>
                    <a:lnTo>
                      <a:pt x="240" y="0"/>
                    </a:lnTo>
                    <a:lnTo>
                      <a:pt x="288" y="30"/>
                    </a:lnTo>
                    <a:lnTo>
                      <a:pt x="324" y="48"/>
                    </a:lnTo>
                    <a:lnTo>
                      <a:pt x="348" y="60"/>
                    </a:lnTo>
                    <a:lnTo>
                      <a:pt x="366" y="72"/>
                    </a:lnTo>
                    <a:lnTo>
                      <a:pt x="384" y="84"/>
                    </a:lnTo>
                    <a:lnTo>
                      <a:pt x="408" y="96"/>
                    </a:lnTo>
                    <a:lnTo>
                      <a:pt x="414" y="96"/>
                    </a:lnTo>
                    <a:lnTo>
                      <a:pt x="420" y="102"/>
                    </a:lnTo>
                    <a:lnTo>
                      <a:pt x="420" y="114"/>
                    </a:lnTo>
                    <a:lnTo>
                      <a:pt x="414" y="120"/>
                    </a:lnTo>
                    <a:lnTo>
                      <a:pt x="414" y="126"/>
                    </a:lnTo>
                    <a:lnTo>
                      <a:pt x="420" y="126"/>
                    </a:lnTo>
                    <a:lnTo>
                      <a:pt x="426" y="132"/>
                    </a:lnTo>
                    <a:lnTo>
                      <a:pt x="432" y="138"/>
                    </a:lnTo>
                    <a:lnTo>
                      <a:pt x="456" y="156"/>
                    </a:lnTo>
                    <a:lnTo>
                      <a:pt x="468" y="162"/>
                    </a:lnTo>
                    <a:lnTo>
                      <a:pt x="492" y="180"/>
                    </a:lnTo>
                    <a:lnTo>
                      <a:pt x="492" y="186"/>
                    </a:lnTo>
                    <a:lnTo>
                      <a:pt x="492" y="192"/>
                    </a:lnTo>
                    <a:lnTo>
                      <a:pt x="486" y="192"/>
                    </a:lnTo>
                    <a:lnTo>
                      <a:pt x="492" y="192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86" y="198"/>
                    </a:lnTo>
                    <a:lnTo>
                      <a:pt x="486" y="204"/>
                    </a:lnTo>
                    <a:lnTo>
                      <a:pt x="486" y="198"/>
                    </a:lnTo>
                    <a:lnTo>
                      <a:pt x="492" y="198"/>
                    </a:lnTo>
                    <a:lnTo>
                      <a:pt x="492" y="204"/>
                    </a:lnTo>
                    <a:lnTo>
                      <a:pt x="486" y="204"/>
                    </a:lnTo>
                    <a:lnTo>
                      <a:pt x="486" y="210"/>
                    </a:lnTo>
                    <a:lnTo>
                      <a:pt x="486" y="216"/>
                    </a:lnTo>
                    <a:lnTo>
                      <a:pt x="480" y="216"/>
                    </a:lnTo>
                    <a:lnTo>
                      <a:pt x="480" y="222"/>
                    </a:lnTo>
                    <a:lnTo>
                      <a:pt x="486" y="222"/>
                    </a:lnTo>
                    <a:lnTo>
                      <a:pt x="480" y="222"/>
                    </a:lnTo>
                    <a:lnTo>
                      <a:pt x="480" y="228"/>
                    </a:lnTo>
                    <a:lnTo>
                      <a:pt x="480" y="234"/>
                    </a:lnTo>
                    <a:lnTo>
                      <a:pt x="474" y="240"/>
                    </a:lnTo>
                    <a:lnTo>
                      <a:pt x="474" y="246"/>
                    </a:lnTo>
                    <a:lnTo>
                      <a:pt x="474" y="252"/>
                    </a:lnTo>
                    <a:lnTo>
                      <a:pt x="474" y="258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74" y="264"/>
                    </a:lnTo>
                    <a:lnTo>
                      <a:pt x="474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0" y="270"/>
                    </a:lnTo>
                    <a:lnTo>
                      <a:pt x="486" y="270"/>
                    </a:lnTo>
                    <a:lnTo>
                      <a:pt x="486" y="276"/>
                    </a:lnTo>
                    <a:lnTo>
                      <a:pt x="492" y="276"/>
                    </a:lnTo>
                    <a:lnTo>
                      <a:pt x="492" y="282"/>
                    </a:lnTo>
                    <a:lnTo>
                      <a:pt x="498" y="282"/>
                    </a:lnTo>
                    <a:lnTo>
                      <a:pt x="498" y="288"/>
                    </a:lnTo>
                    <a:lnTo>
                      <a:pt x="504" y="288"/>
                    </a:lnTo>
                    <a:lnTo>
                      <a:pt x="504" y="294"/>
                    </a:lnTo>
                    <a:lnTo>
                      <a:pt x="510" y="294"/>
                    </a:lnTo>
                    <a:lnTo>
                      <a:pt x="510" y="300"/>
                    </a:lnTo>
                    <a:lnTo>
                      <a:pt x="510" y="306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504" y="306"/>
                    </a:lnTo>
                    <a:lnTo>
                      <a:pt x="504" y="312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12"/>
                    </a:lnTo>
                    <a:lnTo>
                      <a:pt x="498" y="318"/>
                    </a:lnTo>
                    <a:lnTo>
                      <a:pt x="498" y="324"/>
                    </a:lnTo>
                    <a:lnTo>
                      <a:pt x="498" y="330"/>
                    </a:lnTo>
                    <a:lnTo>
                      <a:pt x="498" y="336"/>
                    </a:lnTo>
                    <a:lnTo>
                      <a:pt x="504" y="336"/>
                    </a:lnTo>
                    <a:lnTo>
                      <a:pt x="504" y="342"/>
                    </a:lnTo>
                    <a:lnTo>
                      <a:pt x="504" y="348"/>
                    </a:lnTo>
                    <a:lnTo>
                      <a:pt x="504" y="354"/>
                    </a:lnTo>
                    <a:lnTo>
                      <a:pt x="498" y="360"/>
                    </a:lnTo>
                    <a:lnTo>
                      <a:pt x="498" y="354"/>
                    </a:lnTo>
                    <a:lnTo>
                      <a:pt x="498" y="360"/>
                    </a:lnTo>
                    <a:lnTo>
                      <a:pt x="498" y="366"/>
                    </a:lnTo>
                    <a:lnTo>
                      <a:pt x="498" y="372"/>
                    </a:lnTo>
                    <a:lnTo>
                      <a:pt x="498" y="378"/>
                    </a:lnTo>
                    <a:lnTo>
                      <a:pt x="504" y="384"/>
                    </a:lnTo>
                    <a:lnTo>
                      <a:pt x="498" y="384"/>
                    </a:lnTo>
                    <a:lnTo>
                      <a:pt x="504" y="384"/>
                    </a:lnTo>
                    <a:lnTo>
                      <a:pt x="504" y="390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10" y="390"/>
                    </a:lnTo>
                    <a:lnTo>
                      <a:pt x="504" y="390"/>
                    </a:lnTo>
                    <a:lnTo>
                      <a:pt x="504" y="396"/>
                    </a:lnTo>
                    <a:lnTo>
                      <a:pt x="510" y="390"/>
                    </a:lnTo>
                    <a:lnTo>
                      <a:pt x="510" y="396"/>
                    </a:lnTo>
                    <a:lnTo>
                      <a:pt x="504" y="396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04" y="402"/>
                    </a:lnTo>
                    <a:lnTo>
                      <a:pt x="510" y="402"/>
                    </a:lnTo>
                    <a:lnTo>
                      <a:pt x="510" y="396"/>
                    </a:lnTo>
                    <a:lnTo>
                      <a:pt x="510" y="402"/>
                    </a:lnTo>
                    <a:lnTo>
                      <a:pt x="516" y="402"/>
                    </a:lnTo>
                    <a:lnTo>
                      <a:pt x="510" y="402"/>
                    </a:lnTo>
                    <a:lnTo>
                      <a:pt x="516" y="408"/>
                    </a:lnTo>
                    <a:lnTo>
                      <a:pt x="516" y="414"/>
                    </a:lnTo>
                    <a:lnTo>
                      <a:pt x="510" y="414"/>
                    </a:lnTo>
                    <a:lnTo>
                      <a:pt x="510" y="420"/>
                    </a:lnTo>
                    <a:lnTo>
                      <a:pt x="516" y="420"/>
                    </a:lnTo>
                    <a:lnTo>
                      <a:pt x="516" y="426"/>
                    </a:lnTo>
                    <a:lnTo>
                      <a:pt x="522" y="432"/>
                    </a:lnTo>
                    <a:lnTo>
                      <a:pt x="516" y="432"/>
                    </a:lnTo>
                    <a:lnTo>
                      <a:pt x="522" y="432"/>
                    </a:lnTo>
                    <a:lnTo>
                      <a:pt x="522" y="438"/>
                    </a:lnTo>
                    <a:lnTo>
                      <a:pt x="522" y="444"/>
                    </a:lnTo>
                    <a:lnTo>
                      <a:pt x="516" y="444"/>
                    </a:lnTo>
                    <a:lnTo>
                      <a:pt x="522" y="444"/>
                    </a:lnTo>
                    <a:lnTo>
                      <a:pt x="528" y="444"/>
                    </a:lnTo>
                    <a:lnTo>
                      <a:pt x="528" y="450"/>
                    </a:lnTo>
                    <a:lnTo>
                      <a:pt x="534" y="450"/>
                    </a:lnTo>
                    <a:lnTo>
                      <a:pt x="528" y="456"/>
                    </a:lnTo>
                    <a:lnTo>
                      <a:pt x="534" y="456"/>
                    </a:lnTo>
                    <a:lnTo>
                      <a:pt x="534" y="450"/>
                    </a:lnTo>
                    <a:lnTo>
                      <a:pt x="534" y="456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0" y="456"/>
                    </a:lnTo>
                    <a:lnTo>
                      <a:pt x="540" y="462"/>
                    </a:lnTo>
                    <a:lnTo>
                      <a:pt x="546" y="462"/>
                    </a:lnTo>
                    <a:lnTo>
                      <a:pt x="546" y="456"/>
                    </a:lnTo>
                    <a:lnTo>
                      <a:pt x="540" y="456"/>
                    </a:lnTo>
                    <a:lnTo>
                      <a:pt x="546" y="456"/>
                    </a:lnTo>
                    <a:lnTo>
                      <a:pt x="546" y="462"/>
                    </a:lnTo>
                    <a:lnTo>
                      <a:pt x="552" y="462"/>
                    </a:lnTo>
                    <a:lnTo>
                      <a:pt x="552" y="468"/>
                    </a:lnTo>
                    <a:lnTo>
                      <a:pt x="552" y="474"/>
                    </a:lnTo>
                    <a:lnTo>
                      <a:pt x="546" y="474"/>
                    </a:lnTo>
                    <a:lnTo>
                      <a:pt x="540" y="480"/>
                    </a:lnTo>
                    <a:lnTo>
                      <a:pt x="534" y="486"/>
                    </a:lnTo>
                    <a:lnTo>
                      <a:pt x="528" y="486"/>
                    </a:lnTo>
                    <a:lnTo>
                      <a:pt x="522" y="492"/>
                    </a:lnTo>
                    <a:lnTo>
                      <a:pt x="516" y="492"/>
                    </a:lnTo>
                    <a:lnTo>
                      <a:pt x="510" y="492"/>
                    </a:lnTo>
                    <a:lnTo>
                      <a:pt x="510" y="498"/>
                    </a:lnTo>
                    <a:lnTo>
                      <a:pt x="504" y="498"/>
                    </a:lnTo>
                    <a:lnTo>
                      <a:pt x="498" y="504"/>
                    </a:lnTo>
                    <a:lnTo>
                      <a:pt x="492" y="504"/>
                    </a:lnTo>
                    <a:lnTo>
                      <a:pt x="486" y="504"/>
                    </a:lnTo>
                    <a:lnTo>
                      <a:pt x="480" y="504"/>
                    </a:lnTo>
                    <a:lnTo>
                      <a:pt x="474" y="504"/>
                    </a:lnTo>
                    <a:lnTo>
                      <a:pt x="474" y="510"/>
                    </a:lnTo>
                    <a:lnTo>
                      <a:pt x="468" y="510"/>
                    </a:lnTo>
                    <a:lnTo>
                      <a:pt x="462" y="510"/>
                    </a:lnTo>
                    <a:lnTo>
                      <a:pt x="462" y="516"/>
                    </a:lnTo>
                    <a:lnTo>
                      <a:pt x="456" y="516"/>
                    </a:lnTo>
                    <a:lnTo>
                      <a:pt x="450" y="516"/>
                    </a:lnTo>
                    <a:lnTo>
                      <a:pt x="450" y="510"/>
                    </a:lnTo>
                    <a:lnTo>
                      <a:pt x="444" y="510"/>
                    </a:lnTo>
                    <a:lnTo>
                      <a:pt x="438" y="510"/>
                    </a:lnTo>
                    <a:lnTo>
                      <a:pt x="432" y="510"/>
                    </a:lnTo>
                    <a:lnTo>
                      <a:pt x="426" y="510"/>
                    </a:lnTo>
                    <a:lnTo>
                      <a:pt x="426" y="516"/>
                    </a:lnTo>
                    <a:lnTo>
                      <a:pt x="426" y="522"/>
                    </a:lnTo>
                    <a:lnTo>
                      <a:pt x="420" y="522"/>
                    </a:lnTo>
                    <a:lnTo>
                      <a:pt x="420" y="528"/>
                    </a:lnTo>
                    <a:lnTo>
                      <a:pt x="414" y="528"/>
                    </a:lnTo>
                    <a:lnTo>
                      <a:pt x="408" y="528"/>
                    </a:lnTo>
                    <a:lnTo>
                      <a:pt x="408" y="534"/>
                    </a:lnTo>
                    <a:lnTo>
                      <a:pt x="402" y="534"/>
                    </a:lnTo>
                    <a:lnTo>
                      <a:pt x="402" y="528"/>
                    </a:lnTo>
                    <a:lnTo>
                      <a:pt x="396" y="528"/>
                    </a:lnTo>
                    <a:lnTo>
                      <a:pt x="390" y="528"/>
                    </a:lnTo>
                    <a:lnTo>
                      <a:pt x="384" y="522"/>
                    </a:lnTo>
                    <a:lnTo>
                      <a:pt x="384" y="528"/>
                    </a:lnTo>
                    <a:lnTo>
                      <a:pt x="378" y="528"/>
                    </a:lnTo>
                    <a:lnTo>
                      <a:pt x="372" y="522"/>
                    </a:lnTo>
                    <a:lnTo>
                      <a:pt x="372" y="528"/>
                    </a:lnTo>
                    <a:lnTo>
                      <a:pt x="366" y="528"/>
                    </a:lnTo>
                    <a:lnTo>
                      <a:pt x="366" y="534"/>
                    </a:lnTo>
                    <a:lnTo>
                      <a:pt x="360" y="534"/>
                    </a:lnTo>
                    <a:lnTo>
                      <a:pt x="360" y="528"/>
                    </a:lnTo>
                    <a:lnTo>
                      <a:pt x="354" y="528"/>
                    </a:lnTo>
                    <a:lnTo>
                      <a:pt x="348" y="528"/>
                    </a:lnTo>
                    <a:lnTo>
                      <a:pt x="348" y="534"/>
                    </a:lnTo>
                    <a:lnTo>
                      <a:pt x="348" y="528"/>
                    </a:lnTo>
                    <a:lnTo>
                      <a:pt x="342" y="534"/>
                    </a:lnTo>
                    <a:lnTo>
                      <a:pt x="342" y="528"/>
                    </a:lnTo>
                    <a:lnTo>
                      <a:pt x="342" y="522"/>
                    </a:lnTo>
                    <a:lnTo>
                      <a:pt x="336" y="522"/>
                    </a:lnTo>
                    <a:lnTo>
                      <a:pt x="330" y="522"/>
                    </a:lnTo>
                    <a:lnTo>
                      <a:pt x="330" y="516"/>
                    </a:lnTo>
                    <a:lnTo>
                      <a:pt x="324" y="516"/>
                    </a:lnTo>
                    <a:lnTo>
                      <a:pt x="324" y="522"/>
                    </a:lnTo>
                    <a:lnTo>
                      <a:pt x="318" y="522"/>
                    </a:lnTo>
                    <a:lnTo>
                      <a:pt x="318" y="528"/>
                    </a:lnTo>
                    <a:lnTo>
                      <a:pt x="318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12" y="528"/>
                    </a:lnTo>
                    <a:lnTo>
                      <a:pt x="312" y="522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6" y="528"/>
                    </a:lnTo>
                    <a:lnTo>
                      <a:pt x="306" y="522"/>
                    </a:lnTo>
                    <a:lnTo>
                      <a:pt x="300" y="522"/>
                    </a:lnTo>
                    <a:lnTo>
                      <a:pt x="282" y="522"/>
                    </a:lnTo>
                    <a:lnTo>
                      <a:pt x="282" y="516"/>
                    </a:lnTo>
                    <a:lnTo>
                      <a:pt x="276" y="516"/>
                    </a:lnTo>
                    <a:lnTo>
                      <a:pt x="276" y="510"/>
                    </a:lnTo>
                    <a:lnTo>
                      <a:pt x="270" y="510"/>
                    </a:lnTo>
                    <a:lnTo>
                      <a:pt x="270" y="504"/>
                    </a:lnTo>
                    <a:lnTo>
                      <a:pt x="264" y="504"/>
                    </a:lnTo>
                    <a:lnTo>
                      <a:pt x="264" y="498"/>
                    </a:lnTo>
                    <a:lnTo>
                      <a:pt x="264" y="492"/>
                    </a:lnTo>
                    <a:lnTo>
                      <a:pt x="264" y="486"/>
                    </a:lnTo>
                    <a:lnTo>
                      <a:pt x="264" y="480"/>
                    </a:lnTo>
                    <a:lnTo>
                      <a:pt x="264" y="474"/>
                    </a:lnTo>
                    <a:lnTo>
                      <a:pt x="264" y="468"/>
                    </a:lnTo>
                    <a:lnTo>
                      <a:pt x="264" y="462"/>
                    </a:lnTo>
                    <a:lnTo>
                      <a:pt x="264" y="456"/>
                    </a:lnTo>
                    <a:lnTo>
                      <a:pt x="258" y="450"/>
                    </a:lnTo>
                    <a:lnTo>
                      <a:pt x="264" y="450"/>
                    </a:lnTo>
                    <a:lnTo>
                      <a:pt x="258" y="444"/>
                    </a:lnTo>
                    <a:lnTo>
                      <a:pt x="252" y="438"/>
                    </a:lnTo>
                    <a:lnTo>
                      <a:pt x="252" y="432"/>
                    </a:lnTo>
                    <a:lnTo>
                      <a:pt x="246" y="432"/>
                    </a:lnTo>
                    <a:lnTo>
                      <a:pt x="246" y="426"/>
                    </a:lnTo>
                    <a:lnTo>
                      <a:pt x="240" y="426"/>
                    </a:lnTo>
                    <a:lnTo>
                      <a:pt x="240" y="420"/>
                    </a:lnTo>
                    <a:lnTo>
                      <a:pt x="234" y="420"/>
                    </a:lnTo>
                    <a:lnTo>
                      <a:pt x="234" y="426"/>
                    </a:lnTo>
                    <a:lnTo>
                      <a:pt x="234" y="432"/>
                    </a:lnTo>
                    <a:lnTo>
                      <a:pt x="228" y="432"/>
                    </a:lnTo>
                    <a:lnTo>
                      <a:pt x="228" y="426"/>
                    </a:lnTo>
                    <a:lnTo>
                      <a:pt x="222" y="426"/>
                    </a:lnTo>
                    <a:lnTo>
                      <a:pt x="216" y="426"/>
                    </a:lnTo>
                    <a:lnTo>
                      <a:pt x="210" y="426"/>
                    </a:lnTo>
                    <a:lnTo>
                      <a:pt x="204" y="426"/>
                    </a:lnTo>
                    <a:lnTo>
                      <a:pt x="204" y="420"/>
                    </a:lnTo>
                    <a:lnTo>
                      <a:pt x="198" y="420"/>
                    </a:lnTo>
                    <a:lnTo>
                      <a:pt x="192" y="420"/>
                    </a:lnTo>
                    <a:lnTo>
                      <a:pt x="186" y="420"/>
                    </a:lnTo>
                    <a:lnTo>
                      <a:pt x="186" y="414"/>
                    </a:lnTo>
                    <a:lnTo>
                      <a:pt x="180" y="414"/>
                    </a:lnTo>
                    <a:lnTo>
                      <a:pt x="174" y="414"/>
                    </a:lnTo>
                    <a:lnTo>
                      <a:pt x="174" y="408"/>
                    </a:lnTo>
                    <a:lnTo>
                      <a:pt x="168" y="408"/>
                    </a:lnTo>
                    <a:lnTo>
                      <a:pt x="162" y="408"/>
                    </a:lnTo>
                    <a:lnTo>
                      <a:pt x="162" y="402"/>
                    </a:lnTo>
                    <a:lnTo>
                      <a:pt x="156" y="402"/>
                    </a:lnTo>
                    <a:lnTo>
                      <a:pt x="150" y="402"/>
                    </a:lnTo>
                    <a:lnTo>
                      <a:pt x="144" y="402"/>
                    </a:lnTo>
                    <a:lnTo>
                      <a:pt x="138" y="402"/>
                    </a:lnTo>
                    <a:lnTo>
                      <a:pt x="132" y="402"/>
                    </a:lnTo>
                    <a:lnTo>
                      <a:pt x="132" y="396"/>
                    </a:lnTo>
                    <a:lnTo>
                      <a:pt x="132" y="390"/>
                    </a:lnTo>
                    <a:lnTo>
                      <a:pt x="126" y="390"/>
                    </a:lnTo>
                    <a:lnTo>
                      <a:pt x="120" y="390"/>
                    </a:lnTo>
                    <a:lnTo>
                      <a:pt x="114" y="390"/>
                    </a:lnTo>
                    <a:lnTo>
                      <a:pt x="114" y="384"/>
                    </a:lnTo>
                    <a:lnTo>
                      <a:pt x="114" y="378"/>
                    </a:lnTo>
                    <a:lnTo>
                      <a:pt x="108" y="378"/>
                    </a:lnTo>
                    <a:lnTo>
                      <a:pt x="102" y="378"/>
                    </a:lnTo>
                    <a:lnTo>
                      <a:pt x="96" y="378"/>
                    </a:lnTo>
                    <a:lnTo>
                      <a:pt x="90" y="378"/>
                    </a:lnTo>
                    <a:lnTo>
                      <a:pt x="84" y="378"/>
                    </a:lnTo>
                    <a:lnTo>
                      <a:pt x="78" y="366"/>
                    </a:lnTo>
                    <a:lnTo>
                      <a:pt x="78" y="360"/>
                    </a:lnTo>
                    <a:lnTo>
                      <a:pt x="72" y="360"/>
                    </a:lnTo>
                    <a:lnTo>
                      <a:pt x="72" y="354"/>
                    </a:lnTo>
                    <a:lnTo>
                      <a:pt x="72" y="348"/>
                    </a:lnTo>
                    <a:lnTo>
                      <a:pt x="66" y="348"/>
                    </a:lnTo>
                    <a:lnTo>
                      <a:pt x="66" y="342"/>
                    </a:lnTo>
                    <a:lnTo>
                      <a:pt x="60" y="330"/>
                    </a:lnTo>
                    <a:lnTo>
                      <a:pt x="54" y="318"/>
                    </a:lnTo>
                    <a:lnTo>
                      <a:pt x="54" y="312"/>
                    </a:lnTo>
                    <a:lnTo>
                      <a:pt x="48" y="300"/>
                    </a:lnTo>
                    <a:lnTo>
                      <a:pt x="42" y="294"/>
                    </a:lnTo>
                    <a:lnTo>
                      <a:pt x="42" y="288"/>
                    </a:lnTo>
                    <a:lnTo>
                      <a:pt x="30" y="282"/>
                    </a:lnTo>
                    <a:lnTo>
                      <a:pt x="24" y="276"/>
                    </a:lnTo>
                    <a:lnTo>
                      <a:pt x="18" y="270"/>
                    </a:lnTo>
                    <a:lnTo>
                      <a:pt x="18" y="264"/>
                    </a:lnTo>
                    <a:lnTo>
                      <a:pt x="18" y="258"/>
                    </a:lnTo>
                    <a:lnTo>
                      <a:pt x="12" y="252"/>
                    </a:lnTo>
                    <a:lnTo>
                      <a:pt x="12" y="246"/>
                    </a:lnTo>
                    <a:lnTo>
                      <a:pt x="18" y="240"/>
                    </a:lnTo>
                    <a:lnTo>
                      <a:pt x="18" y="234"/>
                    </a:lnTo>
                    <a:lnTo>
                      <a:pt x="18" y="228"/>
                    </a:lnTo>
                    <a:lnTo>
                      <a:pt x="12" y="228"/>
                    </a:lnTo>
                    <a:lnTo>
                      <a:pt x="12" y="216"/>
                    </a:lnTo>
                    <a:lnTo>
                      <a:pt x="6" y="210"/>
                    </a:lnTo>
                    <a:lnTo>
                      <a:pt x="6" y="204"/>
                    </a:lnTo>
                    <a:lnTo>
                      <a:pt x="6" y="198"/>
                    </a:lnTo>
                    <a:lnTo>
                      <a:pt x="0" y="192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6" y="174"/>
                    </a:lnTo>
                    <a:lnTo>
                      <a:pt x="6" y="168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40" name="Freeform 73"/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3728" y="2687"/>
                <a:ext cx="15" cy="15"/>
              </a:xfrm>
              <a:custGeom>
                <a:avLst/>
                <a:gdLst>
                  <a:gd name="T0" fmla="*/ 6 w 18"/>
                  <a:gd name="T1" fmla="*/ 3 h 18"/>
                  <a:gd name="T2" fmla="*/ 9 w 18"/>
                  <a:gd name="T3" fmla="*/ 3 h 18"/>
                  <a:gd name="T4" fmla="*/ 6 w 18"/>
                  <a:gd name="T5" fmla="*/ 3 h 18"/>
                  <a:gd name="T6" fmla="*/ 9 w 18"/>
                  <a:gd name="T7" fmla="*/ 0 h 18"/>
                  <a:gd name="T8" fmla="*/ 9 w 18"/>
                  <a:gd name="T9" fmla="*/ 3 h 18"/>
                  <a:gd name="T10" fmla="*/ 6 w 18"/>
                  <a:gd name="T11" fmla="*/ 6 h 18"/>
                  <a:gd name="T12" fmla="*/ 9 w 18"/>
                  <a:gd name="T13" fmla="*/ 6 h 18"/>
                  <a:gd name="T14" fmla="*/ 6 w 18"/>
                  <a:gd name="T15" fmla="*/ 6 h 18"/>
                  <a:gd name="T16" fmla="*/ 3 w 18"/>
                  <a:gd name="T17" fmla="*/ 6 h 18"/>
                  <a:gd name="T18" fmla="*/ 6 w 18"/>
                  <a:gd name="T19" fmla="*/ 9 h 18"/>
                  <a:gd name="T20" fmla="*/ 3 w 18"/>
                  <a:gd name="T21" fmla="*/ 9 h 18"/>
                  <a:gd name="T22" fmla="*/ 0 w 18"/>
                  <a:gd name="T23" fmla="*/ 6 h 18"/>
                  <a:gd name="T24" fmla="*/ 3 w 18"/>
                  <a:gd name="T25" fmla="*/ 6 h 18"/>
                  <a:gd name="T26" fmla="*/ 3 w 18"/>
                  <a:gd name="T27" fmla="*/ 3 h 18"/>
                  <a:gd name="T28" fmla="*/ 3 w 18"/>
                  <a:gd name="T29" fmla="*/ 6 h 18"/>
                  <a:gd name="T30" fmla="*/ 3 w 18"/>
                  <a:gd name="T31" fmla="*/ 3 h 18"/>
                  <a:gd name="T32" fmla="*/ 6 w 18"/>
                  <a:gd name="T33" fmla="*/ 3 h 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8" h="18">
                    <a:moveTo>
                      <a:pt x="12" y="6"/>
                    </a:moveTo>
                    <a:lnTo>
                      <a:pt x="18" y="6"/>
                    </a:lnTo>
                    <a:lnTo>
                      <a:pt x="12" y="6"/>
                    </a:lnTo>
                    <a:lnTo>
                      <a:pt x="18" y="0"/>
                    </a:lnTo>
                    <a:lnTo>
                      <a:pt x="18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12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41" name="Freeform 74"/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733" y="2570"/>
                <a:ext cx="10" cy="25"/>
              </a:xfrm>
              <a:custGeom>
                <a:avLst/>
                <a:gdLst>
                  <a:gd name="T0" fmla="*/ 6 w 12"/>
                  <a:gd name="T1" fmla="*/ 3 h 30"/>
                  <a:gd name="T2" fmla="*/ 3 w 12"/>
                  <a:gd name="T3" fmla="*/ 3 h 30"/>
                  <a:gd name="T4" fmla="*/ 3 w 12"/>
                  <a:gd name="T5" fmla="*/ 6 h 30"/>
                  <a:gd name="T6" fmla="*/ 6 w 12"/>
                  <a:gd name="T7" fmla="*/ 6 h 30"/>
                  <a:gd name="T8" fmla="*/ 6 w 12"/>
                  <a:gd name="T9" fmla="*/ 9 h 30"/>
                  <a:gd name="T10" fmla="*/ 3 w 12"/>
                  <a:gd name="T11" fmla="*/ 9 h 30"/>
                  <a:gd name="T12" fmla="*/ 3 w 12"/>
                  <a:gd name="T13" fmla="*/ 12 h 30"/>
                  <a:gd name="T14" fmla="*/ 3 w 12"/>
                  <a:gd name="T15" fmla="*/ 15 h 30"/>
                  <a:gd name="T16" fmla="*/ 3 w 12"/>
                  <a:gd name="T17" fmla="*/ 12 h 30"/>
                  <a:gd name="T18" fmla="*/ 0 w 12"/>
                  <a:gd name="T19" fmla="*/ 12 h 30"/>
                  <a:gd name="T20" fmla="*/ 0 w 12"/>
                  <a:gd name="T21" fmla="*/ 15 h 30"/>
                  <a:gd name="T22" fmla="*/ 0 w 12"/>
                  <a:gd name="T23" fmla="*/ 12 h 30"/>
                  <a:gd name="T24" fmla="*/ 0 w 12"/>
                  <a:gd name="T25" fmla="*/ 15 h 30"/>
                  <a:gd name="T26" fmla="*/ 0 w 12"/>
                  <a:gd name="T27" fmla="*/ 12 h 30"/>
                  <a:gd name="T28" fmla="*/ 0 w 12"/>
                  <a:gd name="T29" fmla="*/ 9 h 30"/>
                  <a:gd name="T30" fmla="*/ 0 w 12"/>
                  <a:gd name="T31" fmla="*/ 12 h 30"/>
                  <a:gd name="T32" fmla="*/ 0 w 12"/>
                  <a:gd name="T33" fmla="*/ 9 h 30"/>
                  <a:gd name="T34" fmla="*/ 3 w 12"/>
                  <a:gd name="T35" fmla="*/ 9 h 30"/>
                  <a:gd name="T36" fmla="*/ 0 w 12"/>
                  <a:gd name="T37" fmla="*/ 9 h 30"/>
                  <a:gd name="T38" fmla="*/ 3 w 12"/>
                  <a:gd name="T39" fmla="*/ 9 h 30"/>
                  <a:gd name="T40" fmla="*/ 3 w 12"/>
                  <a:gd name="T41" fmla="*/ 6 h 30"/>
                  <a:gd name="T42" fmla="*/ 0 w 12"/>
                  <a:gd name="T43" fmla="*/ 6 h 30"/>
                  <a:gd name="T44" fmla="*/ 3 w 12"/>
                  <a:gd name="T45" fmla="*/ 6 h 30"/>
                  <a:gd name="T46" fmla="*/ 0 w 12"/>
                  <a:gd name="T47" fmla="*/ 6 h 30"/>
                  <a:gd name="T48" fmla="*/ 0 w 12"/>
                  <a:gd name="T49" fmla="*/ 3 h 30"/>
                  <a:gd name="T50" fmla="*/ 0 w 12"/>
                  <a:gd name="T51" fmla="*/ 0 h 30"/>
                  <a:gd name="T52" fmla="*/ 3 w 12"/>
                  <a:gd name="T53" fmla="*/ 0 h 30"/>
                  <a:gd name="T54" fmla="*/ 3 w 12"/>
                  <a:gd name="T55" fmla="*/ 3 h 30"/>
                  <a:gd name="T56" fmla="*/ 3 w 12"/>
                  <a:gd name="T57" fmla="*/ 0 h 30"/>
                  <a:gd name="T58" fmla="*/ 3 w 12"/>
                  <a:gd name="T59" fmla="*/ 3 h 30"/>
                  <a:gd name="T60" fmla="*/ 6 w 12"/>
                  <a:gd name="T61" fmla="*/ 3 h 30"/>
                  <a:gd name="T62" fmla="*/ 6 w 12"/>
                  <a:gd name="T63" fmla="*/ 0 h 30"/>
                  <a:gd name="T64" fmla="*/ 6 w 12"/>
                  <a:gd name="T65" fmla="*/ 3 h 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2" h="30">
                    <a:moveTo>
                      <a:pt x="12" y="6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0"/>
                    </a:lnTo>
                    <a:lnTo>
                      <a:pt x="12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42" name="Freeform 75"/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712" y="2606"/>
                <a:ext cx="16" cy="30"/>
              </a:xfrm>
              <a:custGeom>
                <a:avLst/>
                <a:gdLst>
                  <a:gd name="T0" fmla="*/ 0 w 18"/>
                  <a:gd name="T1" fmla="*/ 6 h 36"/>
                  <a:gd name="T2" fmla="*/ 0 w 18"/>
                  <a:gd name="T3" fmla="*/ 3 h 36"/>
                  <a:gd name="T4" fmla="*/ 4 w 18"/>
                  <a:gd name="T5" fmla="*/ 3 h 36"/>
                  <a:gd name="T6" fmla="*/ 4 w 18"/>
                  <a:gd name="T7" fmla="*/ 0 h 36"/>
                  <a:gd name="T8" fmla="*/ 4 w 18"/>
                  <a:gd name="T9" fmla="*/ 3 h 36"/>
                  <a:gd name="T10" fmla="*/ 8 w 18"/>
                  <a:gd name="T11" fmla="*/ 6 h 36"/>
                  <a:gd name="T12" fmla="*/ 8 w 18"/>
                  <a:gd name="T13" fmla="*/ 9 h 36"/>
                  <a:gd name="T14" fmla="*/ 8 w 18"/>
                  <a:gd name="T15" fmla="*/ 12 h 36"/>
                  <a:gd name="T16" fmla="*/ 11 w 18"/>
                  <a:gd name="T17" fmla="*/ 12 h 36"/>
                  <a:gd name="T18" fmla="*/ 11 w 18"/>
                  <a:gd name="T19" fmla="*/ 9 h 36"/>
                  <a:gd name="T20" fmla="*/ 11 w 18"/>
                  <a:gd name="T21" fmla="*/ 12 h 36"/>
                  <a:gd name="T22" fmla="*/ 11 w 18"/>
                  <a:gd name="T23" fmla="*/ 15 h 36"/>
                  <a:gd name="T24" fmla="*/ 11 w 18"/>
                  <a:gd name="T25" fmla="*/ 18 h 36"/>
                  <a:gd name="T26" fmla="*/ 8 w 18"/>
                  <a:gd name="T27" fmla="*/ 18 h 36"/>
                  <a:gd name="T28" fmla="*/ 8 w 18"/>
                  <a:gd name="T29" fmla="*/ 15 h 36"/>
                  <a:gd name="T30" fmla="*/ 4 w 18"/>
                  <a:gd name="T31" fmla="*/ 15 h 36"/>
                  <a:gd name="T32" fmla="*/ 4 w 18"/>
                  <a:gd name="T33" fmla="*/ 12 h 36"/>
                  <a:gd name="T34" fmla="*/ 4 w 18"/>
                  <a:gd name="T35" fmla="*/ 15 h 36"/>
                  <a:gd name="T36" fmla="*/ 0 w 18"/>
                  <a:gd name="T37" fmla="*/ 12 h 36"/>
                  <a:gd name="T38" fmla="*/ 0 w 18"/>
                  <a:gd name="T39" fmla="*/ 9 h 36"/>
                  <a:gd name="T40" fmla="*/ 0 w 18"/>
                  <a:gd name="T41" fmla="*/ 6 h 36"/>
                  <a:gd name="T42" fmla="*/ 0 w 18"/>
                  <a:gd name="T43" fmla="*/ 3 h 36"/>
                  <a:gd name="T44" fmla="*/ 0 w 18"/>
                  <a:gd name="T45" fmla="*/ 6 h 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8" h="36">
                    <a:moveTo>
                      <a:pt x="0" y="12"/>
                    </a:move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12" y="24"/>
                    </a:lnTo>
                    <a:lnTo>
                      <a:pt x="18" y="24"/>
                    </a:lnTo>
                    <a:lnTo>
                      <a:pt x="18" y="18"/>
                    </a:lnTo>
                    <a:lnTo>
                      <a:pt x="18" y="24"/>
                    </a:lnTo>
                    <a:lnTo>
                      <a:pt x="18" y="30"/>
                    </a:lnTo>
                    <a:lnTo>
                      <a:pt x="18" y="36"/>
                    </a:lnTo>
                    <a:lnTo>
                      <a:pt x="12" y="36"/>
                    </a:lnTo>
                    <a:lnTo>
                      <a:pt x="12" y="30"/>
                    </a:lnTo>
                    <a:lnTo>
                      <a:pt x="6" y="30"/>
                    </a:lnTo>
                    <a:lnTo>
                      <a:pt x="6" y="24"/>
                    </a:lnTo>
                    <a:lnTo>
                      <a:pt x="6" y="30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2617" name="Freeform 76"/>
            <p:cNvSpPr>
              <a:spLocks noChangeAspect="1"/>
            </p:cNvSpPr>
            <p:nvPr>
              <p:custDataLst>
                <p:tags r:id="rId51"/>
              </p:custDataLst>
            </p:nvPr>
          </p:nvSpPr>
          <p:spPr bwMode="auto">
            <a:xfrm>
              <a:off x="3279" y="2407"/>
              <a:ext cx="81" cy="76"/>
            </a:xfrm>
            <a:custGeom>
              <a:avLst/>
              <a:gdLst>
                <a:gd name="T0" fmla="*/ 21 w 96"/>
                <a:gd name="T1" fmla="*/ 9 h 90"/>
                <a:gd name="T2" fmla="*/ 25 w 96"/>
                <a:gd name="T3" fmla="*/ 6 h 90"/>
                <a:gd name="T4" fmla="*/ 25 w 96"/>
                <a:gd name="T5" fmla="*/ 12 h 90"/>
                <a:gd name="T6" fmla="*/ 28 w 96"/>
                <a:gd name="T7" fmla="*/ 9 h 90"/>
                <a:gd name="T8" fmla="*/ 30 w 96"/>
                <a:gd name="T9" fmla="*/ 6 h 90"/>
                <a:gd name="T10" fmla="*/ 34 w 96"/>
                <a:gd name="T11" fmla="*/ 3 h 90"/>
                <a:gd name="T12" fmla="*/ 36 w 96"/>
                <a:gd name="T13" fmla="*/ 0 h 90"/>
                <a:gd name="T14" fmla="*/ 40 w 96"/>
                <a:gd name="T15" fmla="*/ 3 h 90"/>
                <a:gd name="T16" fmla="*/ 43 w 96"/>
                <a:gd name="T17" fmla="*/ 6 h 90"/>
                <a:gd name="T18" fmla="*/ 46 w 96"/>
                <a:gd name="T19" fmla="*/ 9 h 90"/>
                <a:gd name="T20" fmla="*/ 48 w 96"/>
                <a:gd name="T21" fmla="*/ 15 h 90"/>
                <a:gd name="T22" fmla="*/ 48 w 96"/>
                <a:gd name="T23" fmla="*/ 21 h 90"/>
                <a:gd name="T24" fmla="*/ 46 w 96"/>
                <a:gd name="T25" fmla="*/ 25 h 90"/>
                <a:gd name="T26" fmla="*/ 48 w 96"/>
                <a:gd name="T27" fmla="*/ 28 h 90"/>
                <a:gd name="T28" fmla="*/ 48 w 96"/>
                <a:gd name="T29" fmla="*/ 34 h 90"/>
                <a:gd name="T30" fmla="*/ 43 w 96"/>
                <a:gd name="T31" fmla="*/ 37 h 90"/>
                <a:gd name="T32" fmla="*/ 43 w 96"/>
                <a:gd name="T33" fmla="*/ 37 h 90"/>
                <a:gd name="T34" fmla="*/ 40 w 96"/>
                <a:gd name="T35" fmla="*/ 34 h 90"/>
                <a:gd name="T36" fmla="*/ 34 w 96"/>
                <a:gd name="T37" fmla="*/ 34 h 90"/>
                <a:gd name="T38" fmla="*/ 28 w 96"/>
                <a:gd name="T39" fmla="*/ 34 h 90"/>
                <a:gd name="T40" fmla="*/ 25 w 96"/>
                <a:gd name="T41" fmla="*/ 37 h 90"/>
                <a:gd name="T42" fmla="*/ 25 w 96"/>
                <a:gd name="T43" fmla="*/ 43 h 90"/>
                <a:gd name="T44" fmla="*/ 21 w 96"/>
                <a:gd name="T45" fmla="*/ 46 h 90"/>
                <a:gd name="T46" fmla="*/ 21 w 96"/>
                <a:gd name="T47" fmla="*/ 46 h 90"/>
                <a:gd name="T48" fmla="*/ 15 w 96"/>
                <a:gd name="T49" fmla="*/ 46 h 90"/>
                <a:gd name="T50" fmla="*/ 9 w 96"/>
                <a:gd name="T51" fmla="*/ 43 h 90"/>
                <a:gd name="T52" fmla="*/ 9 w 96"/>
                <a:gd name="T53" fmla="*/ 43 h 90"/>
                <a:gd name="T54" fmla="*/ 6 w 96"/>
                <a:gd name="T55" fmla="*/ 40 h 90"/>
                <a:gd name="T56" fmla="*/ 3 w 96"/>
                <a:gd name="T57" fmla="*/ 43 h 90"/>
                <a:gd name="T58" fmla="*/ 0 w 96"/>
                <a:gd name="T59" fmla="*/ 40 h 90"/>
                <a:gd name="T60" fmla="*/ 0 w 96"/>
                <a:gd name="T61" fmla="*/ 34 h 90"/>
                <a:gd name="T62" fmla="*/ 3 w 96"/>
                <a:gd name="T63" fmla="*/ 30 h 90"/>
                <a:gd name="T64" fmla="*/ 6 w 96"/>
                <a:gd name="T65" fmla="*/ 28 h 90"/>
                <a:gd name="T66" fmla="*/ 6 w 96"/>
                <a:gd name="T67" fmla="*/ 21 h 90"/>
                <a:gd name="T68" fmla="*/ 9 w 96"/>
                <a:gd name="T69" fmla="*/ 18 h 90"/>
                <a:gd name="T70" fmla="*/ 9 w 96"/>
                <a:gd name="T71" fmla="*/ 12 h 90"/>
                <a:gd name="T72" fmla="*/ 15 w 96"/>
                <a:gd name="T73" fmla="*/ 12 h 90"/>
                <a:gd name="T74" fmla="*/ 18 w 96"/>
                <a:gd name="T75" fmla="*/ 9 h 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96" h="90">
                  <a:moveTo>
                    <a:pt x="36" y="18"/>
                  </a:moveTo>
                  <a:lnTo>
                    <a:pt x="42" y="18"/>
                  </a:lnTo>
                  <a:lnTo>
                    <a:pt x="42" y="12"/>
                  </a:lnTo>
                  <a:lnTo>
                    <a:pt x="48" y="12"/>
                  </a:lnTo>
                  <a:lnTo>
                    <a:pt x="48" y="18"/>
                  </a:lnTo>
                  <a:lnTo>
                    <a:pt x="48" y="24"/>
                  </a:lnTo>
                  <a:lnTo>
                    <a:pt x="54" y="24"/>
                  </a:lnTo>
                  <a:lnTo>
                    <a:pt x="54" y="18"/>
                  </a:lnTo>
                  <a:lnTo>
                    <a:pt x="60" y="18"/>
                  </a:lnTo>
                  <a:lnTo>
                    <a:pt x="60" y="12"/>
                  </a:lnTo>
                  <a:lnTo>
                    <a:pt x="66" y="12"/>
                  </a:lnTo>
                  <a:lnTo>
                    <a:pt x="66" y="6"/>
                  </a:lnTo>
                  <a:lnTo>
                    <a:pt x="72" y="6"/>
                  </a:lnTo>
                  <a:lnTo>
                    <a:pt x="72" y="0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8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90" y="18"/>
                  </a:lnTo>
                  <a:lnTo>
                    <a:pt x="90" y="24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48"/>
                  </a:lnTo>
                  <a:lnTo>
                    <a:pt x="96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84" y="72"/>
                  </a:lnTo>
                  <a:lnTo>
                    <a:pt x="84" y="66"/>
                  </a:lnTo>
                  <a:lnTo>
                    <a:pt x="78" y="66"/>
                  </a:lnTo>
                  <a:lnTo>
                    <a:pt x="72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54" y="66"/>
                  </a:lnTo>
                  <a:lnTo>
                    <a:pt x="54" y="72"/>
                  </a:lnTo>
                  <a:lnTo>
                    <a:pt x="48" y="72"/>
                  </a:lnTo>
                  <a:lnTo>
                    <a:pt x="48" y="78"/>
                  </a:lnTo>
                  <a:lnTo>
                    <a:pt x="48" y="84"/>
                  </a:lnTo>
                  <a:lnTo>
                    <a:pt x="48" y="90"/>
                  </a:lnTo>
                  <a:lnTo>
                    <a:pt x="42" y="90"/>
                  </a:lnTo>
                  <a:lnTo>
                    <a:pt x="42" y="84"/>
                  </a:lnTo>
                  <a:lnTo>
                    <a:pt x="42" y="90"/>
                  </a:lnTo>
                  <a:lnTo>
                    <a:pt x="36" y="90"/>
                  </a:lnTo>
                  <a:lnTo>
                    <a:pt x="30" y="90"/>
                  </a:lnTo>
                  <a:lnTo>
                    <a:pt x="24" y="90"/>
                  </a:lnTo>
                  <a:lnTo>
                    <a:pt x="18" y="84"/>
                  </a:lnTo>
                  <a:lnTo>
                    <a:pt x="24" y="84"/>
                  </a:lnTo>
                  <a:lnTo>
                    <a:pt x="18" y="84"/>
                  </a:lnTo>
                  <a:lnTo>
                    <a:pt x="18" y="78"/>
                  </a:lnTo>
                  <a:lnTo>
                    <a:pt x="12" y="78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0" y="84"/>
                  </a:lnTo>
                  <a:lnTo>
                    <a:pt x="0" y="78"/>
                  </a:lnTo>
                  <a:lnTo>
                    <a:pt x="0" y="72"/>
                  </a:lnTo>
                  <a:lnTo>
                    <a:pt x="0" y="66"/>
                  </a:lnTo>
                  <a:lnTo>
                    <a:pt x="6" y="66"/>
                  </a:lnTo>
                  <a:lnTo>
                    <a:pt x="6" y="60"/>
                  </a:lnTo>
                  <a:lnTo>
                    <a:pt x="12" y="60"/>
                  </a:lnTo>
                  <a:lnTo>
                    <a:pt x="12" y="54"/>
                  </a:lnTo>
                  <a:lnTo>
                    <a:pt x="12" y="48"/>
                  </a:lnTo>
                  <a:lnTo>
                    <a:pt x="12" y="42"/>
                  </a:lnTo>
                  <a:lnTo>
                    <a:pt x="12" y="36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30" y="24"/>
                  </a:lnTo>
                  <a:lnTo>
                    <a:pt x="30" y="18"/>
                  </a:lnTo>
                  <a:lnTo>
                    <a:pt x="36" y="18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18" name="Freeform 77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auto">
            <a:xfrm>
              <a:off x="4477" y="3207"/>
              <a:ext cx="21" cy="26"/>
            </a:xfrm>
            <a:custGeom>
              <a:avLst/>
              <a:gdLst>
                <a:gd name="T0" fmla="*/ 8 w 24"/>
                <a:gd name="T1" fmla="*/ 0 h 30"/>
                <a:gd name="T2" fmla="*/ 11 w 24"/>
                <a:gd name="T3" fmla="*/ 0 h 30"/>
                <a:gd name="T4" fmla="*/ 11 w 24"/>
                <a:gd name="T5" fmla="*/ 3 h 30"/>
                <a:gd name="T6" fmla="*/ 14 w 24"/>
                <a:gd name="T7" fmla="*/ 3 h 30"/>
                <a:gd name="T8" fmla="*/ 14 w 24"/>
                <a:gd name="T9" fmla="*/ 7 h 30"/>
                <a:gd name="T10" fmla="*/ 14 w 24"/>
                <a:gd name="T11" fmla="*/ 3 h 30"/>
                <a:gd name="T12" fmla="*/ 14 w 24"/>
                <a:gd name="T13" fmla="*/ 7 h 30"/>
                <a:gd name="T14" fmla="*/ 14 w 24"/>
                <a:gd name="T15" fmla="*/ 10 h 30"/>
                <a:gd name="T16" fmla="*/ 11 w 24"/>
                <a:gd name="T17" fmla="*/ 10 h 30"/>
                <a:gd name="T18" fmla="*/ 11 w 24"/>
                <a:gd name="T19" fmla="*/ 14 h 30"/>
                <a:gd name="T20" fmla="*/ 8 w 24"/>
                <a:gd name="T21" fmla="*/ 14 h 30"/>
                <a:gd name="T22" fmla="*/ 8 w 24"/>
                <a:gd name="T23" fmla="*/ 17 h 30"/>
                <a:gd name="T24" fmla="*/ 4 w 24"/>
                <a:gd name="T25" fmla="*/ 14 h 30"/>
                <a:gd name="T26" fmla="*/ 0 w 24"/>
                <a:gd name="T27" fmla="*/ 14 h 30"/>
                <a:gd name="T28" fmla="*/ 4 w 24"/>
                <a:gd name="T29" fmla="*/ 14 h 30"/>
                <a:gd name="T30" fmla="*/ 0 w 24"/>
                <a:gd name="T31" fmla="*/ 10 h 30"/>
                <a:gd name="T32" fmla="*/ 4 w 24"/>
                <a:gd name="T33" fmla="*/ 10 h 30"/>
                <a:gd name="T34" fmla="*/ 0 w 24"/>
                <a:gd name="T35" fmla="*/ 10 h 30"/>
                <a:gd name="T36" fmla="*/ 4 w 24"/>
                <a:gd name="T37" fmla="*/ 10 h 30"/>
                <a:gd name="T38" fmla="*/ 0 w 24"/>
                <a:gd name="T39" fmla="*/ 10 h 30"/>
                <a:gd name="T40" fmla="*/ 4 w 24"/>
                <a:gd name="T41" fmla="*/ 10 h 30"/>
                <a:gd name="T42" fmla="*/ 0 w 24"/>
                <a:gd name="T43" fmla="*/ 10 h 30"/>
                <a:gd name="T44" fmla="*/ 4 w 24"/>
                <a:gd name="T45" fmla="*/ 7 h 30"/>
                <a:gd name="T46" fmla="*/ 8 w 24"/>
                <a:gd name="T47" fmla="*/ 3 h 30"/>
                <a:gd name="T48" fmla="*/ 8 w 24"/>
                <a:gd name="T49" fmla="*/ 0 h 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4" h="30">
                  <a:moveTo>
                    <a:pt x="12" y="0"/>
                  </a:move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24" y="18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12" y="30"/>
                  </a:lnTo>
                  <a:lnTo>
                    <a:pt x="6" y="24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619" name="Freeform 78"/>
            <p:cNvSpPr>
              <a:spLocks noChangeAspect="1"/>
            </p:cNvSpPr>
            <p:nvPr>
              <p:custDataLst>
                <p:tags r:id="rId53"/>
              </p:custDataLst>
            </p:nvPr>
          </p:nvSpPr>
          <p:spPr bwMode="auto">
            <a:xfrm>
              <a:off x="4391" y="3243"/>
              <a:ext cx="25" cy="25"/>
            </a:xfrm>
            <a:custGeom>
              <a:avLst/>
              <a:gdLst>
                <a:gd name="T0" fmla="*/ 0 w 30"/>
                <a:gd name="T1" fmla="*/ 3 h 30"/>
                <a:gd name="T2" fmla="*/ 3 w 30"/>
                <a:gd name="T3" fmla="*/ 3 h 30"/>
                <a:gd name="T4" fmla="*/ 3 w 30"/>
                <a:gd name="T5" fmla="*/ 0 h 30"/>
                <a:gd name="T6" fmla="*/ 6 w 30"/>
                <a:gd name="T7" fmla="*/ 0 h 30"/>
                <a:gd name="T8" fmla="*/ 9 w 30"/>
                <a:gd name="T9" fmla="*/ 0 h 30"/>
                <a:gd name="T10" fmla="*/ 9 w 30"/>
                <a:gd name="T11" fmla="*/ 3 h 30"/>
                <a:gd name="T12" fmla="*/ 12 w 30"/>
                <a:gd name="T13" fmla="*/ 3 h 30"/>
                <a:gd name="T14" fmla="*/ 12 w 30"/>
                <a:gd name="T15" fmla="*/ 6 h 30"/>
                <a:gd name="T16" fmla="*/ 15 w 30"/>
                <a:gd name="T17" fmla="*/ 9 h 30"/>
                <a:gd name="T18" fmla="*/ 15 w 30"/>
                <a:gd name="T19" fmla="*/ 12 h 30"/>
                <a:gd name="T20" fmla="*/ 12 w 30"/>
                <a:gd name="T21" fmla="*/ 12 h 30"/>
                <a:gd name="T22" fmla="*/ 9 w 30"/>
                <a:gd name="T23" fmla="*/ 15 h 30"/>
                <a:gd name="T24" fmla="*/ 9 w 30"/>
                <a:gd name="T25" fmla="*/ 12 h 30"/>
                <a:gd name="T26" fmla="*/ 9 w 30"/>
                <a:gd name="T27" fmla="*/ 15 h 30"/>
                <a:gd name="T28" fmla="*/ 9 w 30"/>
                <a:gd name="T29" fmla="*/ 12 h 30"/>
                <a:gd name="T30" fmla="*/ 6 w 30"/>
                <a:gd name="T31" fmla="*/ 12 h 30"/>
                <a:gd name="T32" fmla="*/ 3 w 30"/>
                <a:gd name="T33" fmla="*/ 12 h 30"/>
                <a:gd name="T34" fmla="*/ 3 w 30"/>
                <a:gd name="T35" fmla="*/ 9 h 30"/>
                <a:gd name="T36" fmla="*/ 0 w 30"/>
                <a:gd name="T37" fmla="*/ 9 h 30"/>
                <a:gd name="T38" fmla="*/ 0 w 30"/>
                <a:gd name="T39" fmla="*/ 6 h 30"/>
                <a:gd name="T40" fmla="*/ 0 w 30"/>
                <a:gd name="T41" fmla="*/ 3 h 30"/>
                <a:gd name="T42" fmla="*/ 3 w 30"/>
                <a:gd name="T43" fmla="*/ 3 h 30"/>
                <a:gd name="T44" fmla="*/ 0 w 30"/>
                <a:gd name="T45" fmla="*/ 3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0" h="30">
                  <a:moveTo>
                    <a:pt x="0" y="6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18" y="6"/>
                  </a:lnTo>
                  <a:lnTo>
                    <a:pt x="24" y="6"/>
                  </a:lnTo>
                  <a:lnTo>
                    <a:pt x="24" y="12"/>
                  </a:lnTo>
                  <a:lnTo>
                    <a:pt x="30" y="18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8" y="30"/>
                  </a:lnTo>
                  <a:lnTo>
                    <a:pt x="18" y="24"/>
                  </a:lnTo>
                  <a:lnTo>
                    <a:pt x="12" y="24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6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2E2E2"/>
            </a:solidFill>
            <a:ln w="9525">
              <a:solidFill>
                <a:srgbClr val="B2B2B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2620" name="Group 79"/>
            <p:cNvGrpSpPr>
              <a:grpSpLocks/>
            </p:cNvGrpSpPr>
            <p:nvPr/>
          </p:nvGrpSpPr>
          <p:grpSpPr bwMode="auto">
            <a:xfrm>
              <a:off x="4396" y="2524"/>
              <a:ext cx="40" cy="143"/>
              <a:chOff x="4396" y="2524"/>
              <a:chExt cx="40" cy="143"/>
            </a:xfrm>
          </p:grpSpPr>
          <p:sp>
            <p:nvSpPr>
              <p:cNvPr id="22632" name="Freeform 80"/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396" y="2555"/>
                <a:ext cx="5" cy="10"/>
              </a:xfrm>
              <a:custGeom>
                <a:avLst/>
                <a:gdLst>
                  <a:gd name="T0" fmla="*/ 3 w 6"/>
                  <a:gd name="T1" fmla="*/ 6 h 12"/>
                  <a:gd name="T2" fmla="*/ 3 w 6"/>
                  <a:gd name="T3" fmla="*/ 3 h 12"/>
                  <a:gd name="T4" fmla="*/ 0 w 6"/>
                  <a:gd name="T5" fmla="*/ 3 h 12"/>
                  <a:gd name="T6" fmla="*/ 3 w 6"/>
                  <a:gd name="T7" fmla="*/ 0 h 12"/>
                  <a:gd name="T8" fmla="*/ 3 w 6"/>
                  <a:gd name="T9" fmla="*/ 3 h 12"/>
                  <a:gd name="T10" fmla="*/ 3 w 6"/>
                  <a:gd name="T11" fmla="*/ 6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6" y="12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12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33" name="Freeform 81"/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406" y="2524"/>
                <a:ext cx="5" cy="0"/>
              </a:xfrm>
              <a:custGeom>
                <a:avLst/>
                <a:gdLst>
                  <a:gd name="T0" fmla="*/ 0 w 6"/>
                  <a:gd name="T1" fmla="*/ 3 w 6"/>
                  <a:gd name="T2" fmla="*/ 0 w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34" name="Freeform 82"/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411" y="2544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35" name="Freeform 83"/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431" y="2662"/>
                <a:ext cx="5" cy="5"/>
              </a:xfrm>
              <a:custGeom>
                <a:avLst/>
                <a:gdLst>
                  <a:gd name="T0" fmla="*/ 0 w 6"/>
                  <a:gd name="T1" fmla="*/ 3 h 6"/>
                  <a:gd name="T2" fmla="*/ 0 w 6"/>
                  <a:gd name="T3" fmla="*/ 0 h 6"/>
                  <a:gd name="T4" fmla="*/ 3 w 6"/>
                  <a:gd name="T5" fmla="*/ 0 h 6"/>
                  <a:gd name="T6" fmla="*/ 0 w 6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36" name="Freeform 84"/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421" y="2555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37" name="Freeform 85"/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416" y="2544"/>
                <a:ext cx="5" cy="5"/>
              </a:xfrm>
              <a:custGeom>
                <a:avLst/>
                <a:gdLst>
                  <a:gd name="T0" fmla="*/ 0 w 6"/>
                  <a:gd name="T1" fmla="*/ 3 h 6"/>
                  <a:gd name="T2" fmla="*/ 0 w 6"/>
                  <a:gd name="T3" fmla="*/ 0 h 6"/>
                  <a:gd name="T4" fmla="*/ 3 w 6"/>
                  <a:gd name="T5" fmla="*/ 3 h 6"/>
                  <a:gd name="T6" fmla="*/ 0 w 6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38" name="Freeform 86"/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4416" y="2544"/>
                <a:ext cx="0" cy="5"/>
              </a:xfrm>
              <a:custGeom>
                <a:avLst/>
                <a:gdLst>
                  <a:gd name="T0" fmla="*/ 0 h 6"/>
                  <a:gd name="T1" fmla="*/ 3 h 6"/>
                  <a:gd name="T2" fmla="*/ 0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22621" name="Group 87"/>
            <p:cNvGrpSpPr>
              <a:grpSpLocks/>
            </p:cNvGrpSpPr>
            <p:nvPr>
              <p:custDataLst>
                <p:tags r:id="rId54"/>
              </p:custDataLst>
            </p:nvPr>
          </p:nvGrpSpPr>
          <p:grpSpPr bwMode="auto">
            <a:xfrm>
              <a:off x="989" y="1637"/>
              <a:ext cx="113" cy="102"/>
              <a:chOff x="989" y="1637"/>
              <a:chExt cx="113" cy="102"/>
            </a:xfrm>
          </p:grpSpPr>
          <p:sp>
            <p:nvSpPr>
              <p:cNvPr id="22622" name="Freeform 88"/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1056" y="1718"/>
                <a:ext cx="15" cy="16"/>
              </a:xfrm>
              <a:custGeom>
                <a:avLst/>
                <a:gdLst>
                  <a:gd name="T0" fmla="*/ 0 w 18"/>
                  <a:gd name="T1" fmla="*/ 8 h 18"/>
                  <a:gd name="T2" fmla="*/ 0 w 18"/>
                  <a:gd name="T3" fmla="*/ 4 h 18"/>
                  <a:gd name="T4" fmla="*/ 0 w 18"/>
                  <a:gd name="T5" fmla="*/ 0 h 18"/>
                  <a:gd name="T6" fmla="*/ 3 w 18"/>
                  <a:gd name="T7" fmla="*/ 0 h 18"/>
                  <a:gd name="T8" fmla="*/ 0 w 18"/>
                  <a:gd name="T9" fmla="*/ 0 h 18"/>
                  <a:gd name="T10" fmla="*/ 3 w 18"/>
                  <a:gd name="T11" fmla="*/ 0 h 18"/>
                  <a:gd name="T12" fmla="*/ 3 w 18"/>
                  <a:gd name="T13" fmla="*/ 4 h 18"/>
                  <a:gd name="T14" fmla="*/ 3 w 18"/>
                  <a:gd name="T15" fmla="*/ 0 h 18"/>
                  <a:gd name="T16" fmla="*/ 3 w 18"/>
                  <a:gd name="T17" fmla="*/ 4 h 18"/>
                  <a:gd name="T18" fmla="*/ 6 w 18"/>
                  <a:gd name="T19" fmla="*/ 4 h 18"/>
                  <a:gd name="T20" fmla="*/ 6 w 18"/>
                  <a:gd name="T21" fmla="*/ 8 h 18"/>
                  <a:gd name="T22" fmla="*/ 9 w 18"/>
                  <a:gd name="T23" fmla="*/ 8 h 18"/>
                  <a:gd name="T24" fmla="*/ 6 w 18"/>
                  <a:gd name="T25" fmla="*/ 8 h 18"/>
                  <a:gd name="T26" fmla="*/ 9 w 18"/>
                  <a:gd name="T27" fmla="*/ 8 h 18"/>
                  <a:gd name="T28" fmla="*/ 9 w 18"/>
                  <a:gd name="T29" fmla="*/ 11 h 18"/>
                  <a:gd name="T30" fmla="*/ 6 w 18"/>
                  <a:gd name="T31" fmla="*/ 8 h 18"/>
                  <a:gd name="T32" fmla="*/ 6 w 18"/>
                  <a:gd name="T33" fmla="*/ 11 h 18"/>
                  <a:gd name="T34" fmla="*/ 3 w 18"/>
                  <a:gd name="T35" fmla="*/ 11 h 18"/>
                  <a:gd name="T36" fmla="*/ 0 w 18"/>
                  <a:gd name="T37" fmla="*/ 11 h 18"/>
                  <a:gd name="T38" fmla="*/ 0 w 18"/>
                  <a:gd name="T39" fmla="*/ 8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8" h="18">
                    <a:moveTo>
                      <a:pt x="0" y="12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18"/>
                    </a:lnTo>
                    <a:lnTo>
                      <a:pt x="12" y="12"/>
                    </a:lnTo>
                    <a:lnTo>
                      <a:pt x="12" y="18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23" name="Freeform 89"/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1000" y="1647"/>
                <a:ext cx="10" cy="10"/>
              </a:xfrm>
              <a:custGeom>
                <a:avLst/>
                <a:gdLst>
                  <a:gd name="T0" fmla="*/ 3 w 12"/>
                  <a:gd name="T1" fmla="*/ 3 h 12"/>
                  <a:gd name="T2" fmla="*/ 3 w 12"/>
                  <a:gd name="T3" fmla="*/ 0 h 12"/>
                  <a:gd name="T4" fmla="*/ 3 w 12"/>
                  <a:gd name="T5" fmla="*/ 3 h 12"/>
                  <a:gd name="T6" fmla="*/ 3 w 12"/>
                  <a:gd name="T7" fmla="*/ 0 h 12"/>
                  <a:gd name="T8" fmla="*/ 3 w 12"/>
                  <a:gd name="T9" fmla="*/ 3 h 12"/>
                  <a:gd name="T10" fmla="*/ 6 w 12"/>
                  <a:gd name="T11" fmla="*/ 3 h 12"/>
                  <a:gd name="T12" fmla="*/ 3 w 12"/>
                  <a:gd name="T13" fmla="*/ 3 h 12"/>
                  <a:gd name="T14" fmla="*/ 3 w 12"/>
                  <a:gd name="T15" fmla="*/ 6 h 12"/>
                  <a:gd name="T16" fmla="*/ 0 w 12"/>
                  <a:gd name="T17" fmla="*/ 6 h 12"/>
                  <a:gd name="T18" fmla="*/ 0 w 12"/>
                  <a:gd name="T19" fmla="*/ 3 h 12"/>
                  <a:gd name="T20" fmla="*/ 3 w 12"/>
                  <a:gd name="T21" fmla="*/ 3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2" h="12">
                    <a:moveTo>
                      <a:pt x="6" y="6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24" name="Rectangle 90"/>
              <p:cNvSpPr>
                <a:spLocks noChangeAspect="1"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1076" y="1718"/>
                <a:ext cx="5" cy="5"/>
              </a:xfrm>
              <a:prstGeom prst="rect">
                <a:avLst/>
              </a:prstGeom>
              <a:solidFill>
                <a:srgbClr val="E2E2E2"/>
              </a:solidFill>
              <a:ln w="9525">
                <a:solidFill>
                  <a:srgbClr val="B2B2B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/>
                <a:endParaRPr lang="de-DE" sz="1400" b="1"/>
              </a:p>
            </p:txBody>
          </p:sp>
          <p:sp>
            <p:nvSpPr>
              <p:cNvPr id="22625" name="Freeform 91"/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010" y="1652"/>
                <a:ext cx="5" cy="5"/>
              </a:xfrm>
              <a:custGeom>
                <a:avLst/>
                <a:gdLst>
                  <a:gd name="T0" fmla="*/ 3 w 6"/>
                  <a:gd name="T1" fmla="*/ 3 h 6"/>
                  <a:gd name="T2" fmla="*/ 0 w 6"/>
                  <a:gd name="T3" fmla="*/ 3 h 6"/>
                  <a:gd name="T4" fmla="*/ 0 w 6"/>
                  <a:gd name="T5" fmla="*/ 0 h 6"/>
                  <a:gd name="T6" fmla="*/ 3 w 6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26" name="Freeform 92"/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989" y="1637"/>
                <a:ext cx="16" cy="15"/>
              </a:xfrm>
              <a:custGeom>
                <a:avLst/>
                <a:gdLst>
                  <a:gd name="T0" fmla="*/ 11 w 18"/>
                  <a:gd name="T1" fmla="*/ 3 h 18"/>
                  <a:gd name="T2" fmla="*/ 8 w 18"/>
                  <a:gd name="T3" fmla="*/ 6 h 18"/>
                  <a:gd name="T4" fmla="*/ 4 w 18"/>
                  <a:gd name="T5" fmla="*/ 6 h 18"/>
                  <a:gd name="T6" fmla="*/ 4 w 18"/>
                  <a:gd name="T7" fmla="*/ 9 h 18"/>
                  <a:gd name="T8" fmla="*/ 4 w 18"/>
                  <a:gd name="T9" fmla="*/ 6 h 18"/>
                  <a:gd name="T10" fmla="*/ 4 w 18"/>
                  <a:gd name="T11" fmla="*/ 9 h 18"/>
                  <a:gd name="T12" fmla="*/ 4 w 18"/>
                  <a:gd name="T13" fmla="*/ 6 h 18"/>
                  <a:gd name="T14" fmla="*/ 0 w 18"/>
                  <a:gd name="T15" fmla="*/ 9 h 18"/>
                  <a:gd name="T16" fmla="*/ 0 w 18"/>
                  <a:gd name="T17" fmla="*/ 6 h 18"/>
                  <a:gd name="T18" fmla="*/ 0 w 18"/>
                  <a:gd name="T19" fmla="*/ 3 h 18"/>
                  <a:gd name="T20" fmla="*/ 4 w 18"/>
                  <a:gd name="T21" fmla="*/ 3 h 18"/>
                  <a:gd name="T22" fmla="*/ 4 w 18"/>
                  <a:gd name="T23" fmla="*/ 0 h 18"/>
                  <a:gd name="T24" fmla="*/ 8 w 18"/>
                  <a:gd name="T25" fmla="*/ 0 h 18"/>
                  <a:gd name="T26" fmla="*/ 8 w 18"/>
                  <a:gd name="T27" fmla="*/ 3 h 18"/>
                  <a:gd name="T28" fmla="*/ 11 w 18"/>
                  <a:gd name="T29" fmla="*/ 3 h 1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8" h="18">
                    <a:moveTo>
                      <a:pt x="18" y="6"/>
                    </a:moveTo>
                    <a:lnTo>
                      <a:pt x="12" y="12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6" y="18"/>
                    </a:lnTo>
                    <a:lnTo>
                      <a:pt x="6" y="12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18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27" name="Freeform 93"/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015" y="1734"/>
                <a:ext cx="0" cy="5"/>
              </a:xfrm>
              <a:custGeom>
                <a:avLst/>
                <a:gdLst>
                  <a:gd name="T0" fmla="*/ 3 h 6"/>
                  <a:gd name="T1" fmla="*/ 0 h 6"/>
                  <a:gd name="T2" fmla="*/ 3 h 6"/>
                  <a:gd name="T3" fmla="*/ 0 60000 65536"/>
                  <a:gd name="T4" fmla="*/ 0 60000 65536"/>
                  <a:gd name="T5" fmla="*/ 0 60000 65536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28" name="Freeform 94"/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025" y="1657"/>
                <a:ext cx="20" cy="10"/>
              </a:xfrm>
              <a:custGeom>
                <a:avLst/>
                <a:gdLst>
                  <a:gd name="T0" fmla="*/ 3 w 24"/>
                  <a:gd name="T1" fmla="*/ 3 h 12"/>
                  <a:gd name="T2" fmla="*/ 6 w 24"/>
                  <a:gd name="T3" fmla="*/ 3 h 12"/>
                  <a:gd name="T4" fmla="*/ 9 w 24"/>
                  <a:gd name="T5" fmla="*/ 3 h 12"/>
                  <a:gd name="T6" fmla="*/ 12 w 24"/>
                  <a:gd name="T7" fmla="*/ 3 h 12"/>
                  <a:gd name="T8" fmla="*/ 12 w 24"/>
                  <a:gd name="T9" fmla="*/ 6 h 12"/>
                  <a:gd name="T10" fmla="*/ 9 w 24"/>
                  <a:gd name="T11" fmla="*/ 3 h 12"/>
                  <a:gd name="T12" fmla="*/ 9 w 24"/>
                  <a:gd name="T13" fmla="*/ 6 h 12"/>
                  <a:gd name="T14" fmla="*/ 9 w 24"/>
                  <a:gd name="T15" fmla="*/ 3 h 12"/>
                  <a:gd name="T16" fmla="*/ 6 w 24"/>
                  <a:gd name="T17" fmla="*/ 3 h 12"/>
                  <a:gd name="T18" fmla="*/ 6 w 24"/>
                  <a:gd name="T19" fmla="*/ 6 h 12"/>
                  <a:gd name="T20" fmla="*/ 3 w 24"/>
                  <a:gd name="T21" fmla="*/ 6 h 12"/>
                  <a:gd name="T22" fmla="*/ 3 w 24"/>
                  <a:gd name="T23" fmla="*/ 3 h 12"/>
                  <a:gd name="T24" fmla="*/ 0 w 24"/>
                  <a:gd name="T25" fmla="*/ 3 h 12"/>
                  <a:gd name="T26" fmla="*/ 3 w 24"/>
                  <a:gd name="T27" fmla="*/ 3 h 12"/>
                  <a:gd name="T28" fmla="*/ 3 w 24"/>
                  <a:gd name="T29" fmla="*/ 0 h 12"/>
                  <a:gd name="T30" fmla="*/ 3 w 24"/>
                  <a:gd name="T31" fmla="*/ 3 h 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4" h="12">
                    <a:moveTo>
                      <a:pt x="6" y="6"/>
                    </a:moveTo>
                    <a:lnTo>
                      <a:pt x="12" y="6"/>
                    </a:lnTo>
                    <a:lnTo>
                      <a:pt x="18" y="6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18" y="6"/>
                    </a:lnTo>
                    <a:lnTo>
                      <a:pt x="18" y="12"/>
                    </a:lnTo>
                    <a:lnTo>
                      <a:pt x="18" y="6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6" y="6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29" name="Freeform 95"/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1086" y="1652"/>
                <a:ext cx="5" cy="10"/>
              </a:xfrm>
              <a:custGeom>
                <a:avLst/>
                <a:gdLst>
                  <a:gd name="T0" fmla="*/ 3 w 6"/>
                  <a:gd name="T1" fmla="*/ 0 h 12"/>
                  <a:gd name="T2" fmla="*/ 3 w 6"/>
                  <a:gd name="T3" fmla="*/ 3 h 12"/>
                  <a:gd name="T4" fmla="*/ 3 w 6"/>
                  <a:gd name="T5" fmla="*/ 6 h 12"/>
                  <a:gd name="T6" fmla="*/ 3 w 6"/>
                  <a:gd name="T7" fmla="*/ 3 h 12"/>
                  <a:gd name="T8" fmla="*/ 0 w 6"/>
                  <a:gd name="T9" fmla="*/ 3 h 12"/>
                  <a:gd name="T10" fmla="*/ 0 w 6"/>
                  <a:gd name="T11" fmla="*/ 0 h 12"/>
                  <a:gd name="T12" fmla="*/ 3 w 6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12">
                    <a:moveTo>
                      <a:pt x="6" y="0"/>
                    </a:moveTo>
                    <a:lnTo>
                      <a:pt x="6" y="6"/>
                    </a:lnTo>
                    <a:lnTo>
                      <a:pt x="6" y="12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30" name="Freeform 96"/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1025" y="1728"/>
                <a:ext cx="10" cy="11"/>
              </a:xfrm>
              <a:custGeom>
                <a:avLst/>
                <a:gdLst>
                  <a:gd name="T0" fmla="*/ 0 w 12"/>
                  <a:gd name="T1" fmla="*/ 0 h 12"/>
                  <a:gd name="T2" fmla="*/ 3 w 12"/>
                  <a:gd name="T3" fmla="*/ 0 h 12"/>
                  <a:gd name="T4" fmla="*/ 3 w 12"/>
                  <a:gd name="T5" fmla="*/ 6 h 12"/>
                  <a:gd name="T6" fmla="*/ 6 w 12"/>
                  <a:gd name="T7" fmla="*/ 6 h 12"/>
                  <a:gd name="T8" fmla="*/ 3 w 12"/>
                  <a:gd name="T9" fmla="*/ 8 h 12"/>
                  <a:gd name="T10" fmla="*/ 0 w 12"/>
                  <a:gd name="T11" fmla="*/ 8 h 12"/>
                  <a:gd name="T12" fmla="*/ 0 w 12"/>
                  <a:gd name="T13" fmla="*/ 6 h 12"/>
                  <a:gd name="T14" fmla="*/ 0 w 12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0" y="0"/>
                    </a:moveTo>
                    <a:lnTo>
                      <a:pt x="6" y="0"/>
                    </a:lnTo>
                    <a:lnTo>
                      <a:pt x="6" y="6"/>
                    </a:lnTo>
                    <a:lnTo>
                      <a:pt x="12" y="6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31" name="Freeform 97"/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1091" y="1677"/>
                <a:ext cx="11" cy="11"/>
              </a:xfrm>
              <a:custGeom>
                <a:avLst/>
                <a:gdLst>
                  <a:gd name="T0" fmla="*/ 6 w 12"/>
                  <a:gd name="T1" fmla="*/ 0 h 12"/>
                  <a:gd name="T2" fmla="*/ 8 w 12"/>
                  <a:gd name="T3" fmla="*/ 0 h 12"/>
                  <a:gd name="T4" fmla="*/ 8 w 12"/>
                  <a:gd name="T5" fmla="*/ 6 h 12"/>
                  <a:gd name="T6" fmla="*/ 8 w 12"/>
                  <a:gd name="T7" fmla="*/ 8 h 12"/>
                  <a:gd name="T8" fmla="*/ 6 w 12"/>
                  <a:gd name="T9" fmla="*/ 8 h 12"/>
                  <a:gd name="T10" fmla="*/ 0 w 12"/>
                  <a:gd name="T11" fmla="*/ 8 h 12"/>
                  <a:gd name="T12" fmla="*/ 0 w 12"/>
                  <a:gd name="T13" fmla="*/ 6 h 12"/>
                  <a:gd name="T14" fmla="*/ 0 w 12"/>
                  <a:gd name="T15" fmla="*/ 0 h 12"/>
                  <a:gd name="T16" fmla="*/ 6 w 12"/>
                  <a:gd name="T17" fmla="*/ 0 h 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2" h="12">
                    <a:moveTo>
                      <a:pt x="6" y="0"/>
                    </a:moveTo>
                    <a:lnTo>
                      <a:pt x="12" y="0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E2E2E2"/>
              </a:solidFill>
              <a:ln w="9525">
                <a:solidFill>
                  <a:srgbClr val="B2B2B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</p:grpSp>
      <p:grpSp>
        <p:nvGrpSpPr>
          <p:cNvPr id="22546" name="Group 98"/>
          <p:cNvGrpSpPr>
            <a:grpSpLocks/>
          </p:cNvGrpSpPr>
          <p:nvPr/>
        </p:nvGrpSpPr>
        <p:grpSpPr bwMode="auto">
          <a:xfrm>
            <a:off x="1446213" y="4724400"/>
            <a:ext cx="6229350" cy="749300"/>
            <a:chOff x="408" y="3328"/>
            <a:chExt cx="4055" cy="488"/>
          </a:xfrm>
        </p:grpSpPr>
        <p:pic>
          <p:nvPicPr>
            <p:cNvPr id="22559" name="Picture 10" descr="http://tbn0.google.com/images?q=tbn:K2wc1ALh_fXJrM:http://gwethguy.files.wordpress.com/2008/03/cemac-logo.jpg">
              <a:hlinkClick r:id="rId85"/>
            </p:cNvPr>
            <p:cNvPicPr>
              <a:picLocks noChangeAspect="1" noChangeArrowheads="1"/>
            </p:cNvPicPr>
            <p:nvPr/>
          </p:nvPicPr>
          <p:blipFill>
            <a:blip r:embed="rId8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6" y="3357"/>
              <a:ext cx="432" cy="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0" name="Picture 12" descr="http://tbn3.google.com/images?q=tbn:WKlj5VwjtfrTlM:http://www.sheastandards.net/images/ecowas-logo.gif">
              <a:hlinkClick r:id="rId87"/>
            </p:cNvPr>
            <p:cNvPicPr>
              <a:picLocks noChangeAspect="1" noChangeArrowheads="1"/>
            </p:cNvPicPr>
            <p:nvPr/>
          </p:nvPicPr>
          <p:blipFill>
            <a:blip r:embed="rId8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2" y="3354"/>
              <a:ext cx="431" cy="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1" name="Picture 6" descr="http://www.gtz.de/en/bilder/sadc1.gif"/>
            <p:cNvPicPr>
              <a:picLocks noChangeAspect="1" noChangeArrowheads="1"/>
            </p:cNvPicPr>
            <p:nvPr/>
          </p:nvPicPr>
          <p:blipFill>
            <a:blip r:embed="rId8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2" y="3356"/>
              <a:ext cx="432" cy="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2" name="Picture 8" descr="http://tbn2.google.com/images?q=tbn:v22WjkweBGVgmM:http://siteresources.worldbank.org/EXTSSATPNEWS/Images/3745729-1196131837876/EAC-logo.gif">
              <a:hlinkClick r:id="rId90"/>
            </p:cNvPr>
            <p:cNvPicPr>
              <a:picLocks noChangeAspect="1" noChangeArrowheads="1"/>
            </p:cNvPicPr>
            <p:nvPr/>
          </p:nvPicPr>
          <p:blipFill>
            <a:blip r:embed="rId9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6" y="3328"/>
              <a:ext cx="528" cy="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3" name="Picture 103" descr="comesa"/>
            <p:cNvPicPr>
              <a:picLocks noChangeAspect="1" noChangeArrowheads="1"/>
            </p:cNvPicPr>
            <p:nvPr/>
          </p:nvPicPr>
          <p:blipFill>
            <a:blip r:embed="rId9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" y="3368"/>
              <a:ext cx="4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4" name="Picture 104" descr="igad"/>
            <p:cNvPicPr>
              <a:picLocks noChangeAspect="1" noChangeArrowheads="1"/>
            </p:cNvPicPr>
            <p:nvPr/>
          </p:nvPicPr>
          <p:blipFill>
            <a:blip r:embed="rId9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4" y="3368"/>
              <a:ext cx="414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5" name="Picture 105" descr="som"/>
            <p:cNvPicPr>
              <a:picLocks noChangeAspect="1" noChangeArrowheads="1"/>
            </p:cNvPicPr>
            <p:nvPr/>
          </p:nvPicPr>
          <p:blipFill>
            <a:blip r:embed="rId9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00" y="3368"/>
              <a:ext cx="408" cy="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6" name="Picture 106" descr="logo_uemoa"/>
            <p:cNvPicPr>
              <a:picLocks noChangeAspect="1" noChangeArrowheads="1"/>
            </p:cNvPicPr>
            <p:nvPr/>
          </p:nvPicPr>
          <p:blipFill>
            <a:blip r:embed="rId9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" y="3356"/>
              <a:ext cx="382" cy="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7" name="Picture 107" descr="ecsa_v"/>
            <p:cNvPicPr>
              <a:picLocks noChangeAspect="1" noChangeArrowheads="1"/>
            </p:cNvPicPr>
            <p:nvPr/>
          </p:nvPicPr>
          <p:blipFill>
            <a:blip r:embed="rId9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32" y="3350"/>
              <a:ext cx="378" cy="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547" name="Group 108"/>
          <p:cNvGrpSpPr>
            <a:grpSpLocks/>
          </p:cNvGrpSpPr>
          <p:nvPr/>
        </p:nvGrpSpPr>
        <p:grpSpPr bwMode="auto">
          <a:xfrm>
            <a:off x="501650" y="2795588"/>
            <a:ext cx="1765300" cy="1338262"/>
            <a:chOff x="231" y="1824"/>
            <a:chExt cx="1149" cy="872"/>
          </a:xfrm>
        </p:grpSpPr>
        <p:pic>
          <p:nvPicPr>
            <p:cNvPr id="22553" name="Picture 109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9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" y="2064"/>
              <a:ext cx="742" cy="3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554" name="Picture 111"/>
            <p:cNvPicPr>
              <a:picLocks noChangeAspect="1" noChangeArrowheads="1"/>
            </p:cNvPicPr>
            <p:nvPr/>
          </p:nvPicPr>
          <p:blipFill>
            <a:blip r:embed="rId9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" y="2379"/>
              <a:ext cx="371" cy="3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555" name="Picture 112"/>
            <p:cNvPicPr>
              <a:picLocks noChangeAspect="1" noChangeArrowheads="1"/>
            </p:cNvPicPr>
            <p:nvPr/>
          </p:nvPicPr>
          <p:blipFill>
            <a:blip r:embed="rId9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5" y="2414"/>
              <a:ext cx="289" cy="2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556" name="Picture 113"/>
            <p:cNvPicPr>
              <a:picLocks noChangeAspect="1" noChangeArrowheads="1"/>
            </p:cNvPicPr>
            <p:nvPr/>
          </p:nvPicPr>
          <p:blipFill>
            <a:blip r:embed="rId10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" y="2400"/>
              <a:ext cx="454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2557" name="Text Box 114"/>
            <p:cNvSpPr txBox="1">
              <a:spLocks noChangeArrowheads="1"/>
            </p:cNvSpPr>
            <p:nvPr/>
          </p:nvSpPr>
          <p:spPr bwMode="auto">
            <a:xfrm>
              <a:off x="816" y="2208"/>
              <a:ext cx="517" cy="1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pitchFamily="34" charset="-128"/>
                  <a:cs typeface="Arial" charset="0"/>
                </a:defRPr>
              </a:lvl9pPr>
            </a:lstStyle>
            <a:p>
              <a:pPr eaLnBrk="1" hangingPunct="1"/>
              <a:r>
                <a:rPr lang="en-US" sz="1100" b="1">
                  <a:solidFill>
                    <a:srgbClr val="0000FF"/>
                  </a:solidFill>
                  <a:latin typeface="Arial" charset="0"/>
                </a:rPr>
                <a:t>COHRED</a:t>
              </a:r>
            </a:p>
          </p:txBody>
        </p:sp>
        <p:pic>
          <p:nvPicPr>
            <p:cNvPr id="22558" name="Picture 14" descr="http://tbn2.google.com/images?q=tbn:pj8u0UQrvQpwzM:http://www.cidoc.net/logo_za.gif">
              <a:hlinkClick r:id="rId101"/>
            </p:cNvPr>
            <p:cNvPicPr>
              <a:picLocks noChangeAspect="1" noChangeArrowheads="1"/>
            </p:cNvPicPr>
            <p:nvPr/>
          </p:nvPicPr>
          <p:blipFill>
            <a:blip r:embed="rId10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0" y="1824"/>
              <a:ext cx="290" cy="3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548" name="Rectangle 116"/>
          <p:cNvSpPr>
            <a:spLocks noChangeArrowheads="1"/>
          </p:cNvSpPr>
          <p:nvPr/>
        </p:nvSpPr>
        <p:spPr bwMode="auto">
          <a:xfrm>
            <a:off x="1358900" y="1379538"/>
            <a:ext cx="6419850" cy="958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2549" name="Rectangle 117"/>
          <p:cNvSpPr>
            <a:spLocks noChangeArrowheads="1"/>
          </p:cNvSpPr>
          <p:nvPr/>
        </p:nvSpPr>
        <p:spPr bwMode="auto">
          <a:xfrm>
            <a:off x="1400175" y="4581525"/>
            <a:ext cx="6342063" cy="958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2550" name="Rectangle 118"/>
          <p:cNvSpPr>
            <a:spLocks noChangeArrowheads="1"/>
          </p:cNvSpPr>
          <p:nvPr/>
        </p:nvSpPr>
        <p:spPr bwMode="auto">
          <a:xfrm>
            <a:off x="450850" y="2525713"/>
            <a:ext cx="1825625" cy="16525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2551" name="Rectangle 119"/>
          <p:cNvSpPr>
            <a:spLocks noChangeArrowheads="1"/>
          </p:cNvSpPr>
          <p:nvPr/>
        </p:nvSpPr>
        <p:spPr bwMode="auto">
          <a:xfrm>
            <a:off x="6931025" y="2525713"/>
            <a:ext cx="1751013" cy="16525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22552" name="Picture 2" descr="http://www.ema.europa.eu/ema/images/Logo_standard.jpg"/>
          <p:cNvPicPr>
            <a:picLocks noChangeAspect="1" noChangeArrowheads="1"/>
          </p:cNvPicPr>
          <p:nvPr/>
        </p:nvPicPr>
        <p:blipFill>
          <a:blip r:embed="rId10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613" y="2697163"/>
            <a:ext cx="136525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Calibri" pitchFamily="34" charset="0"/>
                <a:cs typeface="Calibri" pitchFamily="34" charset="0"/>
              </a:rPr>
              <a:t>African Medicines Registration Harmonization Initiative (AMRH) –                       a Consortium of partners </a:t>
            </a:r>
            <a:r>
              <a:rPr lang="en-US" sz="2400" dirty="0" smtClean="0">
                <a:latin typeface="Calibri" pitchFamily="34" charset="0"/>
                <a:cs typeface="Calibri" pitchFamily="34" charset="0"/>
              </a:rPr>
              <a:t>(2)</a:t>
            </a:r>
            <a:endParaRPr lang="en-GB" sz="2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Consortium confirmed its interest in supporting RECs to harmonize medicines registration and invited RECs to submit summary project proposals (SPPs) </a:t>
            </a:r>
            <a:r>
              <a:rPr lang="en-US" sz="2000" i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focusing on the immediate steps needed to promote regional drug registration harmonization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;</a:t>
            </a:r>
          </a:p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Consortium reviewed the SPPs and identified those to recommended for development into </a:t>
            </a:r>
            <a:r>
              <a:rPr lang="en-US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full project proposals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, and those for which further work is required;</a:t>
            </a:r>
          </a:p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A concrete outcome of the Consortium's efforts was the development of a fundable medicine regulatory harmonization project for the </a:t>
            </a:r>
            <a:r>
              <a:rPr lang="en-US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East African Community (EAC)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;</a:t>
            </a:r>
          </a:p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</a:pPr>
            <a:r>
              <a:rPr lang="en-US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A Multi-Donor Trust Fund established under the World Bank (WB) to fund the project activities by all Consortium partners.</a:t>
            </a:r>
          </a:p>
          <a:p>
            <a:endParaRPr lang="en-GB" sz="200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51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r>
              <a:rPr lang="en-US" sz="2400" dirty="0">
                <a:latin typeface="Calibri" pitchFamily="34" charset="0"/>
                <a:cs typeface="Calibri" pitchFamily="34" charset="0"/>
              </a:rPr>
              <a:t>African Medicines Registration Harmonization Initiative (AMRH) –                       a Consortium of partners </a:t>
            </a:r>
            <a:r>
              <a:rPr lang="en-US" sz="2400" dirty="0" smtClean="0">
                <a:latin typeface="Calibri" pitchFamily="34" charset="0"/>
                <a:cs typeface="Calibri" pitchFamily="34" charset="0"/>
              </a:rPr>
              <a:t>(3)</a:t>
            </a:r>
            <a:endParaRPr lang="en-GB" sz="24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13" y="1412875"/>
            <a:ext cx="8148637" cy="4438650"/>
          </a:xfrm>
        </p:spPr>
        <p:txBody>
          <a:bodyPr/>
          <a:lstStyle/>
          <a:p>
            <a:pPr marL="0" indent="0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sz="20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The overall objective of this project is</a:t>
            </a:r>
            <a:r>
              <a:rPr lang="en-US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 to achieve a harmonized medicines registration process in countries belonging to the Regional Economic Communities (RECs), based on common documents, processes and shared information systems at the level of Regional Economic Communities (RECs).</a:t>
            </a:r>
          </a:p>
          <a:p>
            <a:pPr marL="0" indent="0">
              <a:spcBef>
                <a:spcPts val="600"/>
              </a:spcBef>
              <a:buFont typeface="Wingdings" pitchFamily="2" charset="2"/>
              <a:buNone/>
              <a:defRPr/>
            </a:pPr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WHO role in the project is:</a:t>
            </a:r>
          </a:p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  <a:defRPr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To provide technical assistance in development and implementation of harmonized approaches for registration of medicines; </a:t>
            </a:r>
          </a:p>
          <a:p>
            <a:pPr lvl="1">
              <a:spcBef>
                <a:spcPts val="600"/>
              </a:spcBef>
              <a:buSzPct val="120000"/>
              <a:buFont typeface="Arial" pitchFamily="34" charset="0"/>
              <a:buChar char="•"/>
              <a:defRPr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Support Technical Working Groups in 4 areas: </a:t>
            </a:r>
            <a:r>
              <a:rPr lang="en-US" sz="2000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Medicines Evaluation and Registration, Good Manufacturing Practices (GMP), Information management systems (IMS) and Quality Management System (QMS)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;</a:t>
            </a:r>
          </a:p>
          <a:p>
            <a:pPr>
              <a:spcBef>
                <a:spcPts val="600"/>
              </a:spcBef>
              <a:buSzPct val="120000"/>
              <a:buFont typeface="Wingdings" pitchFamily="2" charset="2"/>
              <a:buChar char="§"/>
              <a:defRPr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Support capacity building, training and </a:t>
            </a:r>
            <a:r>
              <a:rPr lang="en-US" sz="2000" b="1" dirty="0" smtClean="0">
                <a:solidFill>
                  <a:srgbClr val="006699"/>
                </a:solidFill>
                <a:latin typeface="Calibri" pitchFamily="34" charset="0"/>
                <a:cs typeface="Calibri" pitchFamily="34" charset="0"/>
              </a:rPr>
              <a:t>joint activities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pPr lvl="1">
              <a:spcBef>
                <a:spcPts val="600"/>
              </a:spcBef>
              <a:buSzPct val="120000"/>
              <a:buFont typeface="Arial" pitchFamily="34" charset="0"/>
              <a:buChar char="•"/>
              <a:defRPr/>
            </a:pPr>
            <a:r>
              <a:rPr lang="en-US" sz="2000" dirty="0" smtClean="0">
                <a:latin typeface="Calibri" pitchFamily="34" charset="0"/>
                <a:cs typeface="Calibri" pitchFamily="34" charset="0"/>
              </a:rPr>
              <a:t>Chairing the Technical Working Group on Regulatory Capacity Development in Africa.</a:t>
            </a:r>
            <a:endParaRPr lang="en-GB" sz="20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RCmbrup0GKihYnZlNE_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OMUSQJkEqJVullreZO4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QMdkJOwEmMar9hvEfH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Pjbdm5qUCOStV2yT7gM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YFKKYZEUS_SofntD8g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pW7GmyzE62spi0oko9n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iXtShogkKJofj1HKEYy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HBcsUDeUaLrW9cQWen0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yjoHBPyUK8rDunm4m2H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bIoXxj.0anjPmwAj5kb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yT8BP.00.fb19wpwEfU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waUlMRx0Ovc7ulFNPM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.H4zFyEyO39gQ6maH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d0_hCmaUS_LJaL8_nZ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YmA0YEaUeEKiOG2KvrN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CNqfVwkaDtREXL2N0v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ScQR8FtEuujVuJgXJHv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PgcZLajky_93lBUCDi2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aMhyIXOUC6yh2jDHTck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gLd7e_kOY_qLL7Kvt7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f.d6Gp_0.GEiAQEYPcA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YYgeSc5UOyrFPLtBvSY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8vFdPh8EyY9d8IZEsH6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rtoD.ogUqiYVi6ds8Fy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gDufvGUeOkVpKkv1KT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yDX087EKrJkVI0lhhY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.H4zFyEyO39gQ6maHO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rtoD.ogUqiYVi6ds8Fy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7M4IEFzE.5Su8Sqkz_w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XZ06e3EG8TZW6weUGS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pxyM9fEOWurBccbtNl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CvhSOVkuVTr78MZVqj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0I2fWkEkCP2d2rg._9h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QenIhVkm8UPK8T5h7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7M4IEFzE.5Su8Sqkz_w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RWI21Z0SneCH_xWqlT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EoaTPQbEin0ANZ0vPi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mGAXv0NUax.HoyYxFIY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gaixgV_0.hnElNAFz1X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rAhhVrEGiL89ZK1iW_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tDEAAd7UaXAHRpq3rgu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QA5dhlXU.kKDSRC8NLg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9f_aNDBE6anfT35o3Yo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3kLV9Gk.gSBkolURy4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z1Zom8k.JCfUZ94u5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XZ06e3EG8TZW6weUGS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jYQy8MAkC32YB9.uk57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3Jtbb.E2N2S.JjaI5v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3lfzrgUeLw5JNUrnJ_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3jJdxXj0iGb1JTWUJnc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tW5gpC40Oz0spD.Rj_2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okxPyu0GLL4e1OnrWV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Ey4AUekaLskHja0XXN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8cLOVpwEaMXttzWJ6_f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7WN2qSh0OH6uy6J5rf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l4Qo4g5EuIc.Ky7Jgr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ppxyM9fEOWurBccbtNl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KHQuGi0kegjxah4nsZo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5MeqtskaJOJNHPh3cE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KUrxF6KkCcBbjO4s0Ls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zYjR1.06rGobC722hv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dCg9xFSk6P_q5RBhc9Z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JOPKwOkK9vQy2U4UvT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q7LcaV6kS.Tj.X5FkCQ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iUaO4bvU6WW2qkdbf6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CvhSOVkuVTr78MZVq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0I2fWkEkCP2d2rg._9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QenIhVkm8UPK8T5h7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rRWI21Z0SneCH_xWql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IxSNaIlkSG1WuxSfTjH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WH463dyUWFEoBV0FG9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1XCLnAsUaA_ef1jLqI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fn1wVXsk638JHOEYwU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EoaTPQbEin0ANZ0vPi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2Hf0Mdq0y2icaEWtMX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E3Y0aPZEKG.Bg6pVTF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gnj1hcIEO3pWl14US6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mGAXv0NUax.HoyYxFI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gaixgV_0.hnElNAFz1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28b7kjwk205SEnJReZ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MgDufvGUeOkVpKkv1KT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K8mQnWfUOGhT_wBwiA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R0HxDXCUS5.hWYvy5v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q5.Fjt.UaDpqmzdU9t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KMf_MYBEOXwhz_CyGk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i1KKvTmkaNn7a3On6N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oGd95880KvGpYk9w5n4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yHJH_kCkmh85jKB52i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yNSl.K.UyRnGUgLeoe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SduOxUzUi4_14ZUqDo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u1uwWmbUGOcpB4CAbD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5S11IbES.Wt6FEe5EE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pCbBz90e1pjEMf08I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_6nEn59EaTvesEK4Xq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YILxXXc0ev4gZ3A6m_h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JdD4VL_0m_FwPm1bC0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DVsAavcUSxssL8M6Yd_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1syuewpEKZy7Rk8_Ur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0jucuRBkqWMnSIhMozB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CGXFrB0EW9h5NtTMry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a7NkSXUOHRqY4d.tu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7qZwegFkyhLAMeyayA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_OS2KZg0CczEsiGSYky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yZF2RVUSHTa7kRX5T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xgSygE_USdPIJSW1zo2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Y1L438lU2tnj2Zfo7Z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mRtaciYkGS8FIsnfA54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rAhhVrEGiL89ZK1iW_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tDEAAd7UaXAHRpq3rg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QA5dhlXU.kKDSRC8NL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9f_aNDBE6anfT35o3Y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3kLV9Gk.gSBkolURy4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mz1Zom8k.JCfUZ94u5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qqB0EVU2oktyedaVZI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jYQy8MAkC32YB9.uk57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i3Jtbb.E2N2S.JjaI5v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3lfzrgUeLw5JNUrnJ_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3jJdxXj0iGb1JTWUJnc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tW5gpC40Oz0spD.Rj_2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JokxPyu0GLL4e1OnrW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jEy4AUekaLskHja0XX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8cLOVpwEaMXttzWJ6_f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7WN2qSh0OH6uy6J5rfT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l4Qo4g5EuIc.Ky7Jgr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6tZCZ_cUeL7j8mwlncQ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KHQuGi0kegjxah4nsZ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65MeqtskaJOJNHPh3cE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KUrxF6KkCcBbjO4s0Ls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8zYjR1.06rGobC722h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dCg9xFSk6P_q5RBhc9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JOPKwOkK9vQy2U4UvT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q7LcaV6kS.Tj.X5FkCQ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iUaO4bvU6WW2qkdbf69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RLg7P46kuDth9V4y.H0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cLIjKQjku0g1b0TwU2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yDX087EKrJkVI0lhhY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.Y4Lqbs0uBAA2AJHDa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Uy7iopkWXsNhWimjh9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.Gqi9_IE.4fYxVel5j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Xlx2V7E0WSQrmsAFSI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f2ev2w1U2Lev7DeqINq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5o7U5xq0SxpIm1ufxT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mh72AWakqIaWHxbMn7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RBDFOPI06wZNhbU3_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e8qQZd70Cc6ISRP4ASN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B0mZy6gUSigUF_wLNV.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SRJVlpHU.c3IXu7LWLv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st4jv.MkiqEIh3o3UGL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E5l2k5ek6pZZby0QTd7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WTXcY7XUSXqUDEEpvL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WuTrl0v0ib3JQ5cqvI0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ocD.QCL0CKV4zfUzUWg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QNxcLkKEWkjev1cpMd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fxNN1h2ESkomghA6hdD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a3A2pS3k6BsYrpq5SG5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eqAr4HAUGpnQaEggYws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bL_f7pQkqHWEv31ih3Qg"/>
</p:tagLst>
</file>

<file path=ppt/theme/theme1.xml><?xml version="1.0" encoding="utf-8"?>
<a:theme xmlns:a="http://schemas.openxmlformats.org/drawingml/2006/main" name="1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lnDef>
  </a:objectDefaults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lnDef>
  </a:objectDefaults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VisID">
  <a:themeElements>
    <a:clrScheme name="VisID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VisID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Unicode MS" pitchFamily="34" charset="-128"/>
          </a:defRPr>
        </a:defPPr>
      </a:lstStyle>
    </a:lnDef>
  </a:objectDefaults>
  <a:extraClrSchemeLst>
    <a:extraClrScheme>
      <a:clrScheme name="Vis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sI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sI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sI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sI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sI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sI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sI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sI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sI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sI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sI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Templates\mio.pot</Template>
  <TotalTime>13456</TotalTime>
  <Words>1524</Words>
  <Application>Microsoft Office PowerPoint</Application>
  <PresentationFormat>Presentación en pantalla (4:3)</PresentationFormat>
  <Paragraphs>149</Paragraphs>
  <Slides>19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26" baseType="lpstr">
      <vt:lpstr>1_Custom Design</vt:lpstr>
      <vt:lpstr>2_Custom Design</vt:lpstr>
      <vt:lpstr>3_Custom Design</vt:lpstr>
      <vt:lpstr>4_Custom Design</vt:lpstr>
      <vt:lpstr>Custom Design</vt:lpstr>
      <vt:lpstr>VisID</vt:lpstr>
      <vt:lpstr>Image</vt:lpstr>
      <vt:lpstr>Presentación de PowerPoint</vt:lpstr>
      <vt:lpstr>Current challenges in Africa</vt:lpstr>
      <vt:lpstr>Differences in regulatory capacity  in WHO African Region</vt:lpstr>
      <vt:lpstr>Assessments of medicines regulatory systems in 26 Sub-Saharan African countries</vt:lpstr>
      <vt:lpstr>How could medicines registration processes in Africa be improved?</vt:lpstr>
      <vt:lpstr>Potential public health gains from collaboration and harmonization</vt:lpstr>
      <vt:lpstr>African Medicines Registration Harmonization Initiative (AMRH) –                       a Consortium of partners (1)</vt:lpstr>
      <vt:lpstr>African Medicines Registration Harmonization Initiative (AMRH) –                       a Consortium of partners (2)</vt:lpstr>
      <vt:lpstr>African Medicines Registration Harmonization Initiative (AMRH) –                       a Consortium of partners (3)</vt:lpstr>
      <vt:lpstr>Why Regional Economic Communities (RECs) ‐ based approach?</vt:lpstr>
      <vt:lpstr>Why Regional Economic Communities (RECs) ‐ based approach?</vt:lpstr>
      <vt:lpstr>Almost 85% of Sub-Saharan Africa covered by Summary Project Proposals already completed or in the process</vt:lpstr>
      <vt:lpstr>East African Community is progressing in the implementation of EAC MRH (1)</vt:lpstr>
      <vt:lpstr>East African Community is progressing in the implementation of EAC MRH (2)</vt:lpstr>
      <vt:lpstr>Joint activities in EAC to support national decision making</vt:lpstr>
      <vt:lpstr>What we do and don't mean under harmonization</vt:lpstr>
      <vt:lpstr>What we do and don't mean under harmonization</vt:lpstr>
      <vt:lpstr>Conclusions</vt:lpstr>
      <vt:lpstr>Presentación de PowerPoint</vt:lpstr>
    </vt:vector>
  </TitlesOfParts>
  <Company>WH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rican Medicines Regulatory Harmonization Initiative</dc:title>
  <dc:creator>Samvel Azatyan</dc:creator>
  <cp:lastModifiedBy>Usuario de Red</cp:lastModifiedBy>
  <cp:revision>391</cp:revision>
  <cp:lastPrinted>2001-03-13T17:21:35Z</cp:lastPrinted>
  <dcterms:created xsi:type="dcterms:W3CDTF">2001-07-14T03:31:22Z</dcterms:created>
  <dcterms:modified xsi:type="dcterms:W3CDTF">2013-08-30T15:17:24Z</dcterms:modified>
</cp:coreProperties>
</file>